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987" r:id="rId1"/>
    <p:sldMasterId id="2147485035" r:id="rId2"/>
    <p:sldMasterId id="2147485049" r:id="rId3"/>
    <p:sldMasterId id="2147485096" r:id="rId4"/>
    <p:sldMasterId id="2147485107" r:id="rId5"/>
    <p:sldMasterId id="2147485130" r:id="rId6"/>
    <p:sldMasterId id="2147485157" r:id="rId7"/>
  </p:sldMasterIdLst>
  <p:notesMasterIdLst>
    <p:notesMasterId r:id="rId25"/>
  </p:notesMasterIdLst>
  <p:handoutMasterIdLst>
    <p:handoutMasterId r:id="rId26"/>
  </p:handoutMasterIdLst>
  <p:sldIdLst>
    <p:sldId id="401" r:id="rId8"/>
    <p:sldId id="1283" r:id="rId9"/>
    <p:sldId id="1762" r:id="rId10"/>
    <p:sldId id="267" r:id="rId11"/>
    <p:sldId id="1353" r:id="rId12"/>
    <p:sldId id="1330" r:id="rId13"/>
    <p:sldId id="1358" r:id="rId14"/>
    <p:sldId id="1316" r:id="rId15"/>
    <p:sldId id="1770" r:id="rId16"/>
    <p:sldId id="1424" r:id="rId17"/>
    <p:sldId id="1427" r:id="rId18"/>
    <p:sldId id="324" r:id="rId19"/>
    <p:sldId id="367" r:id="rId20"/>
    <p:sldId id="1425" r:id="rId21"/>
    <p:sldId id="1430" r:id="rId22"/>
    <p:sldId id="1434" r:id="rId23"/>
    <p:sldId id="1338" r:id="rId24"/>
  </p:sldIdLst>
  <p:sldSz cx="12192000" cy="6858000"/>
  <p:notesSz cx="6797675" cy="9926638"/>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Default Section" id="{D05F4E43-6E6C-4B98-8F21-D4CCB6F29CD8}">
          <p14:sldIdLst>
            <p14:sldId id="401"/>
            <p14:sldId id="1283"/>
            <p14:sldId id="1762"/>
            <p14:sldId id="267"/>
            <p14:sldId id="1353"/>
            <p14:sldId id="1330"/>
            <p14:sldId id="1358"/>
            <p14:sldId id="1316"/>
            <p14:sldId id="1770"/>
            <p14:sldId id="1424"/>
            <p14:sldId id="1427"/>
            <p14:sldId id="324"/>
            <p14:sldId id="367"/>
            <p14:sldId id="1425"/>
            <p14:sldId id="1430"/>
            <p14:sldId id="1434"/>
            <p14:sldId id="1338"/>
          </p14:sldIdLst>
        </p14:section>
      </p14:sectionLst>
    </p:ext>
    <p:ext uri="{EFAFB233-063F-42B5-8137-9DF3F51BA10A}">
      <p15:sldGuideLst xmlns:p15="http://schemas.microsoft.com/office/powerpoint/2012/main">
        <p15:guide id="1" orient="horz" pos="2496" userDrawn="1">
          <p15:clr>
            <a:srgbClr val="A4A3A4"/>
          </p15:clr>
        </p15:guide>
        <p15:guide id="2" orient="horz" pos="576" userDrawn="1">
          <p15:clr>
            <a:srgbClr val="A4A3A4"/>
          </p15:clr>
        </p15:guide>
        <p15:guide id="3" orient="horz" pos="912" userDrawn="1">
          <p15:clr>
            <a:srgbClr val="A4A3A4"/>
          </p15:clr>
        </p15:guide>
        <p15:guide id="4" userDrawn="1">
          <p15:clr>
            <a:srgbClr val="A4A3A4"/>
          </p15:clr>
        </p15:guide>
        <p15:guide id="5" pos="1057" userDrawn="1">
          <p15:clr>
            <a:srgbClr val="A4A3A4"/>
          </p15:clr>
        </p15:guide>
        <p15:guide id="6" orient="horz" pos="1872" userDrawn="1">
          <p15:clr>
            <a:srgbClr val="A4A3A4"/>
          </p15:clr>
        </p15:guide>
        <p15:guide id="7" orient="horz" pos="432" userDrawn="1">
          <p15:clr>
            <a:srgbClr val="A4A3A4"/>
          </p15:clr>
        </p15:guide>
        <p15:guide id="8" orient="horz" pos="684" userDrawn="1">
          <p15:clr>
            <a:srgbClr val="A4A3A4"/>
          </p15:clr>
        </p15:guide>
        <p15:guide id="9" orient="horz" pos="3328" userDrawn="1">
          <p15:clr>
            <a:srgbClr val="A4A3A4"/>
          </p15:clr>
        </p15:guide>
        <p15:guide id="10" orient="horz" pos="768" userDrawn="1">
          <p15:clr>
            <a:srgbClr val="A4A3A4"/>
          </p15:clr>
        </p15:guide>
        <p15:guide id="11" orient="horz" pos="1216" userDrawn="1">
          <p15:clr>
            <a:srgbClr val="A4A3A4"/>
          </p15:clr>
        </p15:guide>
      </p15:sldGuideLst>
    </p:ext>
    <p:ext uri="{2D200454-40CA-4A62-9FC3-DE9A4176ACB9}">
      <p15:notesGuideLst xmlns:p15="http://schemas.microsoft.com/office/powerpoint/2012/main">
        <p15:guide id="1" orient="horz" pos="4311" userDrawn="1">
          <p15:clr>
            <a:srgbClr val="A4A3A4"/>
          </p15:clr>
        </p15:guide>
        <p15:guide id="2" pos="1520" userDrawn="1">
          <p15:clr>
            <a:srgbClr val="A4A3A4"/>
          </p15:clr>
        </p15:guide>
        <p15:guide id="3" orient="horz" pos="3128" userDrawn="1">
          <p15:clr>
            <a:srgbClr val="A4A3A4"/>
          </p15:clr>
        </p15:guide>
        <p15:guide id="4"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artsen van P. (Pieter)" initials="AvP(" lastIdx="3" clrIdx="0">
    <p:extLst>
      <p:ext uri="{19B8F6BF-5375-455C-9EA6-DF929625EA0E}">
        <p15:presenceInfo xmlns:p15="http://schemas.microsoft.com/office/powerpoint/2012/main" userId="S-1-5-21-2050513582-127157383-367356602-113825" providerId="AD"/>
      </p:ext>
    </p:extLst>
  </p:cmAuthor>
  <p:cmAuthor id="2" name="BRIMONT Jean-Marc" initials="BJ" lastIdx="6" clrIdx="1">
    <p:extLst>
      <p:ext uri="{19B8F6BF-5375-455C-9EA6-DF929625EA0E}">
        <p15:presenceInfo xmlns:p15="http://schemas.microsoft.com/office/powerpoint/2012/main" userId="S-1-5-21-82043631-3770286104-2336620406-4329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7CBB"/>
    <a:srgbClr val="0051A0"/>
    <a:srgbClr val="0053A1"/>
    <a:srgbClr val="FFFFFF"/>
    <a:srgbClr val="88A2BB"/>
    <a:srgbClr val="E3EDF8"/>
    <a:srgbClr val="97AEC3"/>
    <a:srgbClr val="3B4C87"/>
    <a:srgbClr val="586292"/>
    <a:srgbClr val="84A0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5BE263C-DBD7-4A20-BB59-AAB30ACAA65A}" styleName="Style moyen 3 - Accentuation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Style léger 2 - Accentuation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789" autoAdjust="0"/>
    <p:restoredTop sz="70013" autoAdjust="0"/>
  </p:normalViewPr>
  <p:slideViewPr>
    <p:cSldViewPr snapToGrid="0">
      <p:cViewPr varScale="1">
        <p:scale>
          <a:sx n="54" d="100"/>
          <a:sy n="54" d="100"/>
        </p:scale>
        <p:origin x="1469" y="62"/>
      </p:cViewPr>
      <p:guideLst>
        <p:guide orient="horz" pos="2496"/>
        <p:guide orient="horz" pos="576"/>
        <p:guide orient="horz" pos="912"/>
        <p:guide/>
        <p:guide pos="1057"/>
        <p:guide orient="horz" pos="1872"/>
        <p:guide orient="horz" pos="432"/>
        <p:guide orient="horz" pos="684"/>
        <p:guide orient="horz" pos="3328"/>
        <p:guide orient="horz" pos="768"/>
        <p:guide orient="horz" pos="121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6158"/>
    </p:cViewPr>
  </p:sorterViewPr>
  <p:notesViewPr>
    <p:cSldViewPr snapToGrid="0">
      <p:cViewPr varScale="1">
        <p:scale>
          <a:sx n="51" d="100"/>
          <a:sy n="51" d="100"/>
        </p:scale>
        <p:origin x="-2994" y="-108"/>
      </p:cViewPr>
      <p:guideLst>
        <p:guide orient="horz" pos="4311"/>
        <p:guide pos="1520"/>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6.bin"/></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Data\2035-2050\Systemperspektiv%202035%20-%20Data%20og%20figurer\Figurark.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Europe's Energ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9A-4D50-8881-28B56DDDC7C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9A-4D50-8881-28B56DDDC7C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9A-4D50-8881-28B56DDDC7CA}"/>
              </c:ext>
            </c:extLst>
          </c:dPt>
          <c:cat>
            <c:strRef>
              <c:f>Tabelle1!$A$2:$A$4</c:f>
              <c:strCache>
                <c:ptCount val="3"/>
                <c:pt idx="0">
                  <c:v>Electrons</c:v>
                </c:pt>
                <c:pt idx="1">
                  <c:v>Molecules</c:v>
                </c:pt>
                <c:pt idx="2">
                  <c:v>Renewable Power</c:v>
                </c:pt>
              </c:strCache>
            </c:strRef>
          </c:cat>
          <c:val>
            <c:numRef>
              <c:f>Tabelle1!$B$2:$B$4</c:f>
              <c:numCache>
                <c:formatCode>0%</c:formatCode>
                <c:ptCount val="3"/>
                <c:pt idx="0">
                  <c:v>7.4999999999999997E-2</c:v>
                </c:pt>
                <c:pt idx="1">
                  <c:v>0.9</c:v>
                </c:pt>
                <c:pt idx="2">
                  <c:v>2.5000000000000001E-2</c:v>
                </c:pt>
              </c:numCache>
            </c:numRef>
          </c:val>
          <c:extLst>
            <c:ext xmlns:c16="http://schemas.microsoft.com/office/drawing/2014/chart" uri="{C3380CC4-5D6E-409C-BE32-E72D297353CC}">
              <c16:uniqueId val="{00000006-479A-4D50-8881-28B56DDDC7C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a:solidFill>
        <a:srgbClr val="000000"/>
      </a:solidFill>
    </a:ln>
    <a:effectLst>
      <a:outerShdw blurRad="50800" dist="38100" dir="2700000" algn="tl" rotWithShape="0">
        <a:prstClr val="black">
          <a:alpha val="40000"/>
        </a:prstClr>
      </a:outerShdw>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pPr>
            <a:r>
              <a:rPr lang="en-US" sz="1600" noProof="0" dirty="0"/>
              <a:t>DK1 electricity</a:t>
            </a:r>
            <a:r>
              <a:rPr lang="en-US" sz="1600" baseline="0" noProof="0" dirty="0"/>
              <a:t> </a:t>
            </a:r>
            <a:r>
              <a:rPr lang="en-US" sz="1600" noProof="0" dirty="0"/>
              <a:t>price duration-curves GCA 2040 (ref. + </a:t>
            </a:r>
            <a:r>
              <a:rPr lang="en-US" sz="1600" noProof="0" dirty="0" err="1"/>
              <a:t>PtX</a:t>
            </a:r>
            <a:r>
              <a:rPr lang="en-US" sz="1600" noProof="0" dirty="0"/>
              <a:t>)</a:t>
            </a:r>
          </a:p>
        </c:rich>
      </c:tx>
      <c:layout>
        <c:manualLayout>
          <c:xMode val="edge"/>
          <c:yMode val="edge"/>
          <c:x val="0.17102107356865906"/>
          <c:y val="1.4961996528816805E-2"/>
        </c:manualLayout>
      </c:layout>
      <c:overlay val="1"/>
    </c:title>
    <c:autoTitleDeleted val="0"/>
    <c:plotArea>
      <c:layout>
        <c:manualLayout>
          <c:layoutTarget val="inner"/>
          <c:xMode val="edge"/>
          <c:yMode val="edge"/>
          <c:x val="0.17772838443950512"/>
          <c:y val="0.17760973740871416"/>
          <c:w val="0.86003002542970064"/>
          <c:h val="0.52009643536912309"/>
        </c:manualLayout>
      </c:layout>
      <c:lineChart>
        <c:grouping val="standard"/>
        <c:varyColors val="0"/>
        <c:ser>
          <c:idx val="2"/>
          <c:order val="0"/>
          <c:tx>
            <c:strRef>
              <c:f>'HU 16.1 Varighedskurver GCA40'!$D$4</c:f>
              <c:strCache>
                <c:ptCount val="1"/>
                <c:pt idx="0">
                  <c:v>P2G 50 Euro/MWh afbrud</c:v>
                </c:pt>
              </c:strCache>
            </c:strRef>
          </c:tx>
          <c:spPr>
            <a:ln w="25400">
              <a:solidFill>
                <a:schemeClr val="accent3">
                  <a:lumMod val="75000"/>
                </a:schemeClr>
              </a:solidFill>
              <a:prstDash val="sysDash"/>
            </a:ln>
          </c:spPr>
          <c:marker>
            <c:symbol val="none"/>
          </c:marker>
          <c:val>
            <c:numRef>
              <c:f>'HU 16.1 Varighedskurver GCA40'!$D$5:$D$8765</c:f>
              <c:numCache>
                <c:formatCode>#,##0.####</c:formatCode>
                <c:ptCount val="8761"/>
                <c:pt idx="0">
                  <c:v>1937</c:v>
                </c:pt>
                <c:pt idx="1">
                  <c:v>1937</c:v>
                </c:pt>
                <c:pt idx="2">
                  <c:v>1937</c:v>
                </c:pt>
                <c:pt idx="3">
                  <c:v>1936.9255372499999</c:v>
                </c:pt>
                <c:pt idx="4">
                  <c:v>1936.9255000000001</c:v>
                </c:pt>
                <c:pt idx="5">
                  <c:v>1936.9255000000001</c:v>
                </c:pt>
                <c:pt idx="6">
                  <c:v>1936.9255000000001</c:v>
                </c:pt>
                <c:pt idx="7">
                  <c:v>1936.9255000000001</c:v>
                </c:pt>
                <c:pt idx="8">
                  <c:v>1936.8510000000001</c:v>
                </c:pt>
                <c:pt idx="9">
                  <c:v>1936.7765000000002</c:v>
                </c:pt>
                <c:pt idx="10">
                  <c:v>1936.702</c:v>
                </c:pt>
                <c:pt idx="11">
                  <c:v>1935.9293530500001</c:v>
                </c:pt>
                <c:pt idx="12">
                  <c:v>1729.0533650000002</c:v>
                </c:pt>
                <c:pt idx="13">
                  <c:v>1631.4834863999999</c:v>
                </c:pt>
                <c:pt idx="14">
                  <c:v>1631.4834789500001</c:v>
                </c:pt>
                <c:pt idx="15">
                  <c:v>1631.4831958499999</c:v>
                </c:pt>
                <c:pt idx="16">
                  <c:v>1615.8430830500001</c:v>
                </c:pt>
                <c:pt idx="17">
                  <c:v>1615.8425689999999</c:v>
                </c:pt>
                <c:pt idx="18">
                  <c:v>1544.7865550000001</c:v>
                </c:pt>
                <c:pt idx="19">
                  <c:v>1490.07456705</c:v>
                </c:pt>
                <c:pt idx="20">
                  <c:v>1490.0744999999999</c:v>
                </c:pt>
                <c:pt idx="21">
                  <c:v>1490</c:v>
                </c:pt>
                <c:pt idx="22">
                  <c:v>1489.9255819500002</c:v>
                </c:pt>
                <c:pt idx="23">
                  <c:v>1489.9254180500002</c:v>
                </c:pt>
                <c:pt idx="24">
                  <c:v>1489.9251722000001</c:v>
                </c:pt>
                <c:pt idx="25">
                  <c:v>1486.2756034500001</c:v>
                </c:pt>
                <c:pt idx="26">
                  <c:v>1486.2753278</c:v>
                </c:pt>
                <c:pt idx="27">
                  <c:v>1388.35749695</c:v>
                </c:pt>
                <c:pt idx="28">
                  <c:v>1346.1463259000002</c:v>
                </c:pt>
                <c:pt idx="29">
                  <c:v>1346.1463035500001</c:v>
                </c:pt>
                <c:pt idx="30">
                  <c:v>1346.1462439500001</c:v>
                </c:pt>
                <c:pt idx="31">
                  <c:v>1346.1459981</c:v>
                </c:pt>
                <c:pt idx="32">
                  <c:v>1346.0716322000001</c:v>
                </c:pt>
                <c:pt idx="33">
                  <c:v>1286.7663169500001</c:v>
                </c:pt>
                <c:pt idx="34">
                  <c:v>1286.7662350000001</c:v>
                </c:pt>
                <c:pt idx="35">
                  <c:v>1286.7662350000001</c:v>
                </c:pt>
                <c:pt idx="36">
                  <c:v>1286.6917349999999</c:v>
                </c:pt>
                <c:pt idx="37">
                  <c:v>1209.3299367</c:v>
                </c:pt>
                <c:pt idx="38">
                  <c:v>1209.2684444000001</c:v>
                </c:pt>
                <c:pt idx="39">
                  <c:v>1191.4116213499999</c:v>
                </c:pt>
                <c:pt idx="40">
                  <c:v>1191.3373523</c:v>
                </c:pt>
                <c:pt idx="41">
                  <c:v>1172.6329502000001</c:v>
                </c:pt>
                <c:pt idx="42">
                  <c:v>1172.3373863500001</c:v>
                </c:pt>
                <c:pt idx="43">
                  <c:v>1172.3373565499999</c:v>
                </c:pt>
                <c:pt idx="44">
                  <c:v>1172.3349800000001</c:v>
                </c:pt>
                <c:pt idx="45">
                  <c:v>1160.9646708</c:v>
                </c:pt>
                <c:pt idx="46">
                  <c:v>1160.9646708</c:v>
                </c:pt>
                <c:pt idx="47">
                  <c:v>1160.9645441500002</c:v>
                </c:pt>
                <c:pt idx="48">
                  <c:v>1160.96426105</c:v>
                </c:pt>
                <c:pt idx="49">
                  <c:v>1141.79821225</c:v>
                </c:pt>
                <c:pt idx="50">
                  <c:v>1141.7981750000001</c:v>
                </c:pt>
                <c:pt idx="51">
                  <c:v>1141.7981750000001</c:v>
                </c:pt>
                <c:pt idx="52">
                  <c:v>1141.7978099499999</c:v>
                </c:pt>
                <c:pt idx="53">
                  <c:v>1141.723675</c:v>
                </c:pt>
                <c:pt idx="54">
                  <c:v>1126.5774003500001</c:v>
                </c:pt>
                <c:pt idx="55">
                  <c:v>1126.5772886</c:v>
                </c:pt>
                <c:pt idx="56">
                  <c:v>1126.57708</c:v>
                </c:pt>
                <c:pt idx="57">
                  <c:v>1107.4782600000001</c:v>
                </c:pt>
                <c:pt idx="58">
                  <c:v>1099.5482118</c:v>
                </c:pt>
                <c:pt idx="59">
                  <c:v>1099.401715</c:v>
                </c:pt>
                <c:pt idx="60">
                  <c:v>1099.3428600000002</c:v>
                </c:pt>
                <c:pt idx="61">
                  <c:v>1099.3428600000002</c:v>
                </c:pt>
                <c:pt idx="62">
                  <c:v>1099.3376449999998</c:v>
                </c:pt>
                <c:pt idx="63">
                  <c:v>1099.1847114</c:v>
                </c:pt>
                <c:pt idx="64">
                  <c:v>1098.92715</c:v>
                </c:pt>
                <c:pt idx="65">
                  <c:v>1039.631259</c:v>
                </c:pt>
                <c:pt idx="66">
                  <c:v>1039.6309833500002</c:v>
                </c:pt>
                <c:pt idx="67">
                  <c:v>1039.63068535</c:v>
                </c:pt>
                <c:pt idx="68">
                  <c:v>1039.60648775</c:v>
                </c:pt>
                <c:pt idx="69">
                  <c:v>1039.6064802999999</c:v>
                </c:pt>
                <c:pt idx="70">
                  <c:v>1039.6064207000002</c:v>
                </c:pt>
                <c:pt idx="71">
                  <c:v>1033.9512300000001</c:v>
                </c:pt>
                <c:pt idx="72">
                  <c:v>1033.9512300000001</c:v>
                </c:pt>
                <c:pt idx="73">
                  <c:v>1033.9512300000001</c:v>
                </c:pt>
                <c:pt idx="74">
                  <c:v>1033.9512300000001</c:v>
                </c:pt>
                <c:pt idx="75">
                  <c:v>1033.87697585</c:v>
                </c:pt>
                <c:pt idx="76">
                  <c:v>1033.8768938999999</c:v>
                </c:pt>
                <c:pt idx="77">
                  <c:v>1033.87673</c:v>
                </c:pt>
                <c:pt idx="78">
                  <c:v>1033.87673</c:v>
                </c:pt>
                <c:pt idx="79">
                  <c:v>1033.87673</c:v>
                </c:pt>
                <c:pt idx="80">
                  <c:v>1033.8766480499999</c:v>
                </c:pt>
                <c:pt idx="81">
                  <c:v>1033.8766108</c:v>
                </c:pt>
                <c:pt idx="82">
                  <c:v>1033.8764916</c:v>
                </c:pt>
                <c:pt idx="83">
                  <c:v>1033.8764767</c:v>
                </c:pt>
                <c:pt idx="84">
                  <c:v>1033.8764171</c:v>
                </c:pt>
                <c:pt idx="85">
                  <c:v>1033.8763873</c:v>
                </c:pt>
                <c:pt idx="86">
                  <c:v>1033.8763798499999</c:v>
                </c:pt>
                <c:pt idx="87">
                  <c:v>1033.8763649499999</c:v>
                </c:pt>
                <c:pt idx="88">
                  <c:v>1033.8023492</c:v>
                </c:pt>
                <c:pt idx="89">
                  <c:v>1033.8023417499999</c:v>
                </c:pt>
                <c:pt idx="90">
                  <c:v>1033.8022970500001</c:v>
                </c:pt>
                <c:pt idx="91">
                  <c:v>1033.8022151</c:v>
                </c:pt>
                <c:pt idx="92">
                  <c:v>1033.8021182500001</c:v>
                </c:pt>
                <c:pt idx="93">
                  <c:v>1033.8021033500002</c:v>
                </c:pt>
                <c:pt idx="94">
                  <c:v>1033.8020884499999</c:v>
                </c:pt>
                <c:pt idx="95">
                  <c:v>1033.8020512000001</c:v>
                </c:pt>
                <c:pt idx="96">
                  <c:v>1033.8020437500002</c:v>
                </c:pt>
                <c:pt idx="97">
                  <c:v>1033.8020363000001</c:v>
                </c:pt>
                <c:pt idx="98">
                  <c:v>1033.80196925</c:v>
                </c:pt>
                <c:pt idx="99">
                  <c:v>1033.80190965</c:v>
                </c:pt>
                <c:pt idx="100">
                  <c:v>1033.8018724000001</c:v>
                </c:pt>
                <c:pt idx="101">
                  <c:v>1033.8018276999999</c:v>
                </c:pt>
                <c:pt idx="102">
                  <c:v>1033.8017531999999</c:v>
                </c:pt>
                <c:pt idx="103">
                  <c:v>1033.7279907500001</c:v>
                </c:pt>
                <c:pt idx="104">
                  <c:v>1033.7276853000001</c:v>
                </c:pt>
                <c:pt idx="105">
                  <c:v>1033.7276704000001</c:v>
                </c:pt>
                <c:pt idx="106">
                  <c:v>1033.72758845</c:v>
                </c:pt>
                <c:pt idx="107">
                  <c:v>1033.7275213999999</c:v>
                </c:pt>
                <c:pt idx="108">
                  <c:v>1033.72748415</c:v>
                </c:pt>
                <c:pt idx="109">
                  <c:v>1033.72746925</c:v>
                </c:pt>
                <c:pt idx="110">
                  <c:v>1033.72737985</c:v>
                </c:pt>
                <c:pt idx="111">
                  <c:v>1033.6533193999999</c:v>
                </c:pt>
                <c:pt idx="112">
                  <c:v>1033.6529767</c:v>
                </c:pt>
                <c:pt idx="113">
                  <c:v>1033.6527979</c:v>
                </c:pt>
                <c:pt idx="114">
                  <c:v>1032.28674355</c:v>
                </c:pt>
                <c:pt idx="115">
                  <c:v>1032.28663925</c:v>
                </c:pt>
                <c:pt idx="116">
                  <c:v>1032.28654985</c:v>
                </c:pt>
                <c:pt idx="117">
                  <c:v>1032.2119232</c:v>
                </c:pt>
                <c:pt idx="118">
                  <c:v>1032.1955183</c:v>
                </c:pt>
                <c:pt idx="119">
                  <c:v>1032.1954214500001</c:v>
                </c:pt>
                <c:pt idx="120">
                  <c:v>1032.1951532500002</c:v>
                </c:pt>
                <c:pt idx="121">
                  <c:v>1032.1948477999999</c:v>
                </c:pt>
                <c:pt idx="122">
                  <c:v>1032.0641450000001</c:v>
                </c:pt>
                <c:pt idx="123">
                  <c:v>1032.0641450000001</c:v>
                </c:pt>
                <c:pt idx="124">
                  <c:v>1032.0641450000001</c:v>
                </c:pt>
                <c:pt idx="125">
                  <c:v>1032.06397365</c:v>
                </c:pt>
                <c:pt idx="126">
                  <c:v>1030.3782100000001</c:v>
                </c:pt>
                <c:pt idx="127">
                  <c:v>1030.3782100000001</c:v>
                </c:pt>
                <c:pt idx="128">
                  <c:v>1027.69313315</c:v>
                </c:pt>
                <c:pt idx="129">
                  <c:v>1027.69307355</c:v>
                </c:pt>
                <c:pt idx="130">
                  <c:v>1027.69304375</c:v>
                </c:pt>
                <c:pt idx="131">
                  <c:v>1027.69296925</c:v>
                </c:pt>
                <c:pt idx="132">
                  <c:v>1027.6929543499998</c:v>
                </c:pt>
                <c:pt idx="133">
                  <c:v>1027.6928649499998</c:v>
                </c:pt>
                <c:pt idx="134">
                  <c:v>1027.6927308500001</c:v>
                </c:pt>
                <c:pt idx="135">
                  <c:v>1027.6926861499999</c:v>
                </c:pt>
                <c:pt idx="136">
                  <c:v>1027.692634</c:v>
                </c:pt>
                <c:pt idx="137">
                  <c:v>1027.6925073499999</c:v>
                </c:pt>
                <c:pt idx="138">
                  <c:v>1027.6924924499999</c:v>
                </c:pt>
                <c:pt idx="139">
                  <c:v>1027.692485</c:v>
                </c:pt>
                <c:pt idx="140">
                  <c:v>1027.692485</c:v>
                </c:pt>
                <c:pt idx="141">
                  <c:v>1027.692485</c:v>
                </c:pt>
                <c:pt idx="142">
                  <c:v>1027.692485</c:v>
                </c:pt>
                <c:pt idx="143">
                  <c:v>1027.692485</c:v>
                </c:pt>
                <c:pt idx="144">
                  <c:v>1027.692485</c:v>
                </c:pt>
                <c:pt idx="145">
                  <c:v>1027.692485</c:v>
                </c:pt>
                <c:pt idx="146">
                  <c:v>1027.692485</c:v>
                </c:pt>
                <c:pt idx="147">
                  <c:v>1027.6924701</c:v>
                </c:pt>
                <c:pt idx="148">
                  <c:v>1027.6924701</c:v>
                </c:pt>
                <c:pt idx="149">
                  <c:v>1027.6923956000001</c:v>
                </c:pt>
                <c:pt idx="150">
                  <c:v>1027.5440586499999</c:v>
                </c:pt>
                <c:pt idx="151">
                  <c:v>1027.5437830000001</c:v>
                </c:pt>
                <c:pt idx="152">
                  <c:v>1027.5437531999999</c:v>
                </c:pt>
                <c:pt idx="153">
                  <c:v>1027.54353715</c:v>
                </c:pt>
                <c:pt idx="154">
                  <c:v>1027.54347755</c:v>
                </c:pt>
                <c:pt idx="155">
                  <c:v>1027.4765318500001</c:v>
                </c:pt>
                <c:pt idx="156">
                  <c:v>1010.5641899999999</c:v>
                </c:pt>
                <c:pt idx="157">
                  <c:v>1010.0620600000001</c:v>
                </c:pt>
                <c:pt idx="158">
                  <c:v>1010.0620600000001</c:v>
                </c:pt>
                <c:pt idx="159">
                  <c:v>1009.9688307</c:v>
                </c:pt>
                <c:pt idx="160">
                  <c:v>1009.9657166</c:v>
                </c:pt>
                <c:pt idx="161">
                  <c:v>1009.9651876500001</c:v>
                </c:pt>
                <c:pt idx="162">
                  <c:v>1009.96511315</c:v>
                </c:pt>
                <c:pt idx="163">
                  <c:v>1009.9019744</c:v>
                </c:pt>
                <c:pt idx="164">
                  <c:v>1009.8985772000001</c:v>
                </c:pt>
                <c:pt idx="165">
                  <c:v>1009.8958505000001</c:v>
                </c:pt>
                <c:pt idx="166">
                  <c:v>1009.8956717</c:v>
                </c:pt>
                <c:pt idx="167">
                  <c:v>1009.8915593</c:v>
                </c:pt>
                <c:pt idx="168">
                  <c:v>1009.8914550000001</c:v>
                </c:pt>
                <c:pt idx="169">
                  <c:v>1009.89143265</c:v>
                </c:pt>
                <c:pt idx="170">
                  <c:v>1009.8910899499999</c:v>
                </c:pt>
                <c:pt idx="171">
                  <c:v>1009.87630915</c:v>
                </c:pt>
                <c:pt idx="172">
                  <c:v>1009.87581</c:v>
                </c:pt>
                <c:pt idx="173">
                  <c:v>1009.8278394499999</c:v>
                </c:pt>
                <c:pt idx="174">
                  <c:v>1009.8272807000001</c:v>
                </c:pt>
                <c:pt idx="175">
                  <c:v>1009.8271391500001</c:v>
                </c:pt>
                <c:pt idx="176">
                  <c:v>1009.8252915500001</c:v>
                </c:pt>
                <c:pt idx="177">
                  <c:v>1009.8248669000001</c:v>
                </c:pt>
                <c:pt idx="178">
                  <c:v>1009.82453165</c:v>
                </c:pt>
                <c:pt idx="179">
                  <c:v>1009.8228479500001</c:v>
                </c:pt>
                <c:pt idx="180">
                  <c:v>1009.8217677000001</c:v>
                </c:pt>
                <c:pt idx="181">
                  <c:v>1009.8215516499999</c:v>
                </c:pt>
                <c:pt idx="182">
                  <c:v>1009.8213952</c:v>
                </c:pt>
                <c:pt idx="183">
                  <c:v>1009.8208215499999</c:v>
                </c:pt>
                <c:pt idx="184">
                  <c:v>1009.82068745</c:v>
                </c:pt>
                <c:pt idx="185">
                  <c:v>1009.8206427499999</c:v>
                </c:pt>
                <c:pt idx="186">
                  <c:v>1009.8205161000001</c:v>
                </c:pt>
                <c:pt idx="187">
                  <c:v>1009.8181693500001</c:v>
                </c:pt>
                <c:pt idx="188">
                  <c:v>1009.8180874000001</c:v>
                </c:pt>
                <c:pt idx="189">
                  <c:v>1009.8168358</c:v>
                </c:pt>
                <c:pt idx="190">
                  <c:v>1009.7968772500001</c:v>
                </c:pt>
                <c:pt idx="191">
                  <c:v>1009.7965792499999</c:v>
                </c:pt>
                <c:pt idx="192">
                  <c:v>1009.7963706500001</c:v>
                </c:pt>
                <c:pt idx="193">
                  <c:v>1009.79632595</c:v>
                </c:pt>
                <c:pt idx="194">
                  <c:v>1009.754270700745</c:v>
                </c:pt>
                <c:pt idx="195">
                  <c:v>1009.7540770000001</c:v>
                </c:pt>
                <c:pt idx="196">
                  <c:v>1009.7530638000001</c:v>
                </c:pt>
                <c:pt idx="197">
                  <c:v>1009.753034</c:v>
                </c:pt>
                <c:pt idx="198">
                  <c:v>1009.7527360000001</c:v>
                </c:pt>
                <c:pt idx="199">
                  <c:v>1009.7526466000002</c:v>
                </c:pt>
                <c:pt idx="200">
                  <c:v>1009.7511863999999</c:v>
                </c:pt>
                <c:pt idx="201">
                  <c:v>1009.7506797999999</c:v>
                </c:pt>
                <c:pt idx="202">
                  <c:v>1009.7488694500001</c:v>
                </c:pt>
                <c:pt idx="203">
                  <c:v>1009.7488545499999</c:v>
                </c:pt>
                <c:pt idx="204">
                  <c:v>1009.7487502499999</c:v>
                </c:pt>
                <c:pt idx="205">
                  <c:v>1009.7485193</c:v>
                </c:pt>
                <c:pt idx="206">
                  <c:v>1009.7484522500001</c:v>
                </c:pt>
                <c:pt idx="207">
                  <c:v>1009.7484447999999</c:v>
                </c:pt>
                <c:pt idx="208">
                  <c:v>1009.748415</c:v>
                </c:pt>
                <c:pt idx="209">
                  <c:v>1009.7483404999999</c:v>
                </c:pt>
                <c:pt idx="210">
                  <c:v>1009.74833305</c:v>
                </c:pt>
                <c:pt idx="211">
                  <c:v>1009.7482213000001</c:v>
                </c:pt>
                <c:pt idx="212">
                  <c:v>1009.7472304500001</c:v>
                </c:pt>
                <c:pt idx="213">
                  <c:v>1009.7470367500001</c:v>
                </c:pt>
                <c:pt idx="214">
                  <c:v>1009.7452115</c:v>
                </c:pt>
                <c:pt idx="215">
                  <c:v>1009.74512955</c:v>
                </c:pt>
                <c:pt idx="216">
                  <c:v>1009.74495075</c:v>
                </c:pt>
                <c:pt idx="217">
                  <c:v>1009.7447198</c:v>
                </c:pt>
                <c:pt idx="218">
                  <c:v>1009.7443324</c:v>
                </c:pt>
                <c:pt idx="219">
                  <c:v>1009.7439747999999</c:v>
                </c:pt>
                <c:pt idx="220">
                  <c:v>1009.7438109</c:v>
                </c:pt>
                <c:pt idx="221">
                  <c:v>1009.74371405</c:v>
                </c:pt>
                <c:pt idx="222">
                  <c:v>1009.7437066</c:v>
                </c:pt>
                <c:pt idx="223">
                  <c:v>1009.7436172</c:v>
                </c:pt>
                <c:pt idx="224">
                  <c:v>1009.7435948500001</c:v>
                </c:pt>
                <c:pt idx="225">
                  <c:v>1009.74353525</c:v>
                </c:pt>
                <c:pt idx="226">
                  <c:v>1009.7434830999999</c:v>
                </c:pt>
                <c:pt idx="227">
                  <c:v>1009.7434533000001</c:v>
                </c:pt>
                <c:pt idx="228">
                  <c:v>1009.7433639000001</c:v>
                </c:pt>
                <c:pt idx="229">
                  <c:v>1009.74320745</c:v>
                </c:pt>
                <c:pt idx="230">
                  <c:v>1009.7430658999999</c:v>
                </c:pt>
                <c:pt idx="231">
                  <c:v>1009.74290945</c:v>
                </c:pt>
                <c:pt idx="232">
                  <c:v>1009.7428573000001</c:v>
                </c:pt>
                <c:pt idx="233">
                  <c:v>1009.7428424000001</c:v>
                </c:pt>
                <c:pt idx="234">
                  <c:v>1009.7426561499999</c:v>
                </c:pt>
                <c:pt idx="235">
                  <c:v>1009.6897835</c:v>
                </c:pt>
                <c:pt idx="236">
                  <c:v>1009.6895599999999</c:v>
                </c:pt>
                <c:pt idx="237">
                  <c:v>1009.67195565</c:v>
                </c:pt>
                <c:pt idx="238">
                  <c:v>1009.67049545</c:v>
                </c:pt>
                <c:pt idx="239">
                  <c:v>1009.6694897</c:v>
                </c:pt>
                <c:pt idx="240">
                  <c:v>1009.6694301</c:v>
                </c:pt>
                <c:pt idx="241">
                  <c:v>1009.6692364</c:v>
                </c:pt>
                <c:pt idx="242">
                  <c:v>1009.6687149000001</c:v>
                </c:pt>
                <c:pt idx="243">
                  <c:v>1009.6671802000001</c:v>
                </c:pt>
                <c:pt idx="244">
                  <c:v>1009.59469915</c:v>
                </c:pt>
                <c:pt idx="245">
                  <c:v>1009.44474555</c:v>
                </c:pt>
                <c:pt idx="246">
                  <c:v>1000.4450710499999</c:v>
                </c:pt>
                <c:pt idx="247">
                  <c:v>1000.44471345</c:v>
                </c:pt>
                <c:pt idx="248">
                  <c:v>1000.4445793499999</c:v>
                </c:pt>
                <c:pt idx="249">
                  <c:v>993.25857754999993</c:v>
                </c:pt>
                <c:pt idx="250">
                  <c:v>991.15702195000006</c:v>
                </c:pt>
                <c:pt idx="251">
                  <c:v>991.15661965000004</c:v>
                </c:pt>
                <c:pt idx="252">
                  <c:v>986.47150090000002</c:v>
                </c:pt>
                <c:pt idx="253">
                  <c:v>986.47138169999994</c:v>
                </c:pt>
                <c:pt idx="254">
                  <c:v>980.66665460000002</c:v>
                </c:pt>
                <c:pt idx="255">
                  <c:v>980.09919554999999</c:v>
                </c:pt>
                <c:pt idx="256">
                  <c:v>980.09909870000001</c:v>
                </c:pt>
                <c:pt idx="257">
                  <c:v>980.09909125000013</c:v>
                </c:pt>
                <c:pt idx="258">
                  <c:v>980.09900930000003</c:v>
                </c:pt>
                <c:pt idx="259">
                  <c:v>980.09888264999995</c:v>
                </c:pt>
                <c:pt idx="260">
                  <c:v>980.09878579999997</c:v>
                </c:pt>
                <c:pt idx="261">
                  <c:v>980.09877090000009</c:v>
                </c:pt>
                <c:pt idx="262">
                  <c:v>979.94138220000002</c:v>
                </c:pt>
                <c:pt idx="263">
                  <c:v>979.72637520000012</c:v>
                </c:pt>
                <c:pt idx="264">
                  <c:v>979.70265440000003</c:v>
                </c:pt>
                <c:pt idx="265">
                  <c:v>979.67749575000005</c:v>
                </c:pt>
                <c:pt idx="266">
                  <c:v>979.67662409999991</c:v>
                </c:pt>
                <c:pt idx="267">
                  <c:v>979.62695495000003</c:v>
                </c:pt>
                <c:pt idx="268">
                  <c:v>979.60342785000012</c:v>
                </c:pt>
                <c:pt idx="269">
                  <c:v>979.57765829999994</c:v>
                </c:pt>
                <c:pt idx="270">
                  <c:v>979.57763595000006</c:v>
                </c:pt>
                <c:pt idx="271">
                  <c:v>979.5774497000001</c:v>
                </c:pt>
                <c:pt idx="272">
                  <c:v>979.57743480000011</c:v>
                </c:pt>
                <c:pt idx="273">
                  <c:v>979.577405</c:v>
                </c:pt>
                <c:pt idx="274">
                  <c:v>979.57733795000013</c:v>
                </c:pt>
                <c:pt idx="275">
                  <c:v>979.57722620000004</c:v>
                </c:pt>
                <c:pt idx="276">
                  <c:v>979.57718150000005</c:v>
                </c:pt>
                <c:pt idx="277">
                  <c:v>979.55295410000008</c:v>
                </c:pt>
                <c:pt idx="278">
                  <c:v>979.55282</c:v>
                </c:pt>
                <c:pt idx="279">
                  <c:v>979.5528051</c:v>
                </c:pt>
                <c:pt idx="280">
                  <c:v>979.55277530000012</c:v>
                </c:pt>
                <c:pt idx="281">
                  <c:v>979.55248474999996</c:v>
                </c:pt>
                <c:pt idx="282">
                  <c:v>979.55239534999998</c:v>
                </c:pt>
                <c:pt idx="283">
                  <c:v>979.50383624999995</c:v>
                </c:pt>
                <c:pt idx="284">
                  <c:v>979.50307635000001</c:v>
                </c:pt>
                <c:pt idx="285">
                  <c:v>979.50307635000001</c:v>
                </c:pt>
                <c:pt idx="286">
                  <c:v>979.50307635000001</c:v>
                </c:pt>
                <c:pt idx="287">
                  <c:v>979.50303910000014</c:v>
                </c:pt>
                <c:pt idx="288">
                  <c:v>979.50300185000003</c:v>
                </c:pt>
                <c:pt idx="289">
                  <c:v>979.47837960000015</c:v>
                </c:pt>
                <c:pt idx="290">
                  <c:v>979.47832000000005</c:v>
                </c:pt>
                <c:pt idx="291">
                  <c:v>979.47826039999995</c:v>
                </c:pt>
                <c:pt idx="292">
                  <c:v>979.47823805000007</c:v>
                </c:pt>
                <c:pt idx="293">
                  <c:v>979.47818589999997</c:v>
                </c:pt>
                <c:pt idx="294">
                  <c:v>979.47805925000011</c:v>
                </c:pt>
                <c:pt idx="295">
                  <c:v>979.47804435000012</c:v>
                </c:pt>
                <c:pt idx="296">
                  <c:v>979.47802944999989</c:v>
                </c:pt>
                <c:pt idx="297">
                  <c:v>979.47782085000006</c:v>
                </c:pt>
                <c:pt idx="298">
                  <c:v>979.45587315</c:v>
                </c:pt>
                <c:pt idx="299">
                  <c:v>979.45544849999999</c:v>
                </c:pt>
                <c:pt idx="300">
                  <c:v>979.45411494999996</c:v>
                </c:pt>
                <c:pt idx="301">
                  <c:v>979.45397340000011</c:v>
                </c:pt>
                <c:pt idx="302">
                  <c:v>979.45357855000009</c:v>
                </c:pt>
                <c:pt idx="303">
                  <c:v>979.45347425000011</c:v>
                </c:pt>
                <c:pt idx="304">
                  <c:v>979.45342955000001</c:v>
                </c:pt>
                <c:pt idx="305">
                  <c:v>979.45339230000013</c:v>
                </c:pt>
                <c:pt idx="306">
                  <c:v>979.45316135000007</c:v>
                </c:pt>
                <c:pt idx="307">
                  <c:v>979.45315390000007</c:v>
                </c:pt>
                <c:pt idx="308">
                  <c:v>979.45308684999998</c:v>
                </c:pt>
                <c:pt idx="309">
                  <c:v>979.42877750000002</c:v>
                </c:pt>
                <c:pt idx="310">
                  <c:v>979.42875515000003</c:v>
                </c:pt>
                <c:pt idx="311">
                  <c:v>979.42874770000003</c:v>
                </c:pt>
                <c:pt idx="312">
                  <c:v>979.42849440000009</c:v>
                </c:pt>
                <c:pt idx="313">
                  <c:v>979.42832305000013</c:v>
                </c:pt>
                <c:pt idx="314">
                  <c:v>979.42832305000013</c:v>
                </c:pt>
                <c:pt idx="315">
                  <c:v>979.42818895000005</c:v>
                </c:pt>
                <c:pt idx="316">
                  <c:v>979.42815170000006</c:v>
                </c:pt>
                <c:pt idx="317">
                  <c:v>979.42812189999995</c:v>
                </c:pt>
                <c:pt idx="318">
                  <c:v>979.4038498000001</c:v>
                </c:pt>
                <c:pt idx="319">
                  <c:v>979.40346984999996</c:v>
                </c:pt>
                <c:pt idx="320">
                  <c:v>979.38142529999993</c:v>
                </c:pt>
                <c:pt idx="321">
                  <c:v>979.3811794500001</c:v>
                </c:pt>
                <c:pt idx="322">
                  <c:v>979.37913070000002</c:v>
                </c:pt>
                <c:pt idx="323">
                  <c:v>979.37896679999994</c:v>
                </c:pt>
                <c:pt idx="324">
                  <c:v>979.37895935000006</c:v>
                </c:pt>
                <c:pt idx="325">
                  <c:v>979.37893700000006</c:v>
                </c:pt>
                <c:pt idx="326">
                  <c:v>979.37886994999997</c:v>
                </c:pt>
                <c:pt idx="327">
                  <c:v>979.37885505000008</c:v>
                </c:pt>
                <c:pt idx="328">
                  <c:v>979.37884015000009</c:v>
                </c:pt>
                <c:pt idx="329">
                  <c:v>979.37884015000009</c:v>
                </c:pt>
                <c:pt idx="330">
                  <c:v>979.37881034999998</c:v>
                </c:pt>
                <c:pt idx="331">
                  <c:v>979.37870605000001</c:v>
                </c:pt>
                <c:pt idx="332">
                  <c:v>979.37851235000005</c:v>
                </c:pt>
                <c:pt idx="333">
                  <c:v>979.37844530000007</c:v>
                </c:pt>
                <c:pt idx="334">
                  <c:v>979.37836334999997</c:v>
                </c:pt>
                <c:pt idx="335">
                  <c:v>979.35555145000001</c:v>
                </c:pt>
                <c:pt idx="336">
                  <c:v>979.35449354999992</c:v>
                </c:pt>
                <c:pt idx="337">
                  <c:v>979.35426260000008</c:v>
                </c:pt>
                <c:pt idx="338">
                  <c:v>979.35425515000009</c:v>
                </c:pt>
                <c:pt idx="339">
                  <c:v>979.35421789999998</c:v>
                </c:pt>
                <c:pt idx="340">
                  <c:v>979.35413595</c:v>
                </c:pt>
                <c:pt idx="341">
                  <c:v>979.35406145000002</c:v>
                </c:pt>
                <c:pt idx="342">
                  <c:v>979.35400930000014</c:v>
                </c:pt>
                <c:pt idx="343">
                  <c:v>979.35389009999994</c:v>
                </c:pt>
                <c:pt idx="344">
                  <c:v>979.35377090000009</c:v>
                </c:pt>
                <c:pt idx="345">
                  <c:v>979.35355485000002</c:v>
                </c:pt>
                <c:pt idx="346">
                  <c:v>979.32934980000016</c:v>
                </c:pt>
                <c:pt idx="347">
                  <c:v>979.3291114000001</c:v>
                </c:pt>
                <c:pt idx="348">
                  <c:v>979.32904435</c:v>
                </c:pt>
                <c:pt idx="349">
                  <c:v>979.32890279999992</c:v>
                </c:pt>
                <c:pt idx="350">
                  <c:v>979.32879105000006</c:v>
                </c:pt>
                <c:pt idx="351">
                  <c:v>979.30671670000004</c:v>
                </c:pt>
                <c:pt idx="352">
                  <c:v>979.30460835000008</c:v>
                </c:pt>
                <c:pt idx="353">
                  <c:v>979.30457109999998</c:v>
                </c:pt>
                <c:pt idx="354">
                  <c:v>979.30455620000009</c:v>
                </c:pt>
                <c:pt idx="355">
                  <c:v>979.30445935000012</c:v>
                </c:pt>
                <c:pt idx="356">
                  <c:v>979.30445190000012</c:v>
                </c:pt>
                <c:pt idx="357">
                  <c:v>979.30440720000001</c:v>
                </c:pt>
                <c:pt idx="358">
                  <c:v>979.30436995000014</c:v>
                </c:pt>
                <c:pt idx="359">
                  <c:v>979.30435505000014</c:v>
                </c:pt>
                <c:pt idx="360">
                  <c:v>979.30433269999992</c:v>
                </c:pt>
                <c:pt idx="361">
                  <c:v>979.30422095000006</c:v>
                </c:pt>
                <c:pt idx="362">
                  <c:v>979.30416879999996</c:v>
                </c:pt>
                <c:pt idx="363">
                  <c:v>979.30416134999996</c:v>
                </c:pt>
                <c:pt idx="364">
                  <c:v>979.30408684999998</c:v>
                </c:pt>
                <c:pt idx="365">
                  <c:v>979.30401980000011</c:v>
                </c:pt>
                <c:pt idx="366">
                  <c:v>979.30401234999988</c:v>
                </c:pt>
                <c:pt idx="367">
                  <c:v>979.30389315000002</c:v>
                </c:pt>
                <c:pt idx="368">
                  <c:v>979.27958379999995</c:v>
                </c:pt>
                <c:pt idx="369">
                  <c:v>979.2751138000001</c:v>
                </c:pt>
                <c:pt idx="370">
                  <c:v>979.25485724999999</c:v>
                </c:pt>
                <c:pt idx="371">
                  <c:v>979.23005620000015</c:v>
                </c:pt>
                <c:pt idx="372">
                  <c:v>979.15547425</c:v>
                </c:pt>
                <c:pt idx="373">
                  <c:v>979.15534015000014</c:v>
                </c:pt>
                <c:pt idx="374">
                  <c:v>979.15528800000004</c:v>
                </c:pt>
                <c:pt idx="375">
                  <c:v>979.15498254999989</c:v>
                </c:pt>
                <c:pt idx="376">
                  <c:v>979.13067320000016</c:v>
                </c:pt>
                <c:pt idx="377">
                  <c:v>979.08088485000007</c:v>
                </c:pt>
                <c:pt idx="378">
                  <c:v>979.08083269999997</c:v>
                </c:pt>
                <c:pt idx="379">
                  <c:v>979.08082524999998</c:v>
                </c:pt>
                <c:pt idx="380">
                  <c:v>979.08081034999998</c:v>
                </c:pt>
                <c:pt idx="381">
                  <c:v>979.00616880000007</c:v>
                </c:pt>
                <c:pt idx="382">
                  <c:v>978.98121129999993</c:v>
                </c:pt>
                <c:pt idx="383">
                  <c:v>978.88246155000002</c:v>
                </c:pt>
                <c:pt idx="384">
                  <c:v>978.88226785000006</c:v>
                </c:pt>
                <c:pt idx="385">
                  <c:v>978.88226040000006</c:v>
                </c:pt>
                <c:pt idx="386">
                  <c:v>978.88224549999995</c:v>
                </c:pt>
                <c:pt idx="387">
                  <c:v>978.88223804999996</c:v>
                </c:pt>
                <c:pt idx="388">
                  <c:v>978.8821114000001</c:v>
                </c:pt>
                <c:pt idx="389">
                  <c:v>978.88196240000002</c:v>
                </c:pt>
                <c:pt idx="390">
                  <c:v>978.80725380000001</c:v>
                </c:pt>
                <c:pt idx="391">
                  <c:v>978.73335725000004</c:v>
                </c:pt>
                <c:pt idx="392">
                  <c:v>978.73327529999995</c:v>
                </c:pt>
                <c:pt idx="393">
                  <c:v>978.73326785000006</c:v>
                </c:pt>
                <c:pt idx="394">
                  <c:v>978.70812409999996</c:v>
                </c:pt>
                <c:pt idx="395">
                  <c:v>970.28174200000001</c:v>
                </c:pt>
                <c:pt idx="396">
                  <c:v>966.84651719999999</c:v>
                </c:pt>
                <c:pt idx="397">
                  <c:v>966.77049740000007</c:v>
                </c:pt>
                <c:pt idx="398">
                  <c:v>966.77008765000005</c:v>
                </c:pt>
                <c:pt idx="399">
                  <c:v>966.76996099999997</c:v>
                </c:pt>
                <c:pt idx="400">
                  <c:v>955.58901590000016</c:v>
                </c:pt>
                <c:pt idx="401">
                  <c:v>955.58840499999997</c:v>
                </c:pt>
                <c:pt idx="402">
                  <c:v>955.58830069999999</c:v>
                </c:pt>
                <c:pt idx="403">
                  <c:v>955.51384539999992</c:v>
                </c:pt>
                <c:pt idx="404">
                  <c:v>934.00094230000002</c:v>
                </c:pt>
                <c:pt idx="405">
                  <c:v>933.99994400000003</c:v>
                </c:pt>
                <c:pt idx="406">
                  <c:v>933.99969069999997</c:v>
                </c:pt>
                <c:pt idx="407">
                  <c:v>933.99966835000009</c:v>
                </c:pt>
                <c:pt idx="408">
                  <c:v>933.99959385</c:v>
                </c:pt>
                <c:pt idx="409">
                  <c:v>933.99954170000001</c:v>
                </c:pt>
                <c:pt idx="410">
                  <c:v>933.99899040000003</c:v>
                </c:pt>
                <c:pt idx="411">
                  <c:v>933.99880414999996</c:v>
                </c:pt>
                <c:pt idx="412">
                  <c:v>933.99879670000007</c:v>
                </c:pt>
                <c:pt idx="413">
                  <c:v>933.998603</c:v>
                </c:pt>
                <c:pt idx="414">
                  <c:v>933.92392419999999</c:v>
                </c:pt>
                <c:pt idx="415">
                  <c:v>933.85098870000002</c:v>
                </c:pt>
                <c:pt idx="416">
                  <c:v>933.77554255000007</c:v>
                </c:pt>
                <c:pt idx="417">
                  <c:v>932.50400635000005</c:v>
                </c:pt>
                <c:pt idx="418">
                  <c:v>932.50395420000007</c:v>
                </c:pt>
                <c:pt idx="419">
                  <c:v>932.50393184999996</c:v>
                </c:pt>
                <c:pt idx="420">
                  <c:v>932.50390950000008</c:v>
                </c:pt>
                <c:pt idx="421">
                  <c:v>932.50382009999998</c:v>
                </c:pt>
                <c:pt idx="422">
                  <c:v>932.50364875000002</c:v>
                </c:pt>
                <c:pt idx="423">
                  <c:v>932.50361150000003</c:v>
                </c:pt>
                <c:pt idx="424">
                  <c:v>932.50344760000007</c:v>
                </c:pt>
                <c:pt idx="425">
                  <c:v>931.32442550000007</c:v>
                </c:pt>
                <c:pt idx="426">
                  <c:v>931.25014900000008</c:v>
                </c:pt>
                <c:pt idx="427">
                  <c:v>931.17570860000001</c:v>
                </c:pt>
                <c:pt idx="428">
                  <c:v>931.17564900000002</c:v>
                </c:pt>
                <c:pt idx="429">
                  <c:v>931.17564900000002</c:v>
                </c:pt>
                <c:pt idx="430">
                  <c:v>931.17546274999995</c:v>
                </c:pt>
                <c:pt idx="431">
                  <c:v>931.17529139999999</c:v>
                </c:pt>
                <c:pt idx="432">
                  <c:v>931.17520200000001</c:v>
                </c:pt>
                <c:pt idx="433">
                  <c:v>931.17519455000001</c:v>
                </c:pt>
                <c:pt idx="434">
                  <c:v>927.33319975000006</c:v>
                </c:pt>
                <c:pt idx="435">
                  <c:v>927.3330582000001</c:v>
                </c:pt>
                <c:pt idx="436">
                  <c:v>927.33303584999999</c:v>
                </c:pt>
                <c:pt idx="437">
                  <c:v>927.33258139999998</c:v>
                </c:pt>
                <c:pt idx="438">
                  <c:v>925.21044890000007</c:v>
                </c:pt>
                <c:pt idx="439">
                  <c:v>925.21033714999999</c:v>
                </c:pt>
                <c:pt idx="440">
                  <c:v>925.20990505000009</c:v>
                </c:pt>
                <c:pt idx="441">
                  <c:v>925.20983799999999</c:v>
                </c:pt>
                <c:pt idx="442">
                  <c:v>918.44334570000001</c:v>
                </c:pt>
                <c:pt idx="443">
                  <c:v>915.51170365000007</c:v>
                </c:pt>
                <c:pt idx="444">
                  <c:v>915.51145035000002</c:v>
                </c:pt>
                <c:pt idx="445">
                  <c:v>915.51139075000003</c:v>
                </c:pt>
                <c:pt idx="446">
                  <c:v>915.43700994999995</c:v>
                </c:pt>
                <c:pt idx="447">
                  <c:v>915.43687584999998</c:v>
                </c:pt>
                <c:pt idx="448">
                  <c:v>913.55153415000007</c:v>
                </c:pt>
                <c:pt idx="449">
                  <c:v>913.47621464999997</c:v>
                </c:pt>
                <c:pt idx="450">
                  <c:v>913.47604330000001</c:v>
                </c:pt>
                <c:pt idx="451">
                  <c:v>913.47570059999998</c:v>
                </c:pt>
                <c:pt idx="452">
                  <c:v>913.47552180000002</c:v>
                </c:pt>
                <c:pt idx="453">
                  <c:v>913.40126765000002</c:v>
                </c:pt>
                <c:pt idx="454">
                  <c:v>912.03431930000011</c:v>
                </c:pt>
                <c:pt idx="455">
                  <c:v>912.03401384999995</c:v>
                </c:pt>
                <c:pt idx="456">
                  <c:v>908.77051900000004</c:v>
                </c:pt>
                <c:pt idx="457">
                  <c:v>908.76990064999995</c:v>
                </c:pt>
                <c:pt idx="458">
                  <c:v>908.76988574999996</c:v>
                </c:pt>
                <c:pt idx="459">
                  <c:v>908.62150410000004</c:v>
                </c:pt>
                <c:pt idx="460">
                  <c:v>899.58724670000004</c:v>
                </c:pt>
                <c:pt idx="461">
                  <c:v>899.58720945000005</c:v>
                </c:pt>
                <c:pt idx="462">
                  <c:v>899.58709769999996</c:v>
                </c:pt>
                <c:pt idx="463">
                  <c:v>899.58703065000009</c:v>
                </c:pt>
                <c:pt idx="464">
                  <c:v>899.58701574999998</c:v>
                </c:pt>
                <c:pt idx="465">
                  <c:v>899.5869859500001</c:v>
                </c:pt>
                <c:pt idx="466">
                  <c:v>899.58664325000007</c:v>
                </c:pt>
                <c:pt idx="467">
                  <c:v>899.58659109999996</c:v>
                </c:pt>
                <c:pt idx="468">
                  <c:v>895.86760325</c:v>
                </c:pt>
                <c:pt idx="469">
                  <c:v>895.56899235000003</c:v>
                </c:pt>
                <c:pt idx="470">
                  <c:v>892.18295990000001</c:v>
                </c:pt>
                <c:pt idx="471">
                  <c:v>892.18263954999998</c:v>
                </c:pt>
                <c:pt idx="472">
                  <c:v>892.18263954999998</c:v>
                </c:pt>
                <c:pt idx="473">
                  <c:v>892.18236390000004</c:v>
                </c:pt>
                <c:pt idx="474">
                  <c:v>892.18235645000004</c:v>
                </c:pt>
                <c:pt idx="475">
                  <c:v>892.03329685000006</c:v>
                </c:pt>
                <c:pt idx="476">
                  <c:v>892.03328195000006</c:v>
                </c:pt>
                <c:pt idx="477">
                  <c:v>892.03324470000007</c:v>
                </c:pt>
                <c:pt idx="478">
                  <c:v>885.30834575000006</c:v>
                </c:pt>
                <c:pt idx="479">
                  <c:v>885.23415864999993</c:v>
                </c:pt>
                <c:pt idx="480">
                  <c:v>885.20159469999999</c:v>
                </c:pt>
                <c:pt idx="481">
                  <c:v>885.16002370000012</c:v>
                </c:pt>
                <c:pt idx="482">
                  <c:v>885.15644025000006</c:v>
                </c:pt>
                <c:pt idx="483">
                  <c:v>885.15568035000001</c:v>
                </c:pt>
                <c:pt idx="484">
                  <c:v>885.15567290000001</c:v>
                </c:pt>
                <c:pt idx="485">
                  <c:v>885.15274505000002</c:v>
                </c:pt>
                <c:pt idx="486">
                  <c:v>885.12848039999994</c:v>
                </c:pt>
                <c:pt idx="487">
                  <c:v>885.12846550000006</c:v>
                </c:pt>
                <c:pt idx="488">
                  <c:v>885.12799615000006</c:v>
                </c:pt>
                <c:pt idx="489">
                  <c:v>885.09684025000001</c:v>
                </c:pt>
                <c:pt idx="490">
                  <c:v>885.08067374999996</c:v>
                </c:pt>
                <c:pt idx="491">
                  <c:v>885.08022675000007</c:v>
                </c:pt>
                <c:pt idx="492">
                  <c:v>885.07961584999998</c:v>
                </c:pt>
                <c:pt idx="493">
                  <c:v>885.00934744999995</c:v>
                </c:pt>
                <c:pt idx="494">
                  <c:v>885.00931765000007</c:v>
                </c:pt>
                <c:pt idx="495">
                  <c:v>885.00906435000002</c:v>
                </c:pt>
                <c:pt idx="496">
                  <c:v>885.00884829999995</c:v>
                </c:pt>
                <c:pt idx="497">
                  <c:v>885.00772335000011</c:v>
                </c:pt>
                <c:pt idx="498">
                  <c:v>885.00759670000002</c:v>
                </c:pt>
                <c:pt idx="499">
                  <c:v>885.00703795000004</c:v>
                </c:pt>
                <c:pt idx="500">
                  <c:v>885.00635999999997</c:v>
                </c:pt>
                <c:pt idx="501">
                  <c:v>885.00621100000001</c:v>
                </c:pt>
                <c:pt idx="502">
                  <c:v>885.00618865000001</c:v>
                </c:pt>
                <c:pt idx="503">
                  <c:v>885.00615140000002</c:v>
                </c:pt>
                <c:pt idx="504">
                  <c:v>885.00602475000005</c:v>
                </c:pt>
                <c:pt idx="505">
                  <c:v>885.00577145</c:v>
                </c:pt>
                <c:pt idx="506">
                  <c:v>885.00565225000003</c:v>
                </c:pt>
                <c:pt idx="507">
                  <c:v>885.00561500000003</c:v>
                </c:pt>
                <c:pt idx="508">
                  <c:v>885.00554049999994</c:v>
                </c:pt>
                <c:pt idx="509">
                  <c:v>885.00554049999994</c:v>
                </c:pt>
                <c:pt idx="510">
                  <c:v>885.00485509999999</c:v>
                </c:pt>
                <c:pt idx="511">
                  <c:v>885.00469865000002</c:v>
                </c:pt>
                <c:pt idx="512">
                  <c:v>884.93166630000007</c:v>
                </c:pt>
                <c:pt idx="513">
                  <c:v>884.93150985</c:v>
                </c:pt>
                <c:pt idx="514">
                  <c:v>884.93125655000006</c:v>
                </c:pt>
                <c:pt idx="515">
                  <c:v>884.85852965000004</c:v>
                </c:pt>
                <c:pt idx="516">
                  <c:v>884.63277230000006</c:v>
                </c:pt>
                <c:pt idx="517">
                  <c:v>881.81601669999998</c:v>
                </c:pt>
                <c:pt idx="518">
                  <c:v>881.81576340000004</c:v>
                </c:pt>
                <c:pt idx="519">
                  <c:v>881.74165825</c:v>
                </c:pt>
                <c:pt idx="520">
                  <c:v>881.74152415000003</c:v>
                </c:pt>
                <c:pt idx="521">
                  <c:v>881.74148690000004</c:v>
                </c:pt>
                <c:pt idx="522">
                  <c:v>881.74136025000007</c:v>
                </c:pt>
                <c:pt idx="523">
                  <c:v>881.66719550000005</c:v>
                </c:pt>
                <c:pt idx="524">
                  <c:v>881.66668890000005</c:v>
                </c:pt>
                <c:pt idx="525">
                  <c:v>881.66476679999994</c:v>
                </c:pt>
                <c:pt idx="526">
                  <c:v>881.6645656500001</c:v>
                </c:pt>
                <c:pt idx="527">
                  <c:v>881.66447625000001</c:v>
                </c:pt>
                <c:pt idx="528">
                  <c:v>881.5922336000001</c:v>
                </c:pt>
                <c:pt idx="529">
                  <c:v>881.58969315000002</c:v>
                </c:pt>
                <c:pt idx="530">
                  <c:v>881.44100605000006</c:v>
                </c:pt>
                <c:pt idx="531">
                  <c:v>881.40354000000002</c:v>
                </c:pt>
                <c:pt idx="532">
                  <c:v>881.36663270000008</c:v>
                </c:pt>
                <c:pt idx="533">
                  <c:v>881.3665582000001</c:v>
                </c:pt>
                <c:pt idx="534">
                  <c:v>881.36620059999996</c:v>
                </c:pt>
                <c:pt idx="535">
                  <c:v>881.29463590000012</c:v>
                </c:pt>
                <c:pt idx="536">
                  <c:v>881.29417400000011</c:v>
                </c:pt>
                <c:pt idx="537">
                  <c:v>881.29416655</c:v>
                </c:pt>
                <c:pt idx="538">
                  <c:v>881.29416655</c:v>
                </c:pt>
                <c:pt idx="539">
                  <c:v>881.2941591</c:v>
                </c:pt>
                <c:pt idx="540">
                  <c:v>881.29316080000001</c:v>
                </c:pt>
                <c:pt idx="541">
                  <c:v>881.29314590000001</c:v>
                </c:pt>
                <c:pt idx="542">
                  <c:v>881.29209545000003</c:v>
                </c:pt>
                <c:pt idx="543">
                  <c:v>881.29190174999997</c:v>
                </c:pt>
                <c:pt idx="544">
                  <c:v>881.29158140000004</c:v>
                </c:pt>
                <c:pt idx="545">
                  <c:v>881.21960694999996</c:v>
                </c:pt>
                <c:pt idx="546">
                  <c:v>881.21730489999993</c:v>
                </c:pt>
                <c:pt idx="547">
                  <c:v>881.14509205000002</c:v>
                </c:pt>
                <c:pt idx="548">
                  <c:v>881.07056224999997</c:v>
                </c:pt>
                <c:pt idx="549">
                  <c:v>881.06819315000007</c:v>
                </c:pt>
                <c:pt idx="550">
                  <c:v>879.18151045000002</c:v>
                </c:pt>
                <c:pt idx="551">
                  <c:v>879.18134655000006</c:v>
                </c:pt>
                <c:pt idx="552">
                  <c:v>879.18092935000004</c:v>
                </c:pt>
                <c:pt idx="553">
                  <c:v>879.18078780000008</c:v>
                </c:pt>
                <c:pt idx="554">
                  <c:v>873.52061304999995</c:v>
                </c:pt>
                <c:pt idx="555">
                  <c:v>873.52050874999998</c:v>
                </c:pt>
                <c:pt idx="556">
                  <c:v>873.52008410000008</c:v>
                </c:pt>
                <c:pt idx="557">
                  <c:v>868.3805079</c:v>
                </c:pt>
                <c:pt idx="558">
                  <c:v>866.85770555000011</c:v>
                </c:pt>
                <c:pt idx="559">
                  <c:v>864.07810310000002</c:v>
                </c:pt>
                <c:pt idx="560">
                  <c:v>864.00378190000004</c:v>
                </c:pt>
                <c:pt idx="561">
                  <c:v>864.00354349999998</c:v>
                </c:pt>
                <c:pt idx="562">
                  <c:v>860.11670715000002</c:v>
                </c:pt>
                <c:pt idx="563">
                  <c:v>859.96726760000001</c:v>
                </c:pt>
                <c:pt idx="564">
                  <c:v>859.8139764</c:v>
                </c:pt>
                <c:pt idx="565">
                  <c:v>859.81395405000001</c:v>
                </c:pt>
                <c:pt idx="566">
                  <c:v>859.81393915000001</c:v>
                </c:pt>
                <c:pt idx="567">
                  <c:v>859.81390935000002</c:v>
                </c:pt>
                <c:pt idx="568">
                  <c:v>859.81383485000003</c:v>
                </c:pt>
                <c:pt idx="569">
                  <c:v>859.81374545000006</c:v>
                </c:pt>
                <c:pt idx="570">
                  <c:v>859.81372309999995</c:v>
                </c:pt>
                <c:pt idx="571">
                  <c:v>859.81370075000007</c:v>
                </c:pt>
                <c:pt idx="572">
                  <c:v>859.81368584999996</c:v>
                </c:pt>
                <c:pt idx="573">
                  <c:v>859.81366350000008</c:v>
                </c:pt>
                <c:pt idx="574">
                  <c:v>859.81364859999996</c:v>
                </c:pt>
                <c:pt idx="575">
                  <c:v>859.81364114999997</c:v>
                </c:pt>
                <c:pt idx="576">
                  <c:v>859.81354429999999</c:v>
                </c:pt>
                <c:pt idx="577">
                  <c:v>859.8135145</c:v>
                </c:pt>
                <c:pt idx="578">
                  <c:v>859.81350705</c:v>
                </c:pt>
                <c:pt idx="579">
                  <c:v>859.81350705</c:v>
                </c:pt>
                <c:pt idx="580">
                  <c:v>859.81348470000012</c:v>
                </c:pt>
                <c:pt idx="581">
                  <c:v>859.81341765000002</c:v>
                </c:pt>
                <c:pt idx="582">
                  <c:v>859.81341765000002</c:v>
                </c:pt>
                <c:pt idx="583">
                  <c:v>859.81340275000002</c:v>
                </c:pt>
                <c:pt idx="584">
                  <c:v>859.79120920000003</c:v>
                </c:pt>
                <c:pt idx="585">
                  <c:v>859.66508815000009</c:v>
                </c:pt>
                <c:pt idx="586">
                  <c:v>859.66490190000002</c:v>
                </c:pt>
                <c:pt idx="587">
                  <c:v>859.66459644999998</c:v>
                </c:pt>
                <c:pt idx="588">
                  <c:v>859.64130030000001</c:v>
                </c:pt>
                <c:pt idx="589">
                  <c:v>859.64022750000004</c:v>
                </c:pt>
                <c:pt idx="590">
                  <c:v>859.64007849999996</c:v>
                </c:pt>
                <c:pt idx="591">
                  <c:v>859.63973580000004</c:v>
                </c:pt>
                <c:pt idx="592">
                  <c:v>859.63970599999993</c:v>
                </c:pt>
                <c:pt idx="593">
                  <c:v>859.63966874999994</c:v>
                </c:pt>
                <c:pt idx="594">
                  <c:v>859.63966874999994</c:v>
                </c:pt>
                <c:pt idx="595">
                  <c:v>859.63948994999998</c:v>
                </c:pt>
                <c:pt idx="596">
                  <c:v>859.63945269999999</c:v>
                </c:pt>
                <c:pt idx="597">
                  <c:v>859.63936330000001</c:v>
                </c:pt>
                <c:pt idx="598">
                  <c:v>859.63892375</c:v>
                </c:pt>
                <c:pt idx="599">
                  <c:v>859.63783605000003</c:v>
                </c:pt>
                <c:pt idx="600">
                  <c:v>859.63769449999995</c:v>
                </c:pt>
                <c:pt idx="601">
                  <c:v>859.56550400000003</c:v>
                </c:pt>
                <c:pt idx="602">
                  <c:v>859.56531029999996</c:v>
                </c:pt>
                <c:pt idx="603">
                  <c:v>859.56531029999996</c:v>
                </c:pt>
                <c:pt idx="604">
                  <c:v>859.56346270000006</c:v>
                </c:pt>
                <c:pt idx="605">
                  <c:v>859.49148825000009</c:v>
                </c:pt>
                <c:pt idx="606">
                  <c:v>859.49098165000009</c:v>
                </c:pt>
                <c:pt idx="607">
                  <c:v>859.49068364999994</c:v>
                </c:pt>
                <c:pt idx="608">
                  <c:v>859.41573664999999</c:v>
                </c:pt>
                <c:pt idx="609">
                  <c:v>859.34202634999997</c:v>
                </c:pt>
                <c:pt idx="610">
                  <c:v>859.34150484999998</c:v>
                </c:pt>
                <c:pt idx="611">
                  <c:v>859.19274325000004</c:v>
                </c:pt>
                <c:pt idx="612">
                  <c:v>855.02595080000003</c:v>
                </c:pt>
                <c:pt idx="613">
                  <c:v>853.20705565000003</c:v>
                </c:pt>
                <c:pt idx="614">
                  <c:v>852.75049730000001</c:v>
                </c:pt>
                <c:pt idx="615">
                  <c:v>852.67649645000006</c:v>
                </c:pt>
                <c:pt idx="616">
                  <c:v>852.60072994999996</c:v>
                </c:pt>
                <c:pt idx="617">
                  <c:v>852.52640130000009</c:v>
                </c:pt>
                <c:pt idx="618">
                  <c:v>852.45185660000004</c:v>
                </c:pt>
                <c:pt idx="619">
                  <c:v>852.45183424999993</c:v>
                </c:pt>
                <c:pt idx="620">
                  <c:v>852.45082849999994</c:v>
                </c:pt>
                <c:pt idx="621">
                  <c:v>852.45078379999995</c:v>
                </c:pt>
                <c:pt idx="622">
                  <c:v>852.45077634999996</c:v>
                </c:pt>
                <c:pt idx="623">
                  <c:v>852.45072420000008</c:v>
                </c:pt>
                <c:pt idx="624">
                  <c:v>852.45068694999998</c:v>
                </c:pt>
                <c:pt idx="625">
                  <c:v>852.45068694999998</c:v>
                </c:pt>
                <c:pt idx="626">
                  <c:v>852.45067949999998</c:v>
                </c:pt>
                <c:pt idx="627">
                  <c:v>852.45064224999999</c:v>
                </c:pt>
                <c:pt idx="628">
                  <c:v>852.4506273500001</c:v>
                </c:pt>
                <c:pt idx="629">
                  <c:v>852.45061989999999</c:v>
                </c:pt>
                <c:pt idx="630">
                  <c:v>852.450605</c:v>
                </c:pt>
                <c:pt idx="631">
                  <c:v>852.37658925000005</c:v>
                </c:pt>
                <c:pt idx="632">
                  <c:v>852.37647004999997</c:v>
                </c:pt>
                <c:pt idx="633">
                  <c:v>852.37646259999997</c:v>
                </c:pt>
                <c:pt idx="634">
                  <c:v>852.37626145000002</c:v>
                </c:pt>
                <c:pt idx="635">
                  <c:v>852.37614224999993</c:v>
                </c:pt>
                <c:pt idx="636">
                  <c:v>852.37598580000008</c:v>
                </c:pt>
                <c:pt idx="637">
                  <c:v>852.37597834999997</c:v>
                </c:pt>
                <c:pt idx="638">
                  <c:v>852.37594855000009</c:v>
                </c:pt>
                <c:pt idx="639">
                  <c:v>852.30188810000004</c:v>
                </c:pt>
                <c:pt idx="640">
                  <c:v>852.15314139999998</c:v>
                </c:pt>
                <c:pt idx="641">
                  <c:v>852.15294025000003</c:v>
                </c:pt>
                <c:pt idx="642">
                  <c:v>852.15263479999999</c:v>
                </c:pt>
                <c:pt idx="643">
                  <c:v>852.15251560000002</c:v>
                </c:pt>
                <c:pt idx="644">
                  <c:v>851.73022724999998</c:v>
                </c:pt>
                <c:pt idx="645">
                  <c:v>851.29662980000001</c:v>
                </c:pt>
                <c:pt idx="646">
                  <c:v>851.18412735000004</c:v>
                </c:pt>
                <c:pt idx="647">
                  <c:v>851.14792034999994</c:v>
                </c:pt>
                <c:pt idx="648">
                  <c:v>851.14766705</c:v>
                </c:pt>
                <c:pt idx="649">
                  <c:v>851.14766705</c:v>
                </c:pt>
                <c:pt idx="650">
                  <c:v>851.07367365000005</c:v>
                </c:pt>
                <c:pt idx="651">
                  <c:v>851.07356934999996</c:v>
                </c:pt>
                <c:pt idx="652">
                  <c:v>851.07353209999997</c:v>
                </c:pt>
                <c:pt idx="653">
                  <c:v>851.07352464999997</c:v>
                </c:pt>
                <c:pt idx="654">
                  <c:v>851.07345014999999</c:v>
                </c:pt>
                <c:pt idx="655">
                  <c:v>851.073398</c:v>
                </c:pt>
                <c:pt idx="656">
                  <c:v>851.07337565000012</c:v>
                </c:pt>
                <c:pt idx="657">
                  <c:v>851.07326390000003</c:v>
                </c:pt>
                <c:pt idx="658">
                  <c:v>851.07320430000004</c:v>
                </c:pt>
                <c:pt idx="659">
                  <c:v>851.07316705000005</c:v>
                </c:pt>
                <c:pt idx="660">
                  <c:v>851.07304785000008</c:v>
                </c:pt>
                <c:pt idx="661">
                  <c:v>851.07293609999999</c:v>
                </c:pt>
                <c:pt idx="662">
                  <c:v>850.99916619999999</c:v>
                </c:pt>
                <c:pt idx="663">
                  <c:v>850.99915875000011</c:v>
                </c:pt>
                <c:pt idx="664">
                  <c:v>850.99909170000001</c:v>
                </c:pt>
                <c:pt idx="665">
                  <c:v>850.99891290000005</c:v>
                </c:pt>
                <c:pt idx="666">
                  <c:v>850.99889799999994</c:v>
                </c:pt>
                <c:pt idx="667">
                  <c:v>850.9986447</c:v>
                </c:pt>
                <c:pt idx="668">
                  <c:v>850.99845845000004</c:v>
                </c:pt>
                <c:pt idx="669">
                  <c:v>850.92467364999993</c:v>
                </c:pt>
                <c:pt idx="670">
                  <c:v>850.92459915000006</c:v>
                </c:pt>
                <c:pt idx="671">
                  <c:v>850.92439055</c:v>
                </c:pt>
                <c:pt idx="672">
                  <c:v>850.9243682</c:v>
                </c:pt>
                <c:pt idx="673">
                  <c:v>850.92426390000003</c:v>
                </c:pt>
                <c:pt idx="674">
                  <c:v>850.92415215000005</c:v>
                </c:pt>
                <c:pt idx="675">
                  <c:v>850.92414470000006</c:v>
                </c:pt>
                <c:pt idx="676">
                  <c:v>850.92401805000009</c:v>
                </c:pt>
                <c:pt idx="677">
                  <c:v>850.77521920000004</c:v>
                </c:pt>
                <c:pt idx="678">
                  <c:v>841.41221565000001</c:v>
                </c:pt>
                <c:pt idx="679">
                  <c:v>841.33770075000007</c:v>
                </c:pt>
                <c:pt idx="680">
                  <c:v>841.33764860000008</c:v>
                </c:pt>
                <c:pt idx="681">
                  <c:v>841.26358815000003</c:v>
                </c:pt>
                <c:pt idx="682">
                  <c:v>841.26358070000003</c:v>
                </c:pt>
                <c:pt idx="683">
                  <c:v>841.26334230000009</c:v>
                </c:pt>
                <c:pt idx="684">
                  <c:v>841.26333484999998</c:v>
                </c:pt>
                <c:pt idx="685">
                  <c:v>841.26332739999998</c:v>
                </c:pt>
                <c:pt idx="686">
                  <c:v>841.26305175000005</c:v>
                </c:pt>
                <c:pt idx="687">
                  <c:v>841.26252280000006</c:v>
                </c:pt>
                <c:pt idx="688">
                  <c:v>839.41757500000006</c:v>
                </c:pt>
                <c:pt idx="689">
                  <c:v>839.26809075000006</c:v>
                </c:pt>
                <c:pt idx="690">
                  <c:v>839.23884205000002</c:v>
                </c:pt>
                <c:pt idx="691">
                  <c:v>839.23879735000003</c:v>
                </c:pt>
                <c:pt idx="692">
                  <c:v>839.23878245000003</c:v>
                </c:pt>
                <c:pt idx="693">
                  <c:v>839.23821624999994</c:v>
                </c:pt>
                <c:pt idx="694">
                  <c:v>839.19405265</c:v>
                </c:pt>
                <c:pt idx="695">
                  <c:v>836.81251860000009</c:v>
                </c:pt>
                <c:pt idx="696">
                  <c:v>832.34548370000005</c:v>
                </c:pt>
                <c:pt idx="697">
                  <c:v>832.34535705000008</c:v>
                </c:pt>
                <c:pt idx="698">
                  <c:v>832.34531979999997</c:v>
                </c:pt>
                <c:pt idx="699">
                  <c:v>832.34531235000009</c:v>
                </c:pt>
                <c:pt idx="700">
                  <c:v>832.04739429999995</c:v>
                </c:pt>
                <c:pt idx="701">
                  <c:v>832.04735704999996</c:v>
                </c:pt>
                <c:pt idx="702">
                  <c:v>832.04730489999997</c:v>
                </c:pt>
                <c:pt idx="703">
                  <c:v>832.04730489999997</c:v>
                </c:pt>
                <c:pt idx="704">
                  <c:v>832.04729000000009</c:v>
                </c:pt>
                <c:pt idx="705">
                  <c:v>830.99938789999999</c:v>
                </c:pt>
                <c:pt idx="706">
                  <c:v>830.90137570000002</c:v>
                </c:pt>
                <c:pt idx="707">
                  <c:v>830.85048475000008</c:v>
                </c:pt>
                <c:pt idx="708">
                  <c:v>830.62676870000007</c:v>
                </c:pt>
                <c:pt idx="709">
                  <c:v>830.62676125000007</c:v>
                </c:pt>
                <c:pt idx="710">
                  <c:v>830.62651540000002</c:v>
                </c:pt>
                <c:pt idx="711">
                  <c:v>830.62641110000004</c:v>
                </c:pt>
                <c:pt idx="712">
                  <c:v>830.62635895000005</c:v>
                </c:pt>
                <c:pt idx="713">
                  <c:v>830.62629189999996</c:v>
                </c:pt>
                <c:pt idx="714">
                  <c:v>830.62626210000008</c:v>
                </c:pt>
                <c:pt idx="715">
                  <c:v>830.62625465000008</c:v>
                </c:pt>
                <c:pt idx="716">
                  <c:v>830.6261727000001</c:v>
                </c:pt>
                <c:pt idx="717">
                  <c:v>830.55427275</c:v>
                </c:pt>
                <c:pt idx="718">
                  <c:v>830.55393750000007</c:v>
                </c:pt>
                <c:pt idx="719">
                  <c:v>830.55352774999994</c:v>
                </c:pt>
                <c:pt idx="720">
                  <c:v>830.55350540000006</c:v>
                </c:pt>
                <c:pt idx="721">
                  <c:v>830.55326700000001</c:v>
                </c:pt>
                <c:pt idx="722">
                  <c:v>830.55258160000005</c:v>
                </c:pt>
                <c:pt idx="723">
                  <c:v>830.55228360000012</c:v>
                </c:pt>
                <c:pt idx="724">
                  <c:v>830.55175465000002</c:v>
                </c:pt>
                <c:pt idx="725">
                  <c:v>830.47926614999994</c:v>
                </c:pt>
                <c:pt idx="726">
                  <c:v>830.47920655000007</c:v>
                </c:pt>
                <c:pt idx="727">
                  <c:v>830.47920655000007</c:v>
                </c:pt>
                <c:pt idx="728">
                  <c:v>830.47899795000001</c:v>
                </c:pt>
                <c:pt idx="729">
                  <c:v>830.47863289999998</c:v>
                </c:pt>
                <c:pt idx="730">
                  <c:v>830.47800710000001</c:v>
                </c:pt>
                <c:pt idx="731">
                  <c:v>830.47767184999998</c:v>
                </c:pt>
                <c:pt idx="732">
                  <c:v>830.47746325000003</c:v>
                </c:pt>
                <c:pt idx="733">
                  <c:v>830.40390939999997</c:v>
                </c:pt>
                <c:pt idx="734">
                  <c:v>830.40375295000001</c:v>
                </c:pt>
                <c:pt idx="735">
                  <c:v>830.40351455000007</c:v>
                </c:pt>
                <c:pt idx="736">
                  <c:v>830.40319420000003</c:v>
                </c:pt>
                <c:pt idx="737">
                  <c:v>830.40310480000005</c:v>
                </c:pt>
                <c:pt idx="738">
                  <c:v>830.34807165000007</c:v>
                </c:pt>
                <c:pt idx="739">
                  <c:v>830.33136130000003</c:v>
                </c:pt>
                <c:pt idx="740">
                  <c:v>830.33111544999997</c:v>
                </c:pt>
                <c:pt idx="741">
                  <c:v>830.32990855000003</c:v>
                </c:pt>
                <c:pt idx="742">
                  <c:v>830.32911139999999</c:v>
                </c:pt>
                <c:pt idx="743">
                  <c:v>828.09998944999995</c:v>
                </c:pt>
                <c:pt idx="744">
                  <c:v>827.62869499999999</c:v>
                </c:pt>
                <c:pt idx="745">
                  <c:v>825.73015935000001</c:v>
                </c:pt>
                <c:pt idx="746">
                  <c:v>825.35809145000007</c:v>
                </c:pt>
                <c:pt idx="747">
                  <c:v>824.86435014999995</c:v>
                </c:pt>
                <c:pt idx="748">
                  <c:v>824.86422349999998</c:v>
                </c:pt>
                <c:pt idx="749">
                  <c:v>824.86416389999999</c:v>
                </c:pt>
                <c:pt idx="750">
                  <c:v>824.86405960000002</c:v>
                </c:pt>
                <c:pt idx="751">
                  <c:v>824.86400000000003</c:v>
                </c:pt>
                <c:pt idx="752">
                  <c:v>824.86380629999996</c:v>
                </c:pt>
                <c:pt idx="753">
                  <c:v>824.86379139999997</c:v>
                </c:pt>
                <c:pt idx="754">
                  <c:v>824.8637243500001</c:v>
                </c:pt>
                <c:pt idx="755">
                  <c:v>824.78986505</c:v>
                </c:pt>
                <c:pt idx="756">
                  <c:v>824.78979055000002</c:v>
                </c:pt>
                <c:pt idx="757">
                  <c:v>824.78964155000006</c:v>
                </c:pt>
                <c:pt idx="758">
                  <c:v>822.41978165000012</c:v>
                </c:pt>
                <c:pt idx="759">
                  <c:v>822.41967735000003</c:v>
                </c:pt>
                <c:pt idx="760">
                  <c:v>822.34663754999997</c:v>
                </c:pt>
                <c:pt idx="761">
                  <c:v>822.34368734999998</c:v>
                </c:pt>
                <c:pt idx="762">
                  <c:v>822.27119140000002</c:v>
                </c:pt>
                <c:pt idx="763">
                  <c:v>822.27014095000004</c:v>
                </c:pt>
                <c:pt idx="764">
                  <c:v>822.26992490000009</c:v>
                </c:pt>
                <c:pt idx="765">
                  <c:v>822.26990254999998</c:v>
                </c:pt>
                <c:pt idx="766">
                  <c:v>822.2698206</c:v>
                </c:pt>
                <c:pt idx="767">
                  <c:v>822.22087410000006</c:v>
                </c:pt>
                <c:pt idx="768">
                  <c:v>822.19552175000013</c:v>
                </c:pt>
                <c:pt idx="769">
                  <c:v>822.19543235000003</c:v>
                </c:pt>
                <c:pt idx="770">
                  <c:v>822.19486615000005</c:v>
                </c:pt>
                <c:pt idx="771">
                  <c:v>822.12262350000003</c:v>
                </c:pt>
                <c:pt idx="772">
                  <c:v>822.12226590000012</c:v>
                </c:pt>
                <c:pt idx="773">
                  <c:v>822.12192319999997</c:v>
                </c:pt>
                <c:pt idx="774">
                  <c:v>822.12182634999999</c:v>
                </c:pt>
                <c:pt idx="775">
                  <c:v>822.12175185000001</c:v>
                </c:pt>
                <c:pt idx="776">
                  <c:v>822.12164010000004</c:v>
                </c:pt>
                <c:pt idx="777">
                  <c:v>822.12163264999992</c:v>
                </c:pt>
                <c:pt idx="778">
                  <c:v>822.12158050000005</c:v>
                </c:pt>
                <c:pt idx="779">
                  <c:v>822.12155815000006</c:v>
                </c:pt>
                <c:pt idx="780">
                  <c:v>822.12155069999994</c:v>
                </c:pt>
                <c:pt idx="781">
                  <c:v>822.12153580000006</c:v>
                </c:pt>
                <c:pt idx="782">
                  <c:v>822.12153580000006</c:v>
                </c:pt>
                <c:pt idx="783">
                  <c:v>822.12144639999997</c:v>
                </c:pt>
                <c:pt idx="784">
                  <c:v>822.12143895000008</c:v>
                </c:pt>
                <c:pt idx="785">
                  <c:v>822.12137934999998</c:v>
                </c:pt>
                <c:pt idx="786">
                  <c:v>822.12135699999999</c:v>
                </c:pt>
                <c:pt idx="787">
                  <c:v>822.12126015000001</c:v>
                </c:pt>
                <c:pt idx="788">
                  <c:v>822.12125270000001</c:v>
                </c:pt>
                <c:pt idx="789">
                  <c:v>822.12123780000002</c:v>
                </c:pt>
                <c:pt idx="790">
                  <c:v>822.12118565000003</c:v>
                </c:pt>
                <c:pt idx="791">
                  <c:v>822.12117074999992</c:v>
                </c:pt>
                <c:pt idx="792">
                  <c:v>822.12115585000004</c:v>
                </c:pt>
                <c:pt idx="793">
                  <c:v>822.12112604999993</c:v>
                </c:pt>
                <c:pt idx="794">
                  <c:v>822.12110370000005</c:v>
                </c:pt>
                <c:pt idx="795">
                  <c:v>822.12109625000005</c:v>
                </c:pt>
                <c:pt idx="796">
                  <c:v>822.12106645000006</c:v>
                </c:pt>
                <c:pt idx="797">
                  <c:v>822.12104409999995</c:v>
                </c:pt>
                <c:pt idx="798">
                  <c:v>822.12102920000007</c:v>
                </c:pt>
                <c:pt idx="799">
                  <c:v>822.12096214999997</c:v>
                </c:pt>
                <c:pt idx="800">
                  <c:v>822.12090999999998</c:v>
                </c:pt>
                <c:pt idx="801">
                  <c:v>822.12081315</c:v>
                </c:pt>
                <c:pt idx="802">
                  <c:v>822.12075355000002</c:v>
                </c:pt>
                <c:pt idx="803">
                  <c:v>822.12073865000002</c:v>
                </c:pt>
                <c:pt idx="804">
                  <c:v>822.12071630000003</c:v>
                </c:pt>
                <c:pt idx="805">
                  <c:v>822.12069395000003</c:v>
                </c:pt>
                <c:pt idx="806">
                  <c:v>822.12067905000004</c:v>
                </c:pt>
                <c:pt idx="807">
                  <c:v>822.12066415000004</c:v>
                </c:pt>
                <c:pt idx="808">
                  <c:v>822.12066415000004</c:v>
                </c:pt>
                <c:pt idx="809">
                  <c:v>822.12062689999993</c:v>
                </c:pt>
                <c:pt idx="810">
                  <c:v>822.12061200000005</c:v>
                </c:pt>
                <c:pt idx="811">
                  <c:v>822.12059710000005</c:v>
                </c:pt>
                <c:pt idx="812">
                  <c:v>822.12056730000006</c:v>
                </c:pt>
                <c:pt idx="813">
                  <c:v>822.12055240000007</c:v>
                </c:pt>
                <c:pt idx="814">
                  <c:v>822.12053004999996</c:v>
                </c:pt>
                <c:pt idx="815">
                  <c:v>822.12047790000008</c:v>
                </c:pt>
                <c:pt idx="816">
                  <c:v>822.12043320000009</c:v>
                </c:pt>
                <c:pt idx="817">
                  <c:v>822.12037359999999</c:v>
                </c:pt>
                <c:pt idx="818">
                  <c:v>822.12036615</c:v>
                </c:pt>
                <c:pt idx="819">
                  <c:v>822.1203587</c:v>
                </c:pt>
                <c:pt idx="820">
                  <c:v>822.12035125</c:v>
                </c:pt>
                <c:pt idx="821">
                  <c:v>822.1203438</c:v>
                </c:pt>
                <c:pt idx="822">
                  <c:v>822.12030655000001</c:v>
                </c:pt>
                <c:pt idx="823">
                  <c:v>822.12030655000001</c:v>
                </c:pt>
                <c:pt idx="824">
                  <c:v>822.12029910000001</c:v>
                </c:pt>
                <c:pt idx="825">
                  <c:v>822.12028420000001</c:v>
                </c:pt>
                <c:pt idx="826">
                  <c:v>822.12016499999993</c:v>
                </c:pt>
                <c:pt idx="827">
                  <c:v>822.12016499999993</c:v>
                </c:pt>
                <c:pt idx="828">
                  <c:v>822.12016499999993</c:v>
                </c:pt>
                <c:pt idx="829">
                  <c:v>822.12013520000005</c:v>
                </c:pt>
                <c:pt idx="830">
                  <c:v>822.09604190000005</c:v>
                </c:pt>
                <c:pt idx="831">
                  <c:v>822.09603445000005</c:v>
                </c:pt>
                <c:pt idx="832">
                  <c:v>822.09585565000009</c:v>
                </c:pt>
                <c:pt idx="833">
                  <c:v>822.09581839999998</c:v>
                </c:pt>
                <c:pt idx="834">
                  <c:v>822.0957737</c:v>
                </c:pt>
                <c:pt idx="835">
                  <c:v>822.09570665000001</c:v>
                </c:pt>
                <c:pt idx="836">
                  <c:v>822.09563960000003</c:v>
                </c:pt>
                <c:pt idx="837">
                  <c:v>822.09547570000007</c:v>
                </c:pt>
                <c:pt idx="838">
                  <c:v>822.0953490500001</c:v>
                </c:pt>
                <c:pt idx="839">
                  <c:v>822.09533414999999</c:v>
                </c:pt>
                <c:pt idx="840">
                  <c:v>822.0471252000001</c:v>
                </c:pt>
                <c:pt idx="841">
                  <c:v>822.04701345000001</c:v>
                </c:pt>
                <c:pt idx="842">
                  <c:v>822.04699110000001</c:v>
                </c:pt>
                <c:pt idx="843">
                  <c:v>822.04681230000006</c:v>
                </c:pt>
                <c:pt idx="844">
                  <c:v>822.04678249999995</c:v>
                </c:pt>
                <c:pt idx="845">
                  <c:v>822.04664839999998</c:v>
                </c:pt>
                <c:pt idx="846">
                  <c:v>822.04661114999999</c:v>
                </c:pt>
                <c:pt idx="847">
                  <c:v>822.04656645</c:v>
                </c:pt>
                <c:pt idx="848">
                  <c:v>822.04654410000001</c:v>
                </c:pt>
                <c:pt idx="849">
                  <c:v>822.04646215000002</c:v>
                </c:pt>
                <c:pt idx="850">
                  <c:v>822.04643980000003</c:v>
                </c:pt>
                <c:pt idx="851">
                  <c:v>822.04643980000003</c:v>
                </c:pt>
                <c:pt idx="852">
                  <c:v>822.04642490000003</c:v>
                </c:pt>
                <c:pt idx="853">
                  <c:v>822.04635040000005</c:v>
                </c:pt>
                <c:pt idx="854">
                  <c:v>822.04617904999998</c:v>
                </c:pt>
                <c:pt idx="855">
                  <c:v>822.04614179999999</c:v>
                </c:pt>
                <c:pt idx="856">
                  <c:v>822.0460971</c:v>
                </c:pt>
                <c:pt idx="857">
                  <c:v>822.04605985000001</c:v>
                </c:pt>
                <c:pt idx="858">
                  <c:v>822.04603750000001</c:v>
                </c:pt>
                <c:pt idx="859">
                  <c:v>822.04597045000003</c:v>
                </c:pt>
                <c:pt idx="860">
                  <c:v>822.04596300000003</c:v>
                </c:pt>
                <c:pt idx="861">
                  <c:v>822.04588105000005</c:v>
                </c:pt>
                <c:pt idx="862">
                  <c:v>822.04578420000007</c:v>
                </c:pt>
                <c:pt idx="863">
                  <c:v>822.04575440000008</c:v>
                </c:pt>
                <c:pt idx="864">
                  <c:v>822.04569479999998</c:v>
                </c:pt>
                <c:pt idx="865">
                  <c:v>822.04566499999999</c:v>
                </c:pt>
                <c:pt idx="866">
                  <c:v>822.02085650000004</c:v>
                </c:pt>
                <c:pt idx="867">
                  <c:v>822.02078945000005</c:v>
                </c:pt>
                <c:pt idx="868">
                  <c:v>821.97221545000002</c:v>
                </c:pt>
                <c:pt idx="869">
                  <c:v>821.97218564999991</c:v>
                </c:pt>
                <c:pt idx="870">
                  <c:v>821.97142574999998</c:v>
                </c:pt>
                <c:pt idx="871">
                  <c:v>821.94693759999996</c:v>
                </c:pt>
                <c:pt idx="872">
                  <c:v>821.9467588</c:v>
                </c:pt>
                <c:pt idx="873">
                  <c:v>821.94636395000009</c:v>
                </c:pt>
                <c:pt idx="874">
                  <c:v>821.89742490000003</c:v>
                </c:pt>
                <c:pt idx="875">
                  <c:v>821.8966650000001</c:v>
                </c:pt>
                <c:pt idx="876">
                  <c:v>821.82216500000004</c:v>
                </c:pt>
                <c:pt idx="877">
                  <c:v>820.82335095000008</c:v>
                </c:pt>
                <c:pt idx="878">
                  <c:v>820.82322430000011</c:v>
                </c:pt>
                <c:pt idx="879">
                  <c:v>820.82318705</c:v>
                </c:pt>
                <c:pt idx="880">
                  <c:v>820.82316470000001</c:v>
                </c:pt>
                <c:pt idx="881">
                  <c:v>819.57500660000005</c:v>
                </c:pt>
                <c:pt idx="882">
                  <c:v>819.45892070000002</c:v>
                </c:pt>
                <c:pt idx="883">
                  <c:v>819.45874934999995</c:v>
                </c:pt>
                <c:pt idx="884">
                  <c:v>819.42683354999997</c:v>
                </c:pt>
                <c:pt idx="885">
                  <c:v>819.42650574999993</c:v>
                </c:pt>
                <c:pt idx="886">
                  <c:v>819.42640145000007</c:v>
                </c:pt>
                <c:pt idx="887">
                  <c:v>819.42605875000004</c:v>
                </c:pt>
                <c:pt idx="888">
                  <c:v>819.42600659999994</c:v>
                </c:pt>
                <c:pt idx="889">
                  <c:v>819.42587994999997</c:v>
                </c:pt>
                <c:pt idx="890">
                  <c:v>819.42581289999998</c:v>
                </c:pt>
                <c:pt idx="891">
                  <c:v>819.42579054999999</c:v>
                </c:pt>
                <c:pt idx="892">
                  <c:v>819.42568625000001</c:v>
                </c:pt>
                <c:pt idx="893">
                  <c:v>819.42568625000001</c:v>
                </c:pt>
                <c:pt idx="894">
                  <c:v>819.42563410000002</c:v>
                </c:pt>
                <c:pt idx="895">
                  <c:v>819.42523925</c:v>
                </c:pt>
                <c:pt idx="896">
                  <c:v>819.35146935</c:v>
                </c:pt>
                <c:pt idx="897">
                  <c:v>819.35139485000002</c:v>
                </c:pt>
                <c:pt idx="898">
                  <c:v>819.35123094999994</c:v>
                </c:pt>
                <c:pt idx="899">
                  <c:v>819.33387244999994</c:v>
                </c:pt>
                <c:pt idx="900">
                  <c:v>819.3100101</c:v>
                </c:pt>
                <c:pt idx="901">
                  <c:v>819.30971954999995</c:v>
                </c:pt>
                <c:pt idx="902">
                  <c:v>819.30961525000009</c:v>
                </c:pt>
                <c:pt idx="903">
                  <c:v>819.30958544999999</c:v>
                </c:pt>
                <c:pt idx="904">
                  <c:v>819.27717795000001</c:v>
                </c:pt>
                <c:pt idx="905">
                  <c:v>819.27693209999995</c:v>
                </c:pt>
                <c:pt idx="906">
                  <c:v>819.259365</c:v>
                </c:pt>
                <c:pt idx="907">
                  <c:v>819.20391465</c:v>
                </c:pt>
                <c:pt idx="908">
                  <c:v>819.16112185000009</c:v>
                </c:pt>
                <c:pt idx="909">
                  <c:v>819.08634619999998</c:v>
                </c:pt>
                <c:pt idx="910">
                  <c:v>819.08520635000002</c:v>
                </c:pt>
                <c:pt idx="911">
                  <c:v>819.01303074999998</c:v>
                </c:pt>
                <c:pt idx="912">
                  <c:v>819.01277745000004</c:v>
                </c:pt>
                <c:pt idx="913">
                  <c:v>819.01277000000005</c:v>
                </c:pt>
                <c:pt idx="914">
                  <c:v>819.01257629999998</c:v>
                </c:pt>
                <c:pt idx="915">
                  <c:v>819.01244965000001</c:v>
                </c:pt>
                <c:pt idx="916">
                  <c:v>819.01241240000002</c:v>
                </c:pt>
                <c:pt idx="917">
                  <c:v>818.93811355000003</c:v>
                </c:pt>
                <c:pt idx="918">
                  <c:v>818.93728660000011</c:v>
                </c:pt>
                <c:pt idx="919">
                  <c:v>818.86405309999998</c:v>
                </c:pt>
                <c:pt idx="920">
                  <c:v>818.86399349999999</c:v>
                </c:pt>
                <c:pt idx="921">
                  <c:v>818.86379235000004</c:v>
                </c:pt>
                <c:pt idx="922">
                  <c:v>818.86374020000005</c:v>
                </c:pt>
                <c:pt idx="923">
                  <c:v>818.86361355000008</c:v>
                </c:pt>
                <c:pt idx="924">
                  <c:v>818.78897945000006</c:v>
                </c:pt>
                <c:pt idx="925">
                  <c:v>817.35563669999999</c:v>
                </c:pt>
                <c:pt idx="926">
                  <c:v>816.68729719999999</c:v>
                </c:pt>
                <c:pt idx="927">
                  <c:v>816.68705135000005</c:v>
                </c:pt>
                <c:pt idx="928">
                  <c:v>816.68694705000007</c:v>
                </c:pt>
                <c:pt idx="929">
                  <c:v>816.68694705000007</c:v>
                </c:pt>
                <c:pt idx="930">
                  <c:v>816.68694705000007</c:v>
                </c:pt>
                <c:pt idx="931">
                  <c:v>816.61368375000006</c:v>
                </c:pt>
                <c:pt idx="932">
                  <c:v>816.61264075000008</c:v>
                </c:pt>
                <c:pt idx="933">
                  <c:v>816.61263329999997</c:v>
                </c:pt>
                <c:pt idx="934">
                  <c:v>816.61253644999999</c:v>
                </c:pt>
                <c:pt idx="935">
                  <c:v>816.61252899999999</c:v>
                </c:pt>
                <c:pt idx="936">
                  <c:v>816.61252155</c:v>
                </c:pt>
                <c:pt idx="937">
                  <c:v>816.61249175</c:v>
                </c:pt>
                <c:pt idx="938">
                  <c:v>816.61246195000001</c:v>
                </c:pt>
                <c:pt idx="939">
                  <c:v>816.61226080000006</c:v>
                </c:pt>
                <c:pt idx="940">
                  <c:v>816.47982215000002</c:v>
                </c:pt>
                <c:pt idx="941">
                  <c:v>816.47979980000002</c:v>
                </c:pt>
                <c:pt idx="942">
                  <c:v>816.46384935000003</c:v>
                </c:pt>
                <c:pt idx="943">
                  <c:v>816.40555310000002</c:v>
                </c:pt>
                <c:pt idx="944">
                  <c:v>816.37213240000005</c:v>
                </c:pt>
                <c:pt idx="945">
                  <c:v>816.31483445000003</c:v>
                </c:pt>
                <c:pt idx="946">
                  <c:v>816.31455879999999</c:v>
                </c:pt>
                <c:pt idx="947">
                  <c:v>816.30649790000007</c:v>
                </c:pt>
                <c:pt idx="948">
                  <c:v>816.30645320000008</c:v>
                </c:pt>
                <c:pt idx="949">
                  <c:v>816.30607325000005</c:v>
                </c:pt>
                <c:pt idx="950">
                  <c:v>816.29736420000006</c:v>
                </c:pt>
                <c:pt idx="951">
                  <c:v>816.29456300000004</c:v>
                </c:pt>
                <c:pt idx="952">
                  <c:v>816.24034934999997</c:v>
                </c:pt>
                <c:pt idx="953">
                  <c:v>816.24026739999999</c:v>
                </c:pt>
                <c:pt idx="954">
                  <c:v>816.24016310000002</c:v>
                </c:pt>
                <c:pt idx="955">
                  <c:v>816.24007370000004</c:v>
                </c:pt>
                <c:pt idx="956">
                  <c:v>816.23998430000006</c:v>
                </c:pt>
                <c:pt idx="957">
                  <c:v>816.23201280000001</c:v>
                </c:pt>
                <c:pt idx="958">
                  <c:v>816.23188615000004</c:v>
                </c:pt>
                <c:pt idx="959">
                  <c:v>816.23169244999997</c:v>
                </c:pt>
                <c:pt idx="960">
                  <c:v>816.23155835</c:v>
                </c:pt>
                <c:pt idx="961">
                  <c:v>816.23146150000002</c:v>
                </c:pt>
                <c:pt idx="962">
                  <c:v>816.23104430000012</c:v>
                </c:pt>
                <c:pt idx="963">
                  <c:v>816.22364645000005</c:v>
                </c:pt>
                <c:pt idx="964">
                  <c:v>816.22340059999999</c:v>
                </c:pt>
                <c:pt idx="965">
                  <c:v>816.22313985000005</c:v>
                </c:pt>
                <c:pt idx="966">
                  <c:v>816.22020455000006</c:v>
                </c:pt>
                <c:pt idx="967">
                  <c:v>816.15737870000009</c:v>
                </c:pt>
                <c:pt idx="968">
                  <c:v>816.15699130000007</c:v>
                </c:pt>
                <c:pt idx="969">
                  <c:v>816.14979460000006</c:v>
                </c:pt>
                <c:pt idx="970">
                  <c:v>816.14945935000003</c:v>
                </c:pt>
                <c:pt idx="971">
                  <c:v>816.14936995000005</c:v>
                </c:pt>
                <c:pt idx="972">
                  <c:v>816.14910920000011</c:v>
                </c:pt>
                <c:pt idx="973">
                  <c:v>816.14902725000002</c:v>
                </c:pt>
                <c:pt idx="974">
                  <c:v>816.14901980000002</c:v>
                </c:pt>
                <c:pt idx="975">
                  <c:v>816.14901980000002</c:v>
                </c:pt>
                <c:pt idx="976">
                  <c:v>816.14900490000002</c:v>
                </c:pt>
                <c:pt idx="977">
                  <c:v>816.14899745000002</c:v>
                </c:pt>
                <c:pt idx="978">
                  <c:v>816.14899000000003</c:v>
                </c:pt>
                <c:pt idx="979">
                  <c:v>816.14881119999995</c:v>
                </c:pt>
                <c:pt idx="980">
                  <c:v>816.14878885000007</c:v>
                </c:pt>
                <c:pt idx="981">
                  <c:v>816.14870689999998</c:v>
                </c:pt>
                <c:pt idx="982">
                  <c:v>816.14832695000007</c:v>
                </c:pt>
                <c:pt idx="983">
                  <c:v>816.14560025000003</c:v>
                </c:pt>
                <c:pt idx="984">
                  <c:v>816.08413029999997</c:v>
                </c:pt>
                <c:pt idx="985">
                  <c:v>816.0831096500001</c:v>
                </c:pt>
                <c:pt idx="986">
                  <c:v>816.08297555000001</c:v>
                </c:pt>
                <c:pt idx="987">
                  <c:v>816.08277440000006</c:v>
                </c:pt>
                <c:pt idx="988">
                  <c:v>816.08276694999995</c:v>
                </c:pt>
                <c:pt idx="989">
                  <c:v>816.08272224999996</c:v>
                </c:pt>
                <c:pt idx="990">
                  <c:v>816.08269990000008</c:v>
                </c:pt>
                <c:pt idx="991">
                  <c:v>816.08258069999999</c:v>
                </c:pt>
                <c:pt idx="992">
                  <c:v>816.08250620000001</c:v>
                </c:pt>
                <c:pt idx="993">
                  <c:v>816.08245405000002</c:v>
                </c:pt>
                <c:pt idx="994">
                  <c:v>816.08241680000003</c:v>
                </c:pt>
                <c:pt idx="995">
                  <c:v>816.08241680000003</c:v>
                </c:pt>
                <c:pt idx="996">
                  <c:v>816.07477310000002</c:v>
                </c:pt>
                <c:pt idx="997">
                  <c:v>816.07472095000003</c:v>
                </c:pt>
                <c:pt idx="998">
                  <c:v>816.07463154999994</c:v>
                </c:pt>
                <c:pt idx="999">
                  <c:v>816.07454214999996</c:v>
                </c:pt>
                <c:pt idx="1000">
                  <c:v>816.07446019999998</c:v>
                </c:pt>
                <c:pt idx="1001">
                  <c:v>816.07440804999999</c:v>
                </c:pt>
                <c:pt idx="1002">
                  <c:v>816.07433355000001</c:v>
                </c:pt>
                <c:pt idx="1003">
                  <c:v>816.07428885000002</c:v>
                </c:pt>
                <c:pt idx="1004">
                  <c:v>816.07427395000002</c:v>
                </c:pt>
                <c:pt idx="1005">
                  <c:v>816.07416220000005</c:v>
                </c:pt>
                <c:pt idx="1006">
                  <c:v>816.07411005000006</c:v>
                </c:pt>
                <c:pt idx="1007">
                  <c:v>816.06629500000008</c:v>
                </c:pt>
                <c:pt idx="1008">
                  <c:v>816.06590014999995</c:v>
                </c:pt>
                <c:pt idx="1009">
                  <c:v>816.00802854999995</c:v>
                </c:pt>
                <c:pt idx="1010">
                  <c:v>816.00029545000007</c:v>
                </c:pt>
                <c:pt idx="1011">
                  <c:v>816.00028800000007</c:v>
                </c:pt>
                <c:pt idx="1012">
                  <c:v>816.00025075000008</c:v>
                </c:pt>
                <c:pt idx="1013">
                  <c:v>816.00019114999998</c:v>
                </c:pt>
                <c:pt idx="1014">
                  <c:v>815.99999745000002</c:v>
                </c:pt>
                <c:pt idx="1015">
                  <c:v>815.99179500000002</c:v>
                </c:pt>
                <c:pt idx="1016">
                  <c:v>815.99135545000001</c:v>
                </c:pt>
                <c:pt idx="1017">
                  <c:v>815.92674905000001</c:v>
                </c:pt>
                <c:pt idx="1018">
                  <c:v>815.92573585000002</c:v>
                </c:pt>
                <c:pt idx="1019">
                  <c:v>815.90935330000002</c:v>
                </c:pt>
                <c:pt idx="1020">
                  <c:v>815.90929370000003</c:v>
                </c:pt>
                <c:pt idx="1021">
                  <c:v>815.85127310000007</c:v>
                </c:pt>
                <c:pt idx="1022">
                  <c:v>813.68619879999994</c:v>
                </c:pt>
                <c:pt idx="1023">
                  <c:v>813.68553574999999</c:v>
                </c:pt>
                <c:pt idx="1024">
                  <c:v>813.68495465000001</c:v>
                </c:pt>
                <c:pt idx="1025">
                  <c:v>813.68469389999996</c:v>
                </c:pt>
                <c:pt idx="1026">
                  <c:v>813.68467899999996</c:v>
                </c:pt>
                <c:pt idx="1027">
                  <c:v>813.61087185000008</c:v>
                </c:pt>
                <c:pt idx="1028">
                  <c:v>813.61039505000008</c:v>
                </c:pt>
                <c:pt idx="1029">
                  <c:v>813.61039505000008</c:v>
                </c:pt>
                <c:pt idx="1030">
                  <c:v>813.53588760000002</c:v>
                </c:pt>
                <c:pt idx="1031">
                  <c:v>813.46223689999999</c:v>
                </c:pt>
                <c:pt idx="1032">
                  <c:v>811.51495590000002</c:v>
                </c:pt>
                <c:pt idx="1033">
                  <c:v>807.31230660000006</c:v>
                </c:pt>
                <c:pt idx="1034">
                  <c:v>807.31225445000007</c:v>
                </c:pt>
                <c:pt idx="1035">
                  <c:v>807.31211289999999</c:v>
                </c:pt>
                <c:pt idx="1036">
                  <c:v>807.31207565</c:v>
                </c:pt>
                <c:pt idx="1037">
                  <c:v>807.3120682</c:v>
                </c:pt>
                <c:pt idx="1038">
                  <c:v>807.31188195000004</c:v>
                </c:pt>
                <c:pt idx="1039">
                  <c:v>807.31180000000006</c:v>
                </c:pt>
                <c:pt idx="1040">
                  <c:v>807.31180000000006</c:v>
                </c:pt>
                <c:pt idx="1041">
                  <c:v>807.23744154999997</c:v>
                </c:pt>
                <c:pt idx="1042">
                  <c:v>807.16330659999994</c:v>
                </c:pt>
                <c:pt idx="1043">
                  <c:v>807.16328425000006</c:v>
                </c:pt>
                <c:pt idx="1044">
                  <c:v>807.16326935000006</c:v>
                </c:pt>
                <c:pt idx="1045">
                  <c:v>807.16317249999997</c:v>
                </c:pt>
                <c:pt idx="1046">
                  <c:v>807.16297880000002</c:v>
                </c:pt>
                <c:pt idx="1047">
                  <c:v>807.16297880000002</c:v>
                </c:pt>
                <c:pt idx="1048">
                  <c:v>807.16282235000006</c:v>
                </c:pt>
                <c:pt idx="1049">
                  <c:v>807.16282235000006</c:v>
                </c:pt>
                <c:pt idx="1050">
                  <c:v>807.16279999999995</c:v>
                </c:pt>
                <c:pt idx="1051">
                  <c:v>807.16279999999995</c:v>
                </c:pt>
                <c:pt idx="1052">
                  <c:v>807.16279999999995</c:v>
                </c:pt>
                <c:pt idx="1053">
                  <c:v>807.0883745000001</c:v>
                </c:pt>
                <c:pt idx="1054">
                  <c:v>802.62069144999998</c:v>
                </c:pt>
                <c:pt idx="1055">
                  <c:v>800.63724815</c:v>
                </c:pt>
                <c:pt idx="1056">
                  <c:v>800.63719600000002</c:v>
                </c:pt>
                <c:pt idx="1057">
                  <c:v>800.63701720000006</c:v>
                </c:pt>
                <c:pt idx="1058">
                  <c:v>800.63696504999996</c:v>
                </c:pt>
                <c:pt idx="1059">
                  <c:v>796.58000049999998</c:v>
                </c:pt>
                <c:pt idx="1060">
                  <c:v>796.57994090000011</c:v>
                </c:pt>
                <c:pt idx="1061">
                  <c:v>796.35751370000003</c:v>
                </c:pt>
                <c:pt idx="1062">
                  <c:v>795.28807365</c:v>
                </c:pt>
                <c:pt idx="1063">
                  <c:v>795.2659695000001</c:v>
                </c:pt>
                <c:pt idx="1064">
                  <c:v>795.26579815000002</c:v>
                </c:pt>
                <c:pt idx="1065">
                  <c:v>795.26569385000005</c:v>
                </c:pt>
                <c:pt idx="1066">
                  <c:v>795.21529459999999</c:v>
                </c:pt>
                <c:pt idx="1067">
                  <c:v>795.21507110000005</c:v>
                </c:pt>
                <c:pt idx="1068">
                  <c:v>795.19167809999999</c:v>
                </c:pt>
                <c:pt idx="1069">
                  <c:v>795.19161105000001</c:v>
                </c:pt>
                <c:pt idx="1070">
                  <c:v>795.19158870000001</c:v>
                </c:pt>
                <c:pt idx="1071">
                  <c:v>795.19152910000003</c:v>
                </c:pt>
                <c:pt idx="1072">
                  <c:v>795.19149184999992</c:v>
                </c:pt>
                <c:pt idx="1073">
                  <c:v>795.19138010000006</c:v>
                </c:pt>
                <c:pt idx="1074">
                  <c:v>795.19126834999997</c:v>
                </c:pt>
                <c:pt idx="1075">
                  <c:v>795.19123109999998</c:v>
                </c:pt>
                <c:pt idx="1076">
                  <c:v>795.19121619999999</c:v>
                </c:pt>
                <c:pt idx="1077">
                  <c:v>795.1912013000001</c:v>
                </c:pt>
                <c:pt idx="1078">
                  <c:v>795.1911417</c:v>
                </c:pt>
                <c:pt idx="1079">
                  <c:v>795.19111935000012</c:v>
                </c:pt>
                <c:pt idx="1080">
                  <c:v>795.19110445000001</c:v>
                </c:pt>
                <c:pt idx="1081">
                  <c:v>795.17931110000006</c:v>
                </c:pt>
                <c:pt idx="1082">
                  <c:v>795.14027310000006</c:v>
                </c:pt>
                <c:pt idx="1083">
                  <c:v>795.11711850000006</c:v>
                </c:pt>
                <c:pt idx="1084">
                  <c:v>795.11701419999997</c:v>
                </c:pt>
                <c:pt idx="1085">
                  <c:v>795.11673110000004</c:v>
                </c:pt>
                <c:pt idx="1086">
                  <c:v>795.04266319999999</c:v>
                </c:pt>
                <c:pt idx="1087">
                  <c:v>795.04266319999999</c:v>
                </c:pt>
                <c:pt idx="1088">
                  <c:v>795.04242480000005</c:v>
                </c:pt>
                <c:pt idx="1089">
                  <c:v>795.04240245000005</c:v>
                </c:pt>
                <c:pt idx="1090">
                  <c:v>795.04210445000001</c:v>
                </c:pt>
                <c:pt idx="1091">
                  <c:v>794.967895</c:v>
                </c:pt>
                <c:pt idx="1092">
                  <c:v>794.96760444999995</c:v>
                </c:pt>
                <c:pt idx="1093">
                  <c:v>794.89340245000005</c:v>
                </c:pt>
                <c:pt idx="1094">
                  <c:v>794.89339500000006</c:v>
                </c:pt>
                <c:pt idx="1095">
                  <c:v>792.24840659999995</c:v>
                </c:pt>
                <c:pt idx="1096">
                  <c:v>786.32640904999994</c:v>
                </c:pt>
                <c:pt idx="1097">
                  <c:v>786.25230390000002</c:v>
                </c:pt>
                <c:pt idx="1098">
                  <c:v>786.25173025000004</c:v>
                </c:pt>
                <c:pt idx="1099">
                  <c:v>786.20773799999995</c:v>
                </c:pt>
                <c:pt idx="1100">
                  <c:v>786.10330390000001</c:v>
                </c:pt>
                <c:pt idx="1101">
                  <c:v>786.10297609999998</c:v>
                </c:pt>
                <c:pt idx="1102">
                  <c:v>786.10278985000002</c:v>
                </c:pt>
                <c:pt idx="1103">
                  <c:v>786.10267065000005</c:v>
                </c:pt>
                <c:pt idx="1104">
                  <c:v>785.95432625000001</c:v>
                </c:pt>
                <c:pt idx="1105">
                  <c:v>785.95421450000003</c:v>
                </c:pt>
                <c:pt idx="1106">
                  <c:v>785.95421450000003</c:v>
                </c:pt>
                <c:pt idx="1107">
                  <c:v>785.95420705000004</c:v>
                </c:pt>
                <c:pt idx="1108">
                  <c:v>785.95416235000005</c:v>
                </c:pt>
                <c:pt idx="1109">
                  <c:v>785.95415490000005</c:v>
                </c:pt>
                <c:pt idx="1110">
                  <c:v>785.95415490000005</c:v>
                </c:pt>
                <c:pt idx="1111">
                  <c:v>785.95414745000005</c:v>
                </c:pt>
                <c:pt idx="1112">
                  <c:v>785.87976665000008</c:v>
                </c:pt>
                <c:pt idx="1113">
                  <c:v>785.87969959999998</c:v>
                </c:pt>
                <c:pt idx="1114">
                  <c:v>785.87963999999999</c:v>
                </c:pt>
                <c:pt idx="1115">
                  <c:v>785.80513999999994</c:v>
                </c:pt>
                <c:pt idx="1116">
                  <c:v>785.22096314999999</c:v>
                </c:pt>
                <c:pt idx="1117">
                  <c:v>785.22073220000004</c:v>
                </c:pt>
                <c:pt idx="1118">
                  <c:v>785.22037460000001</c:v>
                </c:pt>
                <c:pt idx="1119">
                  <c:v>785.19603545000007</c:v>
                </c:pt>
                <c:pt idx="1120">
                  <c:v>785.19552139999996</c:v>
                </c:pt>
                <c:pt idx="1121">
                  <c:v>784.89805034999995</c:v>
                </c:pt>
                <c:pt idx="1122">
                  <c:v>784.73032850000004</c:v>
                </c:pt>
                <c:pt idx="1123">
                  <c:v>784.70557214999997</c:v>
                </c:pt>
                <c:pt idx="1124">
                  <c:v>784.63101999999992</c:v>
                </c:pt>
                <c:pt idx="1125">
                  <c:v>784.63101999999992</c:v>
                </c:pt>
                <c:pt idx="1126">
                  <c:v>782.68382095000004</c:v>
                </c:pt>
                <c:pt idx="1127">
                  <c:v>779.78035480000005</c:v>
                </c:pt>
                <c:pt idx="1128">
                  <c:v>778.35698760000002</c:v>
                </c:pt>
                <c:pt idx="1129">
                  <c:v>775.51815020000004</c:v>
                </c:pt>
                <c:pt idx="1130">
                  <c:v>775.51812039999993</c:v>
                </c:pt>
                <c:pt idx="1131">
                  <c:v>775.51765105000004</c:v>
                </c:pt>
                <c:pt idx="1132">
                  <c:v>775.01961110000002</c:v>
                </c:pt>
                <c:pt idx="1133">
                  <c:v>774.02988605000007</c:v>
                </c:pt>
                <c:pt idx="1134">
                  <c:v>774.02976684999999</c:v>
                </c:pt>
                <c:pt idx="1135">
                  <c:v>774.02959550000003</c:v>
                </c:pt>
                <c:pt idx="1136">
                  <c:v>774.029223</c:v>
                </c:pt>
                <c:pt idx="1137">
                  <c:v>774.02920810000012</c:v>
                </c:pt>
                <c:pt idx="1138">
                  <c:v>773.95491670000001</c:v>
                </c:pt>
                <c:pt idx="1139">
                  <c:v>773.95478260000004</c:v>
                </c:pt>
                <c:pt idx="1140">
                  <c:v>773.95464849999996</c:v>
                </c:pt>
                <c:pt idx="1141">
                  <c:v>773.11655329999996</c:v>
                </c:pt>
                <c:pt idx="1142">
                  <c:v>773.1164564500001</c:v>
                </c:pt>
                <c:pt idx="1143">
                  <c:v>773.10061774999997</c:v>
                </c:pt>
                <c:pt idx="1144">
                  <c:v>773.10055069999999</c:v>
                </c:pt>
                <c:pt idx="1145">
                  <c:v>773.10055069999999</c:v>
                </c:pt>
                <c:pt idx="1146">
                  <c:v>773.10047620000012</c:v>
                </c:pt>
                <c:pt idx="1147">
                  <c:v>773.10046875</c:v>
                </c:pt>
                <c:pt idx="1148">
                  <c:v>773.10041660000002</c:v>
                </c:pt>
                <c:pt idx="1149">
                  <c:v>773.10023780000006</c:v>
                </c:pt>
                <c:pt idx="1150">
                  <c:v>773.10023780000006</c:v>
                </c:pt>
                <c:pt idx="1151">
                  <c:v>773.10012604999997</c:v>
                </c:pt>
                <c:pt idx="1152">
                  <c:v>773.02666160000001</c:v>
                </c:pt>
                <c:pt idx="1153">
                  <c:v>773.02619225000001</c:v>
                </c:pt>
                <c:pt idx="1154">
                  <c:v>773.02618480000001</c:v>
                </c:pt>
                <c:pt idx="1155">
                  <c:v>773.02616245000002</c:v>
                </c:pt>
                <c:pt idx="1156">
                  <c:v>773.02615500000002</c:v>
                </c:pt>
                <c:pt idx="1157">
                  <c:v>773.02612519999991</c:v>
                </c:pt>
                <c:pt idx="1158">
                  <c:v>773.02599854999994</c:v>
                </c:pt>
                <c:pt idx="1159">
                  <c:v>773.02592405000007</c:v>
                </c:pt>
                <c:pt idx="1160">
                  <c:v>772.96756075000008</c:v>
                </c:pt>
                <c:pt idx="1161">
                  <c:v>772.95178910000004</c:v>
                </c:pt>
                <c:pt idx="1162">
                  <c:v>772.95165500000007</c:v>
                </c:pt>
                <c:pt idx="1163">
                  <c:v>772.95109624999998</c:v>
                </c:pt>
                <c:pt idx="1164">
                  <c:v>772.89248710000004</c:v>
                </c:pt>
                <c:pt idx="1165">
                  <c:v>772.87733379999997</c:v>
                </c:pt>
                <c:pt idx="1166">
                  <c:v>772.87731890000009</c:v>
                </c:pt>
                <c:pt idx="1167">
                  <c:v>772.8772295</c:v>
                </c:pt>
                <c:pt idx="1168">
                  <c:v>772.87719225000001</c:v>
                </c:pt>
                <c:pt idx="1169">
                  <c:v>772.87715500000002</c:v>
                </c:pt>
                <c:pt idx="1170">
                  <c:v>772.8768048500001</c:v>
                </c:pt>
                <c:pt idx="1171">
                  <c:v>772.66632000000004</c:v>
                </c:pt>
                <c:pt idx="1172">
                  <c:v>772.44281999999998</c:v>
                </c:pt>
                <c:pt idx="1173">
                  <c:v>770.84405745000004</c:v>
                </c:pt>
                <c:pt idx="1174">
                  <c:v>770.84405745000004</c:v>
                </c:pt>
                <c:pt idx="1175">
                  <c:v>770.84404999999992</c:v>
                </c:pt>
                <c:pt idx="1176">
                  <c:v>770.76963195000008</c:v>
                </c:pt>
                <c:pt idx="1177">
                  <c:v>770.76962450000008</c:v>
                </c:pt>
                <c:pt idx="1178">
                  <c:v>770.62061704999996</c:v>
                </c:pt>
                <c:pt idx="1179">
                  <c:v>766.78091685000004</c:v>
                </c:pt>
                <c:pt idx="1180">
                  <c:v>765.9584443</c:v>
                </c:pt>
                <c:pt idx="1181">
                  <c:v>765.9584145</c:v>
                </c:pt>
                <c:pt idx="1182">
                  <c:v>765.95837725000001</c:v>
                </c:pt>
                <c:pt idx="1183">
                  <c:v>765.95837725000001</c:v>
                </c:pt>
                <c:pt idx="1184">
                  <c:v>765.95835490000002</c:v>
                </c:pt>
                <c:pt idx="1185">
                  <c:v>765.84930925000003</c:v>
                </c:pt>
                <c:pt idx="1186">
                  <c:v>765.84919750000006</c:v>
                </c:pt>
                <c:pt idx="1187">
                  <c:v>765.84916770000007</c:v>
                </c:pt>
                <c:pt idx="1188">
                  <c:v>765.84907085000009</c:v>
                </c:pt>
                <c:pt idx="1189">
                  <c:v>765.84898145</c:v>
                </c:pt>
                <c:pt idx="1190">
                  <c:v>765.848974</c:v>
                </c:pt>
                <c:pt idx="1191">
                  <c:v>765.84892185000001</c:v>
                </c:pt>
                <c:pt idx="1192">
                  <c:v>765.84890695000001</c:v>
                </c:pt>
                <c:pt idx="1193">
                  <c:v>765.84883245000003</c:v>
                </c:pt>
                <c:pt idx="1194">
                  <c:v>765.84869090000007</c:v>
                </c:pt>
                <c:pt idx="1195">
                  <c:v>765.77472730000011</c:v>
                </c:pt>
                <c:pt idx="1196">
                  <c:v>761.83446700000002</c:v>
                </c:pt>
                <c:pt idx="1197">
                  <c:v>761.83412429999998</c:v>
                </c:pt>
                <c:pt idx="1198">
                  <c:v>761.83388589999993</c:v>
                </c:pt>
                <c:pt idx="1199">
                  <c:v>761.83374435000007</c:v>
                </c:pt>
                <c:pt idx="1200">
                  <c:v>761.80961380000008</c:v>
                </c:pt>
                <c:pt idx="1201">
                  <c:v>761.80937540000002</c:v>
                </c:pt>
                <c:pt idx="1202">
                  <c:v>761.80915935000007</c:v>
                </c:pt>
                <c:pt idx="1203">
                  <c:v>761.80913699999996</c:v>
                </c:pt>
                <c:pt idx="1204">
                  <c:v>761.73505419999992</c:v>
                </c:pt>
                <c:pt idx="1205">
                  <c:v>761.66065104999996</c:v>
                </c:pt>
                <c:pt idx="1206">
                  <c:v>761.66055419999998</c:v>
                </c:pt>
                <c:pt idx="1207">
                  <c:v>761.66054675000009</c:v>
                </c:pt>
                <c:pt idx="1208">
                  <c:v>761.66043500000001</c:v>
                </c:pt>
                <c:pt idx="1209">
                  <c:v>761.66017425000007</c:v>
                </c:pt>
                <c:pt idx="1210">
                  <c:v>761.66000289999999</c:v>
                </c:pt>
                <c:pt idx="1211">
                  <c:v>761.659988</c:v>
                </c:pt>
                <c:pt idx="1212">
                  <c:v>761.65998055</c:v>
                </c:pt>
                <c:pt idx="1213">
                  <c:v>761.58593499999995</c:v>
                </c:pt>
                <c:pt idx="1214">
                  <c:v>761.58546564999995</c:v>
                </c:pt>
                <c:pt idx="1215">
                  <c:v>757.51004</c:v>
                </c:pt>
                <c:pt idx="1216">
                  <c:v>757.29422840000007</c:v>
                </c:pt>
                <c:pt idx="1217">
                  <c:v>757.28893144999995</c:v>
                </c:pt>
                <c:pt idx="1218">
                  <c:v>757.28882714999997</c:v>
                </c:pt>
                <c:pt idx="1219">
                  <c:v>757.28829819999999</c:v>
                </c:pt>
                <c:pt idx="1220">
                  <c:v>757.12938970000005</c:v>
                </c:pt>
                <c:pt idx="1221">
                  <c:v>757.12935990000005</c:v>
                </c:pt>
                <c:pt idx="1222">
                  <c:v>757.12934500000006</c:v>
                </c:pt>
                <c:pt idx="1223">
                  <c:v>757.12934500000006</c:v>
                </c:pt>
                <c:pt idx="1224">
                  <c:v>754.47865734999993</c:v>
                </c:pt>
                <c:pt idx="1225">
                  <c:v>750.58037035000007</c:v>
                </c:pt>
                <c:pt idx="1226">
                  <c:v>750.5801692</c:v>
                </c:pt>
                <c:pt idx="1227">
                  <c:v>750.58008725000002</c:v>
                </c:pt>
                <c:pt idx="1228">
                  <c:v>750.58005000000003</c:v>
                </c:pt>
                <c:pt idx="1229">
                  <c:v>750.58005000000003</c:v>
                </c:pt>
                <c:pt idx="1230">
                  <c:v>750.58005000000003</c:v>
                </c:pt>
                <c:pt idx="1231">
                  <c:v>750.58005000000003</c:v>
                </c:pt>
                <c:pt idx="1232">
                  <c:v>750.58005000000003</c:v>
                </c:pt>
                <c:pt idx="1233">
                  <c:v>750.5797669000001</c:v>
                </c:pt>
                <c:pt idx="1234">
                  <c:v>748.82417440000006</c:v>
                </c:pt>
                <c:pt idx="1235">
                  <c:v>747.4245876</c:v>
                </c:pt>
                <c:pt idx="1236">
                  <c:v>747.36316235000004</c:v>
                </c:pt>
                <c:pt idx="1237">
                  <c:v>747.34079744999997</c:v>
                </c:pt>
                <c:pt idx="1238">
                  <c:v>747.34078999999997</c:v>
                </c:pt>
                <c:pt idx="1239">
                  <c:v>747.34078999999997</c:v>
                </c:pt>
                <c:pt idx="1240">
                  <c:v>747.34078999999997</c:v>
                </c:pt>
                <c:pt idx="1241">
                  <c:v>745.14916389999996</c:v>
                </c:pt>
                <c:pt idx="1242">
                  <c:v>745.07450000000006</c:v>
                </c:pt>
                <c:pt idx="1243">
                  <c:v>745</c:v>
                </c:pt>
                <c:pt idx="1244">
                  <c:v>744.92554469999993</c:v>
                </c:pt>
                <c:pt idx="1245">
                  <c:v>744.92549999999994</c:v>
                </c:pt>
                <c:pt idx="1246">
                  <c:v>744.92547020000006</c:v>
                </c:pt>
                <c:pt idx="1247">
                  <c:v>744.851</c:v>
                </c:pt>
                <c:pt idx="1248">
                  <c:v>742.37760000000003</c:v>
                </c:pt>
                <c:pt idx="1249">
                  <c:v>742.15070279999998</c:v>
                </c:pt>
                <c:pt idx="1250">
                  <c:v>742.15065064999999</c:v>
                </c:pt>
                <c:pt idx="1251">
                  <c:v>742.15064319999999</c:v>
                </c:pt>
                <c:pt idx="1252">
                  <c:v>742.15064319999999</c:v>
                </c:pt>
                <c:pt idx="1253">
                  <c:v>742.00165064999999</c:v>
                </c:pt>
                <c:pt idx="1254">
                  <c:v>742.0016432000001</c:v>
                </c:pt>
                <c:pt idx="1255">
                  <c:v>741.92720279999992</c:v>
                </c:pt>
                <c:pt idx="1256">
                  <c:v>739.90922875000001</c:v>
                </c:pt>
                <c:pt idx="1257">
                  <c:v>739.90922130000001</c:v>
                </c:pt>
                <c:pt idx="1258">
                  <c:v>737.24339525000005</c:v>
                </c:pt>
                <c:pt idx="1259">
                  <c:v>735.83661174999997</c:v>
                </c:pt>
                <c:pt idx="1260">
                  <c:v>735.83627650000005</c:v>
                </c:pt>
                <c:pt idx="1261">
                  <c:v>735.83627650000005</c:v>
                </c:pt>
                <c:pt idx="1262">
                  <c:v>735.49970039999994</c:v>
                </c:pt>
                <c:pt idx="1263">
                  <c:v>735.4251855</c:v>
                </c:pt>
                <c:pt idx="1264">
                  <c:v>735.0741713000001</c:v>
                </c:pt>
                <c:pt idx="1265">
                  <c:v>735.05562080000004</c:v>
                </c:pt>
                <c:pt idx="1266">
                  <c:v>735.05561335000004</c:v>
                </c:pt>
                <c:pt idx="1267">
                  <c:v>735.05559845000005</c:v>
                </c:pt>
                <c:pt idx="1268">
                  <c:v>735.05559845000005</c:v>
                </c:pt>
                <c:pt idx="1269">
                  <c:v>735.05558354999994</c:v>
                </c:pt>
                <c:pt idx="1270">
                  <c:v>735.05554629999995</c:v>
                </c:pt>
                <c:pt idx="1271">
                  <c:v>735.05554629999995</c:v>
                </c:pt>
                <c:pt idx="1272">
                  <c:v>735.05553139999995</c:v>
                </c:pt>
                <c:pt idx="1273">
                  <c:v>735.05553139999995</c:v>
                </c:pt>
                <c:pt idx="1274">
                  <c:v>735.05552395000007</c:v>
                </c:pt>
                <c:pt idx="1275">
                  <c:v>735.05552395000007</c:v>
                </c:pt>
                <c:pt idx="1276">
                  <c:v>734.98145605000002</c:v>
                </c:pt>
                <c:pt idx="1277">
                  <c:v>734.98138900000004</c:v>
                </c:pt>
                <c:pt idx="1278">
                  <c:v>734.98108354999999</c:v>
                </c:pt>
                <c:pt idx="1279">
                  <c:v>734.98105375</c:v>
                </c:pt>
                <c:pt idx="1280">
                  <c:v>734.9810463</c:v>
                </c:pt>
                <c:pt idx="1281">
                  <c:v>734.98102395000001</c:v>
                </c:pt>
                <c:pt idx="1282">
                  <c:v>734.98021189999997</c:v>
                </c:pt>
                <c:pt idx="1283">
                  <c:v>734.93137715</c:v>
                </c:pt>
                <c:pt idx="1284">
                  <c:v>734.93133245000001</c:v>
                </c:pt>
                <c:pt idx="1285">
                  <c:v>734.93133245000001</c:v>
                </c:pt>
                <c:pt idx="1286">
                  <c:v>734.93132500000002</c:v>
                </c:pt>
                <c:pt idx="1287">
                  <c:v>734.93131755000002</c:v>
                </c:pt>
                <c:pt idx="1288">
                  <c:v>734.90660590000005</c:v>
                </c:pt>
                <c:pt idx="1289">
                  <c:v>734.90659099999993</c:v>
                </c:pt>
                <c:pt idx="1290">
                  <c:v>734.90658355000005</c:v>
                </c:pt>
                <c:pt idx="1291">
                  <c:v>734.90655374999994</c:v>
                </c:pt>
                <c:pt idx="1292">
                  <c:v>734.85719004999999</c:v>
                </c:pt>
                <c:pt idx="1293">
                  <c:v>734.83255290000011</c:v>
                </c:pt>
                <c:pt idx="1294">
                  <c:v>734.83247095000002</c:v>
                </c:pt>
                <c:pt idx="1295">
                  <c:v>734.83243370000002</c:v>
                </c:pt>
                <c:pt idx="1296">
                  <c:v>734.83241880000003</c:v>
                </c:pt>
                <c:pt idx="1297">
                  <c:v>734.83240390000003</c:v>
                </c:pt>
                <c:pt idx="1298">
                  <c:v>734.83238900000003</c:v>
                </c:pt>
                <c:pt idx="1299">
                  <c:v>734.83238155000004</c:v>
                </c:pt>
                <c:pt idx="1300">
                  <c:v>734.83235175000004</c:v>
                </c:pt>
                <c:pt idx="1301">
                  <c:v>734.83234430000005</c:v>
                </c:pt>
                <c:pt idx="1302">
                  <c:v>734.83218040000008</c:v>
                </c:pt>
                <c:pt idx="1303">
                  <c:v>734.83215804999998</c:v>
                </c:pt>
                <c:pt idx="1304">
                  <c:v>734.83213570000009</c:v>
                </c:pt>
                <c:pt idx="1305">
                  <c:v>734.8321282500001</c:v>
                </c:pt>
                <c:pt idx="1306">
                  <c:v>734.83209844999999</c:v>
                </c:pt>
                <c:pt idx="1307">
                  <c:v>734.8320910000001</c:v>
                </c:pt>
                <c:pt idx="1308">
                  <c:v>734.8320910000001</c:v>
                </c:pt>
                <c:pt idx="1309">
                  <c:v>734.8320910000001</c:v>
                </c:pt>
                <c:pt idx="1310">
                  <c:v>734.8320910000001</c:v>
                </c:pt>
                <c:pt idx="1311">
                  <c:v>734.83206865</c:v>
                </c:pt>
                <c:pt idx="1312">
                  <c:v>734.83204630000012</c:v>
                </c:pt>
                <c:pt idx="1313">
                  <c:v>734.83202395000001</c:v>
                </c:pt>
                <c:pt idx="1314">
                  <c:v>734.80726014999993</c:v>
                </c:pt>
                <c:pt idx="1315">
                  <c:v>734.80720799999995</c:v>
                </c:pt>
                <c:pt idx="1316">
                  <c:v>734.80720799999995</c:v>
                </c:pt>
                <c:pt idx="1317">
                  <c:v>734.80720799999995</c:v>
                </c:pt>
                <c:pt idx="1318">
                  <c:v>734.80720799999995</c:v>
                </c:pt>
                <c:pt idx="1319">
                  <c:v>734.80720799999995</c:v>
                </c:pt>
                <c:pt idx="1320">
                  <c:v>734.7650261</c:v>
                </c:pt>
                <c:pt idx="1321">
                  <c:v>734.75892455000007</c:v>
                </c:pt>
                <c:pt idx="1322">
                  <c:v>734.75818700000002</c:v>
                </c:pt>
                <c:pt idx="1323">
                  <c:v>734.75818700000002</c:v>
                </c:pt>
                <c:pt idx="1324">
                  <c:v>734.75814230000003</c:v>
                </c:pt>
                <c:pt idx="1325">
                  <c:v>734.75788899999998</c:v>
                </c:pt>
                <c:pt idx="1326">
                  <c:v>734.75788154999998</c:v>
                </c:pt>
                <c:pt idx="1327">
                  <c:v>734.75787410000009</c:v>
                </c:pt>
                <c:pt idx="1328">
                  <c:v>734.7578666500001</c:v>
                </c:pt>
                <c:pt idx="1329">
                  <c:v>734.75761335000004</c:v>
                </c:pt>
                <c:pt idx="1330">
                  <c:v>734.75759845000005</c:v>
                </c:pt>
                <c:pt idx="1331">
                  <c:v>734.75759845000005</c:v>
                </c:pt>
                <c:pt idx="1332">
                  <c:v>734.75759845000005</c:v>
                </c:pt>
                <c:pt idx="1333">
                  <c:v>734.75759100000005</c:v>
                </c:pt>
                <c:pt idx="1334">
                  <c:v>734.75759100000005</c:v>
                </c:pt>
                <c:pt idx="1335">
                  <c:v>734.75759100000005</c:v>
                </c:pt>
                <c:pt idx="1336">
                  <c:v>734.75759100000005</c:v>
                </c:pt>
                <c:pt idx="1337">
                  <c:v>734.75759100000005</c:v>
                </c:pt>
                <c:pt idx="1338">
                  <c:v>734.75757610000005</c:v>
                </c:pt>
                <c:pt idx="1339">
                  <c:v>734.75757610000005</c:v>
                </c:pt>
                <c:pt idx="1340">
                  <c:v>734.75756864999994</c:v>
                </c:pt>
                <c:pt idx="1341">
                  <c:v>734.75755375000006</c:v>
                </c:pt>
                <c:pt idx="1342">
                  <c:v>734.75754630000006</c:v>
                </c:pt>
                <c:pt idx="1343">
                  <c:v>734.75753885000006</c:v>
                </c:pt>
                <c:pt idx="1344">
                  <c:v>734.75753885000006</c:v>
                </c:pt>
                <c:pt idx="1345">
                  <c:v>734.75753140000006</c:v>
                </c:pt>
                <c:pt idx="1346">
                  <c:v>734.75753140000006</c:v>
                </c:pt>
                <c:pt idx="1347">
                  <c:v>734.75752394999995</c:v>
                </c:pt>
                <c:pt idx="1348">
                  <c:v>734.75752394999995</c:v>
                </c:pt>
                <c:pt idx="1349">
                  <c:v>734.75752394999995</c:v>
                </c:pt>
                <c:pt idx="1350">
                  <c:v>734.75751649999995</c:v>
                </c:pt>
                <c:pt idx="1351">
                  <c:v>734.75751649999995</c:v>
                </c:pt>
                <c:pt idx="1352">
                  <c:v>734.75750905000007</c:v>
                </c:pt>
                <c:pt idx="1353">
                  <c:v>734.70852530000002</c:v>
                </c:pt>
                <c:pt idx="1354">
                  <c:v>734.70852530000002</c:v>
                </c:pt>
                <c:pt idx="1355">
                  <c:v>734.70848805000003</c:v>
                </c:pt>
                <c:pt idx="1356">
                  <c:v>734.69046649999996</c:v>
                </c:pt>
                <c:pt idx="1357">
                  <c:v>734.68431279999993</c:v>
                </c:pt>
                <c:pt idx="1358">
                  <c:v>734.68411165000009</c:v>
                </c:pt>
                <c:pt idx="1359">
                  <c:v>734.68410420000009</c:v>
                </c:pt>
                <c:pt idx="1360">
                  <c:v>734.68405949999999</c:v>
                </c:pt>
                <c:pt idx="1361">
                  <c:v>734.68385089999992</c:v>
                </c:pt>
                <c:pt idx="1362">
                  <c:v>734.68382110000005</c:v>
                </c:pt>
                <c:pt idx="1363">
                  <c:v>734.68370934999996</c:v>
                </c:pt>
                <c:pt idx="1364">
                  <c:v>734.68362739999998</c:v>
                </c:pt>
                <c:pt idx="1365">
                  <c:v>734.68350075000001</c:v>
                </c:pt>
                <c:pt idx="1366">
                  <c:v>734.68348585000001</c:v>
                </c:pt>
                <c:pt idx="1367">
                  <c:v>734.68346350000002</c:v>
                </c:pt>
                <c:pt idx="1368">
                  <c:v>734.68343370000002</c:v>
                </c:pt>
                <c:pt idx="1369">
                  <c:v>734.68340390000003</c:v>
                </c:pt>
                <c:pt idx="1370">
                  <c:v>734.68339645000003</c:v>
                </c:pt>
                <c:pt idx="1371">
                  <c:v>734.68338899999992</c:v>
                </c:pt>
                <c:pt idx="1372">
                  <c:v>734.68338899999992</c:v>
                </c:pt>
                <c:pt idx="1373">
                  <c:v>734.68338899999992</c:v>
                </c:pt>
                <c:pt idx="1374">
                  <c:v>734.68338899999992</c:v>
                </c:pt>
                <c:pt idx="1375">
                  <c:v>734.68338899999992</c:v>
                </c:pt>
                <c:pt idx="1376">
                  <c:v>734.68338899999992</c:v>
                </c:pt>
                <c:pt idx="1377">
                  <c:v>734.68338899999992</c:v>
                </c:pt>
                <c:pt idx="1378">
                  <c:v>734.68338899999992</c:v>
                </c:pt>
                <c:pt idx="1379">
                  <c:v>734.68338899999992</c:v>
                </c:pt>
                <c:pt idx="1380">
                  <c:v>734.68338899999992</c:v>
                </c:pt>
                <c:pt idx="1381">
                  <c:v>734.68338899999992</c:v>
                </c:pt>
                <c:pt idx="1382">
                  <c:v>734.68338899999992</c:v>
                </c:pt>
                <c:pt idx="1383">
                  <c:v>734.68338899999992</c:v>
                </c:pt>
                <c:pt idx="1384">
                  <c:v>734.68334429999993</c:v>
                </c:pt>
                <c:pt idx="1385">
                  <c:v>734.68333685000005</c:v>
                </c:pt>
                <c:pt idx="1386">
                  <c:v>734.68332195000005</c:v>
                </c:pt>
                <c:pt idx="1387">
                  <c:v>734.68328470000006</c:v>
                </c:pt>
                <c:pt idx="1388">
                  <c:v>734.68320274999996</c:v>
                </c:pt>
                <c:pt idx="1389">
                  <c:v>734.68319530000008</c:v>
                </c:pt>
                <c:pt idx="1390">
                  <c:v>734.68314315000009</c:v>
                </c:pt>
                <c:pt idx="1391">
                  <c:v>734.68312824999998</c:v>
                </c:pt>
                <c:pt idx="1392">
                  <c:v>734.68312824999998</c:v>
                </c:pt>
                <c:pt idx="1393">
                  <c:v>734.68312079999998</c:v>
                </c:pt>
                <c:pt idx="1394">
                  <c:v>734.68308354999999</c:v>
                </c:pt>
                <c:pt idx="1395">
                  <c:v>734.68308354999999</c:v>
                </c:pt>
                <c:pt idx="1396">
                  <c:v>734.68306120000011</c:v>
                </c:pt>
                <c:pt idx="1397">
                  <c:v>734.68306120000011</c:v>
                </c:pt>
                <c:pt idx="1398">
                  <c:v>734.6830463</c:v>
                </c:pt>
                <c:pt idx="1399">
                  <c:v>734.6830463</c:v>
                </c:pt>
                <c:pt idx="1400">
                  <c:v>734.6830463</c:v>
                </c:pt>
                <c:pt idx="1401">
                  <c:v>734.68303885</c:v>
                </c:pt>
                <c:pt idx="1402">
                  <c:v>734.68302395000001</c:v>
                </c:pt>
                <c:pt idx="1403">
                  <c:v>734.68302395000001</c:v>
                </c:pt>
                <c:pt idx="1404">
                  <c:v>734.68302395000001</c:v>
                </c:pt>
                <c:pt idx="1405">
                  <c:v>734.68302395000001</c:v>
                </c:pt>
                <c:pt idx="1406">
                  <c:v>734.68301650000001</c:v>
                </c:pt>
                <c:pt idx="1407">
                  <c:v>734.68301650000001</c:v>
                </c:pt>
                <c:pt idx="1408">
                  <c:v>734.68301650000001</c:v>
                </c:pt>
                <c:pt idx="1409">
                  <c:v>734.68301650000001</c:v>
                </c:pt>
                <c:pt idx="1410">
                  <c:v>734.68301650000001</c:v>
                </c:pt>
                <c:pt idx="1411">
                  <c:v>734.68301650000001</c:v>
                </c:pt>
                <c:pt idx="1412">
                  <c:v>734.68301650000001</c:v>
                </c:pt>
                <c:pt idx="1413">
                  <c:v>734.68301650000001</c:v>
                </c:pt>
                <c:pt idx="1414">
                  <c:v>734.68301650000001</c:v>
                </c:pt>
                <c:pt idx="1415">
                  <c:v>734.68301650000001</c:v>
                </c:pt>
                <c:pt idx="1416">
                  <c:v>734.68301650000001</c:v>
                </c:pt>
                <c:pt idx="1417">
                  <c:v>734.68301650000001</c:v>
                </c:pt>
                <c:pt idx="1418">
                  <c:v>734.68301650000001</c:v>
                </c:pt>
                <c:pt idx="1419">
                  <c:v>734.68280044999995</c:v>
                </c:pt>
                <c:pt idx="1420">
                  <c:v>734.65820800000006</c:v>
                </c:pt>
                <c:pt idx="1421">
                  <c:v>734.65820800000006</c:v>
                </c:pt>
                <c:pt idx="1422">
                  <c:v>734.63958300000002</c:v>
                </c:pt>
                <c:pt idx="1423">
                  <c:v>734.63958300000002</c:v>
                </c:pt>
                <c:pt idx="1424">
                  <c:v>734.63958300000002</c:v>
                </c:pt>
                <c:pt idx="1425">
                  <c:v>734.63958300000002</c:v>
                </c:pt>
                <c:pt idx="1426">
                  <c:v>734.63818240000001</c:v>
                </c:pt>
                <c:pt idx="1427">
                  <c:v>734.61192115000006</c:v>
                </c:pt>
                <c:pt idx="1428">
                  <c:v>734.61098245000005</c:v>
                </c:pt>
                <c:pt idx="1429">
                  <c:v>734.61017785000001</c:v>
                </c:pt>
                <c:pt idx="1430">
                  <c:v>734.60964145000003</c:v>
                </c:pt>
                <c:pt idx="1431">
                  <c:v>734.60955205000005</c:v>
                </c:pt>
                <c:pt idx="1432">
                  <c:v>734.60953714999994</c:v>
                </c:pt>
                <c:pt idx="1433">
                  <c:v>734.60948500000006</c:v>
                </c:pt>
                <c:pt idx="1434">
                  <c:v>734.6093434500001</c:v>
                </c:pt>
                <c:pt idx="1435">
                  <c:v>734.60931364999999</c:v>
                </c:pt>
                <c:pt idx="1436">
                  <c:v>734.6092764</c:v>
                </c:pt>
                <c:pt idx="1437">
                  <c:v>734.60920935000001</c:v>
                </c:pt>
                <c:pt idx="1438">
                  <c:v>734.60914230000003</c:v>
                </c:pt>
                <c:pt idx="1439">
                  <c:v>734.60914230000003</c:v>
                </c:pt>
                <c:pt idx="1440">
                  <c:v>734.60911995000004</c:v>
                </c:pt>
                <c:pt idx="1441">
                  <c:v>734.60909760000004</c:v>
                </c:pt>
                <c:pt idx="1442">
                  <c:v>734.60909760000004</c:v>
                </c:pt>
                <c:pt idx="1443">
                  <c:v>734.60909015000004</c:v>
                </c:pt>
                <c:pt idx="1444">
                  <c:v>734.60906035000005</c:v>
                </c:pt>
                <c:pt idx="1445">
                  <c:v>734.60905290000005</c:v>
                </c:pt>
                <c:pt idx="1446">
                  <c:v>734.60904545000005</c:v>
                </c:pt>
                <c:pt idx="1447">
                  <c:v>734.60904545000005</c:v>
                </c:pt>
                <c:pt idx="1448">
                  <c:v>734.60903799999994</c:v>
                </c:pt>
                <c:pt idx="1449">
                  <c:v>734.60903799999994</c:v>
                </c:pt>
                <c:pt idx="1450">
                  <c:v>734.60902310000006</c:v>
                </c:pt>
                <c:pt idx="1451">
                  <c:v>734.60901565000006</c:v>
                </c:pt>
                <c:pt idx="1452">
                  <c:v>734.60899329999995</c:v>
                </c:pt>
                <c:pt idx="1453">
                  <c:v>734.60898584999995</c:v>
                </c:pt>
                <c:pt idx="1454">
                  <c:v>734.60897840000007</c:v>
                </c:pt>
                <c:pt idx="1455">
                  <c:v>734.60897095000007</c:v>
                </c:pt>
                <c:pt idx="1456">
                  <c:v>734.60897095000007</c:v>
                </c:pt>
                <c:pt idx="1457">
                  <c:v>734.60896350000007</c:v>
                </c:pt>
                <c:pt idx="1458">
                  <c:v>734.60893370000008</c:v>
                </c:pt>
                <c:pt idx="1459">
                  <c:v>734.60891880000008</c:v>
                </c:pt>
                <c:pt idx="1460">
                  <c:v>734.60891134999997</c:v>
                </c:pt>
                <c:pt idx="1461">
                  <c:v>734.60890389999997</c:v>
                </c:pt>
                <c:pt idx="1462">
                  <c:v>734.60890389999997</c:v>
                </c:pt>
                <c:pt idx="1463">
                  <c:v>734.60889644999997</c:v>
                </c:pt>
                <c:pt idx="1464">
                  <c:v>734.60889644999997</c:v>
                </c:pt>
                <c:pt idx="1465">
                  <c:v>734.60888900000009</c:v>
                </c:pt>
                <c:pt idx="1466">
                  <c:v>734.60888900000009</c:v>
                </c:pt>
                <c:pt idx="1467">
                  <c:v>734.60888900000009</c:v>
                </c:pt>
                <c:pt idx="1468">
                  <c:v>734.60888900000009</c:v>
                </c:pt>
                <c:pt idx="1469">
                  <c:v>734.60887409999998</c:v>
                </c:pt>
                <c:pt idx="1470">
                  <c:v>734.60885919999998</c:v>
                </c:pt>
                <c:pt idx="1471">
                  <c:v>734.60885174999999</c:v>
                </c:pt>
                <c:pt idx="1472">
                  <c:v>734.6088443000001</c:v>
                </c:pt>
                <c:pt idx="1473">
                  <c:v>734.60882194999999</c:v>
                </c:pt>
                <c:pt idx="1474">
                  <c:v>734.60882194999999</c:v>
                </c:pt>
                <c:pt idx="1475">
                  <c:v>734.60880705</c:v>
                </c:pt>
                <c:pt idx="1476">
                  <c:v>734.60880705</c:v>
                </c:pt>
                <c:pt idx="1477">
                  <c:v>734.60879215</c:v>
                </c:pt>
                <c:pt idx="1478">
                  <c:v>734.60879215</c:v>
                </c:pt>
                <c:pt idx="1479">
                  <c:v>734.6087847</c:v>
                </c:pt>
                <c:pt idx="1480">
                  <c:v>734.60876235000001</c:v>
                </c:pt>
                <c:pt idx="1481">
                  <c:v>734.60875490000001</c:v>
                </c:pt>
                <c:pt idx="1482">
                  <c:v>734.60874745000001</c:v>
                </c:pt>
                <c:pt idx="1483">
                  <c:v>734.60874000000001</c:v>
                </c:pt>
                <c:pt idx="1484">
                  <c:v>734.60874000000001</c:v>
                </c:pt>
                <c:pt idx="1485">
                  <c:v>734.60874000000001</c:v>
                </c:pt>
                <c:pt idx="1486">
                  <c:v>734.60874000000001</c:v>
                </c:pt>
                <c:pt idx="1487">
                  <c:v>734.60874000000001</c:v>
                </c:pt>
                <c:pt idx="1488">
                  <c:v>734.60874000000001</c:v>
                </c:pt>
                <c:pt idx="1489">
                  <c:v>734.60874000000001</c:v>
                </c:pt>
                <c:pt idx="1490">
                  <c:v>734.60871765000002</c:v>
                </c:pt>
                <c:pt idx="1491">
                  <c:v>734.60871765000002</c:v>
                </c:pt>
                <c:pt idx="1492">
                  <c:v>734.60871020000002</c:v>
                </c:pt>
                <c:pt idx="1493">
                  <c:v>734.60871020000002</c:v>
                </c:pt>
                <c:pt idx="1494">
                  <c:v>734.60871020000002</c:v>
                </c:pt>
                <c:pt idx="1495">
                  <c:v>734.60870275000002</c:v>
                </c:pt>
                <c:pt idx="1496">
                  <c:v>734.60870275000002</c:v>
                </c:pt>
                <c:pt idx="1497">
                  <c:v>734.60869530000002</c:v>
                </c:pt>
                <c:pt idx="1498">
                  <c:v>734.60869530000002</c:v>
                </c:pt>
                <c:pt idx="1499">
                  <c:v>734.60868785000002</c:v>
                </c:pt>
                <c:pt idx="1500">
                  <c:v>734.60868040000003</c:v>
                </c:pt>
                <c:pt idx="1501">
                  <c:v>734.60868040000003</c:v>
                </c:pt>
                <c:pt idx="1502">
                  <c:v>734.60868040000003</c:v>
                </c:pt>
                <c:pt idx="1503">
                  <c:v>734.60867295000003</c:v>
                </c:pt>
                <c:pt idx="1504">
                  <c:v>734.60867295000003</c:v>
                </c:pt>
                <c:pt idx="1505">
                  <c:v>734.60867295000003</c:v>
                </c:pt>
                <c:pt idx="1506">
                  <c:v>734.60866549999992</c:v>
                </c:pt>
                <c:pt idx="1507">
                  <c:v>734.60860590000004</c:v>
                </c:pt>
                <c:pt idx="1508">
                  <c:v>734.60860590000004</c:v>
                </c:pt>
                <c:pt idx="1509">
                  <c:v>734.60859845000004</c:v>
                </c:pt>
                <c:pt idx="1510">
                  <c:v>734.60859845000004</c:v>
                </c:pt>
                <c:pt idx="1511">
                  <c:v>734.60859845000004</c:v>
                </c:pt>
                <c:pt idx="1512">
                  <c:v>734.60859100000005</c:v>
                </c:pt>
                <c:pt idx="1513">
                  <c:v>734.60859100000005</c:v>
                </c:pt>
                <c:pt idx="1514">
                  <c:v>734.60859100000005</c:v>
                </c:pt>
                <c:pt idx="1515">
                  <c:v>734.60859100000005</c:v>
                </c:pt>
                <c:pt idx="1516">
                  <c:v>734.60859100000005</c:v>
                </c:pt>
                <c:pt idx="1517">
                  <c:v>734.60859100000005</c:v>
                </c:pt>
                <c:pt idx="1518">
                  <c:v>734.60859100000005</c:v>
                </c:pt>
                <c:pt idx="1519">
                  <c:v>734.60859100000005</c:v>
                </c:pt>
                <c:pt idx="1520">
                  <c:v>734.60859100000005</c:v>
                </c:pt>
                <c:pt idx="1521">
                  <c:v>734.60859100000005</c:v>
                </c:pt>
                <c:pt idx="1522">
                  <c:v>734.60859100000005</c:v>
                </c:pt>
                <c:pt idx="1523">
                  <c:v>734.60859100000005</c:v>
                </c:pt>
                <c:pt idx="1524">
                  <c:v>734.60859100000005</c:v>
                </c:pt>
                <c:pt idx="1525">
                  <c:v>734.60859100000005</c:v>
                </c:pt>
                <c:pt idx="1526">
                  <c:v>734.60859100000005</c:v>
                </c:pt>
                <c:pt idx="1527">
                  <c:v>734.60859100000005</c:v>
                </c:pt>
                <c:pt idx="1528">
                  <c:v>734.60859100000005</c:v>
                </c:pt>
                <c:pt idx="1529">
                  <c:v>734.60859100000005</c:v>
                </c:pt>
                <c:pt idx="1530">
                  <c:v>734.60859100000005</c:v>
                </c:pt>
                <c:pt idx="1531">
                  <c:v>734.60859100000005</c:v>
                </c:pt>
                <c:pt idx="1532">
                  <c:v>734.60859100000005</c:v>
                </c:pt>
                <c:pt idx="1533">
                  <c:v>734.60859100000005</c:v>
                </c:pt>
                <c:pt idx="1534">
                  <c:v>734.60859100000005</c:v>
                </c:pt>
                <c:pt idx="1535">
                  <c:v>734.60859100000005</c:v>
                </c:pt>
                <c:pt idx="1536">
                  <c:v>734.60859100000005</c:v>
                </c:pt>
                <c:pt idx="1537">
                  <c:v>734.60859100000005</c:v>
                </c:pt>
                <c:pt idx="1538">
                  <c:v>734.60859100000005</c:v>
                </c:pt>
                <c:pt idx="1539">
                  <c:v>734.60859100000005</c:v>
                </c:pt>
                <c:pt idx="1540">
                  <c:v>734.60859100000005</c:v>
                </c:pt>
                <c:pt idx="1541">
                  <c:v>734.60859100000005</c:v>
                </c:pt>
                <c:pt idx="1542">
                  <c:v>734.60859100000005</c:v>
                </c:pt>
                <c:pt idx="1543">
                  <c:v>734.60859100000005</c:v>
                </c:pt>
                <c:pt idx="1544">
                  <c:v>734.60859100000005</c:v>
                </c:pt>
                <c:pt idx="1545">
                  <c:v>734.60859100000005</c:v>
                </c:pt>
                <c:pt idx="1546">
                  <c:v>734.60859100000005</c:v>
                </c:pt>
                <c:pt idx="1547">
                  <c:v>734.60859100000005</c:v>
                </c:pt>
                <c:pt idx="1548">
                  <c:v>734.60859100000005</c:v>
                </c:pt>
                <c:pt idx="1549">
                  <c:v>734.60859100000005</c:v>
                </c:pt>
                <c:pt idx="1550">
                  <c:v>734.60859100000005</c:v>
                </c:pt>
                <c:pt idx="1551">
                  <c:v>734.60859100000005</c:v>
                </c:pt>
                <c:pt idx="1552">
                  <c:v>734.60859100000005</c:v>
                </c:pt>
                <c:pt idx="1553">
                  <c:v>734.60859100000005</c:v>
                </c:pt>
                <c:pt idx="1554">
                  <c:v>734.60859100000005</c:v>
                </c:pt>
                <c:pt idx="1555">
                  <c:v>734.60859100000005</c:v>
                </c:pt>
                <c:pt idx="1556">
                  <c:v>734.60859100000005</c:v>
                </c:pt>
                <c:pt idx="1557">
                  <c:v>734.60859100000005</c:v>
                </c:pt>
                <c:pt idx="1558">
                  <c:v>734.60859100000005</c:v>
                </c:pt>
                <c:pt idx="1559">
                  <c:v>734.60859100000005</c:v>
                </c:pt>
                <c:pt idx="1560">
                  <c:v>734.60859100000005</c:v>
                </c:pt>
                <c:pt idx="1561">
                  <c:v>734.60859100000005</c:v>
                </c:pt>
                <c:pt idx="1562">
                  <c:v>734.60858355000005</c:v>
                </c:pt>
                <c:pt idx="1563">
                  <c:v>734.60858355000005</c:v>
                </c:pt>
                <c:pt idx="1564">
                  <c:v>734.60858355000005</c:v>
                </c:pt>
                <c:pt idx="1565">
                  <c:v>734.60857609999994</c:v>
                </c:pt>
                <c:pt idx="1566">
                  <c:v>734.60857609999994</c:v>
                </c:pt>
                <c:pt idx="1567">
                  <c:v>734.60857609999994</c:v>
                </c:pt>
                <c:pt idx="1568">
                  <c:v>734.60857609999994</c:v>
                </c:pt>
                <c:pt idx="1569">
                  <c:v>734.60857609999994</c:v>
                </c:pt>
                <c:pt idx="1570">
                  <c:v>734.60856865000005</c:v>
                </c:pt>
                <c:pt idx="1571">
                  <c:v>734.60856865000005</c:v>
                </c:pt>
                <c:pt idx="1572">
                  <c:v>734.60856865000005</c:v>
                </c:pt>
                <c:pt idx="1573">
                  <c:v>734.60856120000005</c:v>
                </c:pt>
                <c:pt idx="1574">
                  <c:v>734.60856120000005</c:v>
                </c:pt>
                <c:pt idx="1575">
                  <c:v>734.60856120000005</c:v>
                </c:pt>
                <c:pt idx="1576">
                  <c:v>734.60856120000005</c:v>
                </c:pt>
                <c:pt idx="1577">
                  <c:v>734.60856120000005</c:v>
                </c:pt>
                <c:pt idx="1578">
                  <c:v>734.60856120000005</c:v>
                </c:pt>
                <c:pt idx="1579">
                  <c:v>734.60856120000005</c:v>
                </c:pt>
                <c:pt idx="1580">
                  <c:v>734.60856120000005</c:v>
                </c:pt>
                <c:pt idx="1581">
                  <c:v>734.60855375000006</c:v>
                </c:pt>
                <c:pt idx="1582">
                  <c:v>734.60855375000006</c:v>
                </c:pt>
                <c:pt idx="1583">
                  <c:v>734.60855375000006</c:v>
                </c:pt>
                <c:pt idx="1584">
                  <c:v>734.60855375000006</c:v>
                </c:pt>
                <c:pt idx="1585">
                  <c:v>734.60854630000006</c:v>
                </c:pt>
                <c:pt idx="1586">
                  <c:v>734.60854630000006</c:v>
                </c:pt>
                <c:pt idx="1587">
                  <c:v>734.60854630000006</c:v>
                </c:pt>
                <c:pt idx="1588">
                  <c:v>734.60854630000006</c:v>
                </c:pt>
                <c:pt idx="1589">
                  <c:v>734.60853884999995</c:v>
                </c:pt>
                <c:pt idx="1590">
                  <c:v>734.60853884999995</c:v>
                </c:pt>
                <c:pt idx="1591">
                  <c:v>734.60853139999995</c:v>
                </c:pt>
                <c:pt idx="1592">
                  <c:v>734.60853139999995</c:v>
                </c:pt>
                <c:pt idx="1593">
                  <c:v>734.60853139999995</c:v>
                </c:pt>
                <c:pt idx="1594">
                  <c:v>734.60852395000006</c:v>
                </c:pt>
                <c:pt idx="1595">
                  <c:v>734.60852395000006</c:v>
                </c:pt>
                <c:pt idx="1596">
                  <c:v>734.60852395000006</c:v>
                </c:pt>
                <c:pt idx="1597">
                  <c:v>734.60852395000006</c:v>
                </c:pt>
                <c:pt idx="1598">
                  <c:v>734.60852395000006</c:v>
                </c:pt>
                <c:pt idx="1599">
                  <c:v>734.60851650000006</c:v>
                </c:pt>
                <c:pt idx="1600">
                  <c:v>734.60851650000006</c:v>
                </c:pt>
                <c:pt idx="1601">
                  <c:v>734.60851650000006</c:v>
                </c:pt>
                <c:pt idx="1602">
                  <c:v>734.60851650000006</c:v>
                </c:pt>
                <c:pt idx="1603">
                  <c:v>734.60851650000006</c:v>
                </c:pt>
                <c:pt idx="1604">
                  <c:v>734.60850905000007</c:v>
                </c:pt>
                <c:pt idx="1605">
                  <c:v>734.60844944999997</c:v>
                </c:pt>
                <c:pt idx="1606">
                  <c:v>734.60768210000003</c:v>
                </c:pt>
                <c:pt idx="1607">
                  <c:v>734.60762250000005</c:v>
                </c:pt>
                <c:pt idx="1608">
                  <c:v>734.60114844999998</c:v>
                </c:pt>
                <c:pt idx="1609">
                  <c:v>734.59369845000003</c:v>
                </c:pt>
                <c:pt idx="1610">
                  <c:v>734.59369845000003</c:v>
                </c:pt>
                <c:pt idx="1611">
                  <c:v>734.58374524999999</c:v>
                </c:pt>
                <c:pt idx="1612">
                  <c:v>734.583708</c:v>
                </c:pt>
                <c:pt idx="1613">
                  <c:v>734.583708</c:v>
                </c:pt>
                <c:pt idx="1614">
                  <c:v>734.583708</c:v>
                </c:pt>
                <c:pt idx="1615">
                  <c:v>734.583708</c:v>
                </c:pt>
                <c:pt idx="1616">
                  <c:v>734.56521709999993</c:v>
                </c:pt>
                <c:pt idx="1617">
                  <c:v>734.56509044999996</c:v>
                </c:pt>
                <c:pt idx="1618">
                  <c:v>734.56508299999996</c:v>
                </c:pt>
                <c:pt idx="1619">
                  <c:v>734.56508299999996</c:v>
                </c:pt>
                <c:pt idx="1620">
                  <c:v>734.56508299999996</c:v>
                </c:pt>
                <c:pt idx="1621">
                  <c:v>734.56508299999996</c:v>
                </c:pt>
                <c:pt idx="1622">
                  <c:v>734.55957000000001</c:v>
                </c:pt>
                <c:pt idx="1623">
                  <c:v>734.55891440000005</c:v>
                </c:pt>
                <c:pt idx="1624">
                  <c:v>734.55890695000005</c:v>
                </c:pt>
                <c:pt idx="1625">
                  <c:v>734.55889950000005</c:v>
                </c:pt>
                <c:pt idx="1626">
                  <c:v>734.55889950000005</c:v>
                </c:pt>
                <c:pt idx="1627">
                  <c:v>734.55889950000005</c:v>
                </c:pt>
                <c:pt idx="1628">
                  <c:v>734.55889950000005</c:v>
                </c:pt>
                <c:pt idx="1629">
                  <c:v>734.55887715000006</c:v>
                </c:pt>
                <c:pt idx="1630">
                  <c:v>734.55887715000006</c:v>
                </c:pt>
                <c:pt idx="1631">
                  <c:v>734.55886225000006</c:v>
                </c:pt>
                <c:pt idx="1632">
                  <c:v>734.55886225000006</c:v>
                </c:pt>
                <c:pt idx="1633">
                  <c:v>734.53602799999999</c:v>
                </c:pt>
                <c:pt idx="1634">
                  <c:v>734.53494775000001</c:v>
                </c:pt>
                <c:pt idx="1635">
                  <c:v>734.53485090000004</c:v>
                </c:pt>
                <c:pt idx="1636">
                  <c:v>734.53484345000004</c:v>
                </c:pt>
                <c:pt idx="1637">
                  <c:v>734.53483600000004</c:v>
                </c:pt>
                <c:pt idx="1638">
                  <c:v>734.53483600000004</c:v>
                </c:pt>
                <c:pt idx="1639">
                  <c:v>734.53469444999996</c:v>
                </c:pt>
                <c:pt idx="1640">
                  <c:v>734.53468699999996</c:v>
                </c:pt>
                <c:pt idx="1641">
                  <c:v>734.53466465000008</c:v>
                </c:pt>
                <c:pt idx="1642">
                  <c:v>734.53462739999998</c:v>
                </c:pt>
                <c:pt idx="1643">
                  <c:v>734.53459014999999</c:v>
                </c:pt>
                <c:pt idx="1644">
                  <c:v>734.53459014999999</c:v>
                </c:pt>
                <c:pt idx="1645">
                  <c:v>734.53458269999999</c:v>
                </c:pt>
                <c:pt idx="1646">
                  <c:v>734.53454545</c:v>
                </c:pt>
                <c:pt idx="1647">
                  <c:v>734.534538</c:v>
                </c:pt>
                <c:pt idx="1648">
                  <c:v>734.5345082</c:v>
                </c:pt>
                <c:pt idx="1649">
                  <c:v>734.53447095000001</c:v>
                </c:pt>
                <c:pt idx="1650">
                  <c:v>734.53447095000001</c:v>
                </c:pt>
                <c:pt idx="1651">
                  <c:v>734.53446350000002</c:v>
                </c:pt>
                <c:pt idx="1652">
                  <c:v>734.53446350000002</c:v>
                </c:pt>
                <c:pt idx="1653">
                  <c:v>734.53446350000002</c:v>
                </c:pt>
                <c:pt idx="1654">
                  <c:v>734.53444860000002</c:v>
                </c:pt>
                <c:pt idx="1655">
                  <c:v>734.53444860000002</c:v>
                </c:pt>
                <c:pt idx="1656">
                  <c:v>734.53444115000002</c:v>
                </c:pt>
                <c:pt idx="1657">
                  <c:v>734.53442625000002</c:v>
                </c:pt>
                <c:pt idx="1658">
                  <c:v>734.53442625000002</c:v>
                </c:pt>
                <c:pt idx="1659">
                  <c:v>734.53442625000002</c:v>
                </c:pt>
                <c:pt idx="1660">
                  <c:v>734.53441880000003</c:v>
                </c:pt>
                <c:pt idx="1661">
                  <c:v>734.53441880000003</c:v>
                </c:pt>
                <c:pt idx="1662">
                  <c:v>734.53441135000003</c:v>
                </c:pt>
                <c:pt idx="1663">
                  <c:v>734.53441135000003</c:v>
                </c:pt>
                <c:pt idx="1664">
                  <c:v>734.53441135000003</c:v>
                </c:pt>
                <c:pt idx="1665">
                  <c:v>734.53441135000003</c:v>
                </c:pt>
                <c:pt idx="1666">
                  <c:v>734.53441135000003</c:v>
                </c:pt>
                <c:pt idx="1667">
                  <c:v>734.53441135000003</c:v>
                </c:pt>
                <c:pt idx="1668">
                  <c:v>734.53440390000003</c:v>
                </c:pt>
                <c:pt idx="1669">
                  <c:v>734.53440390000003</c:v>
                </c:pt>
                <c:pt idx="1670">
                  <c:v>734.53440390000003</c:v>
                </c:pt>
                <c:pt idx="1671">
                  <c:v>734.53439645000003</c:v>
                </c:pt>
                <c:pt idx="1672">
                  <c:v>734.53439645000003</c:v>
                </c:pt>
                <c:pt idx="1673">
                  <c:v>734.53438900000003</c:v>
                </c:pt>
                <c:pt idx="1674">
                  <c:v>734.53438900000003</c:v>
                </c:pt>
                <c:pt idx="1675">
                  <c:v>734.53438900000003</c:v>
                </c:pt>
                <c:pt idx="1676">
                  <c:v>734.53438900000003</c:v>
                </c:pt>
                <c:pt idx="1677">
                  <c:v>734.53438900000003</c:v>
                </c:pt>
                <c:pt idx="1678">
                  <c:v>734.53438900000003</c:v>
                </c:pt>
                <c:pt idx="1679">
                  <c:v>734.53438900000003</c:v>
                </c:pt>
                <c:pt idx="1680">
                  <c:v>734.53438900000003</c:v>
                </c:pt>
                <c:pt idx="1681">
                  <c:v>734.53438155000003</c:v>
                </c:pt>
                <c:pt idx="1682">
                  <c:v>734.53437410000004</c:v>
                </c:pt>
                <c:pt idx="1683">
                  <c:v>734.53436665000004</c:v>
                </c:pt>
                <c:pt idx="1684">
                  <c:v>734.53435919999993</c:v>
                </c:pt>
                <c:pt idx="1685">
                  <c:v>734.53434430000004</c:v>
                </c:pt>
                <c:pt idx="1686">
                  <c:v>734.53429215000006</c:v>
                </c:pt>
                <c:pt idx="1687">
                  <c:v>734.53427725000006</c:v>
                </c:pt>
                <c:pt idx="1688">
                  <c:v>734.53426979999995</c:v>
                </c:pt>
                <c:pt idx="1689">
                  <c:v>734.53426979999995</c:v>
                </c:pt>
                <c:pt idx="1690">
                  <c:v>734.53426979999995</c:v>
                </c:pt>
                <c:pt idx="1691">
                  <c:v>734.53426979999995</c:v>
                </c:pt>
                <c:pt idx="1692">
                  <c:v>734.53425490000006</c:v>
                </c:pt>
                <c:pt idx="1693">
                  <c:v>734.53424000000007</c:v>
                </c:pt>
                <c:pt idx="1694">
                  <c:v>734.53424000000007</c:v>
                </c:pt>
                <c:pt idx="1695">
                  <c:v>734.53424000000007</c:v>
                </c:pt>
                <c:pt idx="1696">
                  <c:v>734.53424000000007</c:v>
                </c:pt>
                <c:pt idx="1697">
                  <c:v>734.53424000000007</c:v>
                </c:pt>
                <c:pt idx="1698">
                  <c:v>734.53424000000007</c:v>
                </c:pt>
                <c:pt idx="1699">
                  <c:v>734.53424000000007</c:v>
                </c:pt>
                <c:pt idx="1700">
                  <c:v>734.53424000000007</c:v>
                </c:pt>
                <c:pt idx="1701">
                  <c:v>734.53422509999996</c:v>
                </c:pt>
                <c:pt idx="1702">
                  <c:v>734.53421764999996</c:v>
                </c:pt>
                <c:pt idx="1703">
                  <c:v>734.53421020000008</c:v>
                </c:pt>
                <c:pt idx="1704">
                  <c:v>734.53421020000008</c:v>
                </c:pt>
                <c:pt idx="1705">
                  <c:v>734.53419530000008</c:v>
                </c:pt>
                <c:pt idx="1706">
                  <c:v>734.53419530000008</c:v>
                </c:pt>
                <c:pt idx="1707">
                  <c:v>734.53419530000008</c:v>
                </c:pt>
                <c:pt idx="1708">
                  <c:v>734.53418784999997</c:v>
                </c:pt>
                <c:pt idx="1709">
                  <c:v>734.53418039999997</c:v>
                </c:pt>
                <c:pt idx="1710">
                  <c:v>734.53418039999997</c:v>
                </c:pt>
                <c:pt idx="1711">
                  <c:v>734.53417294999997</c:v>
                </c:pt>
                <c:pt idx="1712">
                  <c:v>734.53415805000009</c:v>
                </c:pt>
                <c:pt idx="1713">
                  <c:v>734.53415805000009</c:v>
                </c:pt>
                <c:pt idx="1714">
                  <c:v>734.53415059999998</c:v>
                </c:pt>
                <c:pt idx="1715">
                  <c:v>734.53414314999998</c:v>
                </c:pt>
                <c:pt idx="1716">
                  <c:v>734.53413569999998</c:v>
                </c:pt>
                <c:pt idx="1717">
                  <c:v>734.5341208000001</c:v>
                </c:pt>
                <c:pt idx="1718">
                  <c:v>734.5341208000001</c:v>
                </c:pt>
                <c:pt idx="1719">
                  <c:v>734.5341133500001</c:v>
                </c:pt>
                <c:pt idx="1720">
                  <c:v>734.5341133500001</c:v>
                </c:pt>
                <c:pt idx="1721">
                  <c:v>734.5341133500001</c:v>
                </c:pt>
                <c:pt idx="1722">
                  <c:v>734.5341133500001</c:v>
                </c:pt>
                <c:pt idx="1723">
                  <c:v>734.53410589999999</c:v>
                </c:pt>
                <c:pt idx="1724">
                  <c:v>734.53410589999999</c:v>
                </c:pt>
                <c:pt idx="1725">
                  <c:v>734.53410589999999</c:v>
                </c:pt>
                <c:pt idx="1726">
                  <c:v>734.53410589999999</c:v>
                </c:pt>
                <c:pt idx="1727">
                  <c:v>734.53409844999999</c:v>
                </c:pt>
                <c:pt idx="1728">
                  <c:v>734.53409844999999</c:v>
                </c:pt>
                <c:pt idx="1729">
                  <c:v>734.53409844999999</c:v>
                </c:pt>
                <c:pt idx="1730">
                  <c:v>734.53409844999999</c:v>
                </c:pt>
                <c:pt idx="1731">
                  <c:v>734.53409844999999</c:v>
                </c:pt>
                <c:pt idx="1732">
                  <c:v>734.53409844999999</c:v>
                </c:pt>
                <c:pt idx="1733">
                  <c:v>734.53409844999999</c:v>
                </c:pt>
                <c:pt idx="1734">
                  <c:v>734.53409099999999</c:v>
                </c:pt>
                <c:pt idx="1735">
                  <c:v>734.53409099999999</c:v>
                </c:pt>
                <c:pt idx="1736">
                  <c:v>734.53409099999999</c:v>
                </c:pt>
                <c:pt idx="1737">
                  <c:v>734.53409099999999</c:v>
                </c:pt>
                <c:pt idx="1738">
                  <c:v>734.53409099999999</c:v>
                </c:pt>
                <c:pt idx="1739">
                  <c:v>734.53409099999999</c:v>
                </c:pt>
                <c:pt idx="1740">
                  <c:v>734.53409099999999</c:v>
                </c:pt>
                <c:pt idx="1741">
                  <c:v>734.53409099999999</c:v>
                </c:pt>
                <c:pt idx="1742">
                  <c:v>734.53409099999999</c:v>
                </c:pt>
                <c:pt idx="1743">
                  <c:v>734.53409099999999</c:v>
                </c:pt>
                <c:pt idx="1744">
                  <c:v>734.53409099999999</c:v>
                </c:pt>
                <c:pt idx="1745">
                  <c:v>734.53409099999999</c:v>
                </c:pt>
                <c:pt idx="1746">
                  <c:v>734.53409099999999</c:v>
                </c:pt>
                <c:pt idx="1747">
                  <c:v>734.53409099999999</c:v>
                </c:pt>
                <c:pt idx="1748">
                  <c:v>734.53409099999999</c:v>
                </c:pt>
                <c:pt idx="1749">
                  <c:v>734.53409099999999</c:v>
                </c:pt>
                <c:pt idx="1750">
                  <c:v>734.53409099999999</c:v>
                </c:pt>
                <c:pt idx="1751">
                  <c:v>734.53409099999999</c:v>
                </c:pt>
                <c:pt idx="1752">
                  <c:v>734.53409099999999</c:v>
                </c:pt>
                <c:pt idx="1753">
                  <c:v>734.53409099999999</c:v>
                </c:pt>
                <c:pt idx="1754">
                  <c:v>734.53409099999999</c:v>
                </c:pt>
                <c:pt idx="1755">
                  <c:v>734.53409099999999</c:v>
                </c:pt>
                <c:pt idx="1756">
                  <c:v>734.53409099999999</c:v>
                </c:pt>
                <c:pt idx="1757">
                  <c:v>734.53409099999999</c:v>
                </c:pt>
                <c:pt idx="1758">
                  <c:v>734.53409099999999</c:v>
                </c:pt>
                <c:pt idx="1759">
                  <c:v>734.53409099999999</c:v>
                </c:pt>
                <c:pt idx="1760">
                  <c:v>734.53409099999999</c:v>
                </c:pt>
                <c:pt idx="1761">
                  <c:v>734.53409099999999</c:v>
                </c:pt>
                <c:pt idx="1762">
                  <c:v>734.53409099999999</c:v>
                </c:pt>
                <c:pt idx="1763">
                  <c:v>734.53409099999999</c:v>
                </c:pt>
                <c:pt idx="1764">
                  <c:v>734.53409099999999</c:v>
                </c:pt>
                <c:pt idx="1765">
                  <c:v>734.53409099999999</c:v>
                </c:pt>
                <c:pt idx="1766">
                  <c:v>734.53409099999999</c:v>
                </c:pt>
                <c:pt idx="1767">
                  <c:v>734.53409099999999</c:v>
                </c:pt>
                <c:pt idx="1768">
                  <c:v>734.53409099999999</c:v>
                </c:pt>
                <c:pt idx="1769">
                  <c:v>734.53409099999999</c:v>
                </c:pt>
                <c:pt idx="1770">
                  <c:v>734.53409099999999</c:v>
                </c:pt>
                <c:pt idx="1771">
                  <c:v>734.53409099999999</c:v>
                </c:pt>
                <c:pt idx="1772">
                  <c:v>734.53409099999999</c:v>
                </c:pt>
                <c:pt idx="1773">
                  <c:v>734.53409099999999</c:v>
                </c:pt>
                <c:pt idx="1774">
                  <c:v>734.53409099999999</c:v>
                </c:pt>
                <c:pt idx="1775">
                  <c:v>734.53409099999999</c:v>
                </c:pt>
                <c:pt idx="1776">
                  <c:v>734.53409099999999</c:v>
                </c:pt>
                <c:pt idx="1777">
                  <c:v>734.53409099999999</c:v>
                </c:pt>
                <c:pt idx="1778">
                  <c:v>734.53409099999999</c:v>
                </c:pt>
                <c:pt idx="1779">
                  <c:v>734.53408354999999</c:v>
                </c:pt>
                <c:pt idx="1780">
                  <c:v>734.53408354999999</c:v>
                </c:pt>
                <c:pt idx="1781">
                  <c:v>734.53407609999999</c:v>
                </c:pt>
                <c:pt idx="1782">
                  <c:v>734.53407609999999</c:v>
                </c:pt>
                <c:pt idx="1783">
                  <c:v>734.53407609999999</c:v>
                </c:pt>
                <c:pt idx="1784">
                  <c:v>734.53407609999999</c:v>
                </c:pt>
                <c:pt idx="1785">
                  <c:v>734.53406865000011</c:v>
                </c:pt>
                <c:pt idx="1786">
                  <c:v>734.53406865000011</c:v>
                </c:pt>
                <c:pt idx="1787">
                  <c:v>734.5340612</c:v>
                </c:pt>
                <c:pt idx="1788">
                  <c:v>734.53405375</c:v>
                </c:pt>
                <c:pt idx="1789">
                  <c:v>734.5340463</c:v>
                </c:pt>
                <c:pt idx="1790">
                  <c:v>734.53403885</c:v>
                </c:pt>
                <c:pt idx="1791">
                  <c:v>734.5340314</c:v>
                </c:pt>
                <c:pt idx="1792">
                  <c:v>734.53401650000001</c:v>
                </c:pt>
                <c:pt idx="1793">
                  <c:v>734.53400905000001</c:v>
                </c:pt>
                <c:pt idx="1794">
                  <c:v>734.53400905000001</c:v>
                </c:pt>
                <c:pt idx="1795">
                  <c:v>734.53394200000002</c:v>
                </c:pt>
                <c:pt idx="1796">
                  <c:v>734.53248925000003</c:v>
                </c:pt>
                <c:pt idx="1797">
                  <c:v>734.53245945000003</c:v>
                </c:pt>
                <c:pt idx="1798">
                  <c:v>734.48566600000004</c:v>
                </c:pt>
                <c:pt idx="1799">
                  <c:v>734.48282755000002</c:v>
                </c:pt>
                <c:pt idx="1800">
                  <c:v>734.46157270000003</c:v>
                </c:pt>
                <c:pt idx="1801">
                  <c:v>734.46152800000004</c:v>
                </c:pt>
                <c:pt idx="1802">
                  <c:v>734.46117040000001</c:v>
                </c:pt>
                <c:pt idx="1803">
                  <c:v>734.46102885000005</c:v>
                </c:pt>
                <c:pt idx="1804">
                  <c:v>734.46099160000006</c:v>
                </c:pt>
                <c:pt idx="1805">
                  <c:v>734.46096924999995</c:v>
                </c:pt>
                <c:pt idx="1806">
                  <c:v>734.46092454999996</c:v>
                </c:pt>
                <c:pt idx="1807">
                  <c:v>734.46086495000009</c:v>
                </c:pt>
                <c:pt idx="1808">
                  <c:v>734.46086495000009</c:v>
                </c:pt>
                <c:pt idx="1809">
                  <c:v>734.46079789999999</c:v>
                </c:pt>
                <c:pt idx="1810">
                  <c:v>734.46064890000002</c:v>
                </c:pt>
                <c:pt idx="1811">
                  <c:v>734.46060420000003</c:v>
                </c:pt>
                <c:pt idx="1812">
                  <c:v>734.46056695000004</c:v>
                </c:pt>
                <c:pt idx="1813">
                  <c:v>734.46052225000005</c:v>
                </c:pt>
                <c:pt idx="1814">
                  <c:v>734.46050734999994</c:v>
                </c:pt>
                <c:pt idx="1815">
                  <c:v>734.46048500000006</c:v>
                </c:pt>
                <c:pt idx="1816">
                  <c:v>734.46043284999996</c:v>
                </c:pt>
                <c:pt idx="1817">
                  <c:v>734.46041794999996</c:v>
                </c:pt>
                <c:pt idx="1818">
                  <c:v>734.46032109999999</c:v>
                </c:pt>
                <c:pt idx="1819">
                  <c:v>734.46028385</c:v>
                </c:pt>
                <c:pt idx="1820">
                  <c:v>734.4602764</c:v>
                </c:pt>
                <c:pt idx="1821">
                  <c:v>734.46025405</c:v>
                </c:pt>
                <c:pt idx="1822">
                  <c:v>734.46022425000012</c:v>
                </c:pt>
                <c:pt idx="1823">
                  <c:v>734.46019445000002</c:v>
                </c:pt>
                <c:pt idx="1824">
                  <c:v>734.46018700000002</c:v>
                </c:pt>
                <c:pt idx="1825">
                  <c:v>734.46018700000002</c:v>
                </c:pt>
                <c:pt idx="1826">
                  <c:v>734.46018700000002</c:v>
                </c:pt>
                <c:pt idx="1827">
                  <c:v>734.46017210000002</c:v>
                </c:pt>
                <c:pt idx="1828">
                  <c:v>734.46017210000002</c:v>
                </c:pt>
                <c:pt idx="1829">
                  <c:v>734.46015720000003</c:v>
                </c:pt>
                <c:pt idx="1830">
                  <c:v>734.46013485000003</c:v>
                </c:pt>
                <c:pt idx="1831">
                  <c:v>734.46012740000003</c:v>
                </c:pt>
                <c:pt idx="1832">
                  <c:v>734.46012740000003</c:v>
                </c:pt>
                <c:pt idx="1833">
                  <c:v>734.46011995000003</c:v>
                </c:pt>
                <c:pt idx="1834">
                  <c:v>734.46009760000004</c:v>
                </c:pt>
                <c:pt idx="1835">
                  <c:v>734.46008270000004</c:v>
                </c:pt>
                <c:pt idx="1836">
                  <c:v>734.46006780000005</c:v>
                </c:pt>
                <c:pt idx="1837">
                  <c:v>734.46000074999995</c:v>
                </c:pt>
                <c:pt idx="1838">
                  <c:v>734.45997840000007</c:v>
                </c:pt>
                <c:pt idx="1839">
                  <c:v>734.45996349999996</c:v>
                </c:pt>
                <c:pt idx="1840">
                  <c:v>734.45993370000008</c:v>
                </c:pt>
                <c:pt idx="1841">
                  <c:v>734.45993370000008</c:v>
                </c:pt>
                <c:pt idx="1842">
                  <c:v>734.45993370000008</c:v>
                </c:pt>
                <c:pt idx="1843">
                  <c:v>734.45992624999997</c:v>
                </c:pt>
                <c:pt idx="1844">
                  <c:v>734.45991879999997</c:v>
                </c:pt>
                <c:pt idx="1845">
                  <c:v>734.45991879999997</c:v>
                </c:pt>
                <c:pt idx="1846">
                  <c:v>734.45991879999997</c:v>
                </c:pt>
                <c:pt idx="1847">
                  <c:v>734.45991134999997</c:v>
                </c:pt>
                <c:pt idx="1848">
                  <c:v>734.45990390000009</c:v>
                </c:pt>
                <c:pt idx="1849">
                  <c:v>734.45989645000009</c:v>
                </c:pt>
                <c:pt idx="1850">
                  <c:v>734.45988900000009</c:v>
                </c:pt>
                <c:pt idx="1851">
                  <c:v>734.45988900000009</c:v>
                </c:pt>
                <c:pt idx="1852">
                  <c:v>734.45986664999998</c:v>
                </c:pt>
                <c:pt idx="1853">
                  <c:v>734.45986664999998</c:v>
                </c:pt>
                <c:pt idx="1854">
                  <c:v>734.45985919999998</c:v>
                </c:pt>
                <c:pt idx="1855">
                  <c:v>734.4598517500001</c:v>
                </c:pt>
                <c:pt idx="1856">
                  <c:v>734.4598517500001</c:v>
                </c:pt>
                <c:pt idx="1857">
                  <c:v>734.4598517500001</c:v>
                </c:pt>
                <c:pt idx="1858">
                  <c:v>734.4598517500001</c:v>
                </c:pt>
                <c:pt idx="1859">
                  <c:v>734.45984429999999</c:v>
                </c:pt>
                <c:pt idx="1860">
                  <c:v>734.45983684999999</c:v>
                </c:pt>
                <c:pt idx="1861">
                  <c:v>734.45982194999999</c:v>
                </c:pt>
                <c:pt idx="1862">
                  <c:v>734.45982194999999</c:v>
                </c:pt>
                <c:pt idx="1863">
                  <c:v>734.45981449999999</c:v>
                </c:pt>
                <c:pt idx="1864">
                  <c:v>734.45980705000011</c:v>
                </c:pt>
                <c:pt idx="1865">
                  <c:v>734.45980705000011</c:v>
                </c:pt>
                <c:pt idx="1866">
                  <c:v>734.4597996</c:v>
                </c:pt>
                <c:pt idx="1867">
                  <c:v>734.4597996</c:v>
                </c:pt>
                <c:pt idx="1868">
                  <c:v>734.4597996</c:v>
                </c:pt>
                <c:pt idx="1869">
                  <c:v>734.4597996</c:v>
                </c:pt>
                <c:pt idx="1870">
                  <c:v>734.45979215</c:v>
                </c:pt>
                <c:pt idx="1871">
                  <c:v>734.4597698</c:v>
                </c:pt>
                <c:pt idx="1872">
                  <c:v>734.4597698</c:v>
                </c:pt>
                <c:pt idx="1873">
                  <c:v>734.4597698</c:v>
                </c:pt>
                <c:pt idx="1874">
                  <c:v>734.4597698</c:v>
                </c:pt>
                <c:pt idx="1875">
                  <c:v>734.45974745000001</c:v>
                </c:pt>
                <c:pt idx="1876">
                  <c:v>734.45974745000001</c:v>
                </c:pt>
                <c:pt idx="1877">
                  <c:v>734.45974000000001</c:v>
                </c:pt>
                <c:pt idx="1878">
                  <c:v>734.45973255000001</c:v>
                </c:pt>
                <c:pt idx="1879">
                  <c:v>734.45972510000001</c:v>
                </c:pt>
                <c:pt idx="1880">
                  <c:v>734.45972510000001</c:v>
                </c:pt>
                <c:pt idx="1881">
                  <c:v>734.45971765000002</c:v>
                </c:pt>
                <c:pt idx="1882">
                  <c:v>734.45971020000002</c:v>
                </c:pt>
                <c:pt idx="1883">
                  <c:v>734.45971020000002</c:v>
                </c:pt>
                <c:pt idx="1884">
                  <c:v>734.45970275000002</c:v>
                </c:pt>
                <c:pt idx="1885">
                  <c:v>734.45969530000002</c:v>
                </c:pt>
                <c:pt idx="1886">
                  <c:v>734.45968785000002</c:v>
                </c:pt>
                <c:pt idx="1887">
                  <c:v>734.45968785000002</c:v>
                </c:pt>
                <c:pt idx="1888">
                  <c:v>734.45968040000002</c:v>
                </c:pt>
                <c:pt idx="1889">
                  <c:v>734.45968040000002</c:v>
                </c:pt>
                <c:pt idx="1890">
                  <c:v>734.45966550000003</c:v>
                </c:pt>
                <c:pt idx="1891">
                  <c:v>734.45966550000003</c:v>
                </c:pt>
                <c:pt idx="1892">
                  <c:v>734.45966550000003</c:v>
                </c:pt>
                <c:pt idx="1893">
                  <c:v>734.45966550000003</c:v>
                </c:pt>
                <c:pt idx="1894">
                  <c:v>734.45966550000003</c:v>
                </c:pt>
                <c:pt idx="1895">
                  <c:v>734.45966550000003</c:v>
                </c:pt>
                <c:pt idx="1896">
                  <c:v>734.45966550000003</c:v>
                </c:pt>
                <c:pt idx="1897">
                  <c:v>734.45965805000003</c:v>
                </c:pt>
                <c:pt idx="1898">
                  <c:v>734.45965060000003</c:v>
                </c:pt>
                <c:pt idx="1899">
                  <c:v>734.45965060000003</c:v>
                </c:pt>
                <c:pt idx="1900">
                  <c:v>734.45964315000003</c:v>
                </c:pt>
                <c:pt idx="1901">
                  <c:v>734.45964315000003</c:v>
                </c:pt>
                <c:pt idx="1902">
                  <c:v>734.45964315000003</c:v>
                </c:pt>
                <c:pt idx="1903">
                  <c:v>734.45964315000003</c:v>
                </c:pt>
                <c:pt idx="1904">
                  <c:v>734.45963569999992</c:v>
                </c:pt>
                <c:pt idx="1905">
                  <c:v>734.45963569999992</c:v>
                </c:pt>
                <c:pt idx="1906">
                  <c:v>734.45963569999992</c:v>
                </c:pt>
                <c:pt idx="1907">
                  <c:v>734.45962825000004</c:v>
                </c:pt>
                <c:pt idx="1908">
                  <c:v>734.45962825000004</c:v>
                </c:pt>
                <c:pt idx="1909">
                  <c:v>734.45962080000004</c:v>
                </c:pt>
                <c:pt idx="1910">
                  <c:v>734.45962080000004</c:v>
                </c:pt>
                <c:pt idx="1911">
                  <c:v>734.45962080000004</c:v>
                </c:pt>
                <c:pt idx="1912">
                  <c:v>734.45962080000004</c:v>
                </c:pt>
                <c:pt idx="1913">
                  <c:v>734.45962080000004</c:v>
                </c:pt>
                <c:pt idx="1914">
                  <c:v>734.45961335000004</c:v>
                </c:pt>
                <c:pt idx="1915">
                  <c:v>734.45961335000004</c:v>
                </c:pt>
                <c:pt idx="1916">
                  <c:v>734.45960590000004</c:v>
                </c:pt>
                <c:pt idx="1917">
                  <c:v>734.45960590000004</c:v>
                </c:pt>
                <c:pt idx="1918">
                  <c:v>734.45960590000004</c:v>
                </c:pt>
                <c:pt idx="1919">
                  <c:v>734.45960590000004</c:v>
                </c:pt>
                <c:pt idx="1920">
                  <c:v>734.45960590000004</c:v>
                </c:pt>
                <c:pt idx="1921">
                  <c:v>734.45960590000004</c:v>
                </c:pt>
                <c:pt idx="1922">
                  <c:v>734.45960590000004</c:v>
                </c:pt>
                <c:pt idx="1923">
                  <c:v>734.45960590000004</c:v>
                </c:pt>
                <c:pt idx="1924">
                  <c:v>734.45959845000004</c:v>
                </c:pt>
                <c:pt idx="1925">
                  <c:v>734.45959845000004</c:v>
                </c:pt>
                <c:pt idx="1926">
                  <c:v>734.45959099999993</c:v>
                </c:pt>
                <c:pt idx="1927">
                  <c:v>734.45959099999993</c:v>
                </c:pt>
                <c:pt idx="1928">
                  <c:v>734.45959099999993</c:v>
                </c:pt>
                <c:pt idx="1929">
                  <c:v>734.45959099999993</c:v>
                </c:pt>
                <c:pt idx="1930">
                  <c:v>734.45959099999993</c:v>
                </c:pt>
                <c:pt idx="1931">
                  <c:v>734.45959099999993</c:v>
                </c:pt>
                <c:pt idx="1932">
                  <c:v>734.45959099999993</c:v>
                </c:pt>
                <c:pt idx="1933">
                  <c:v>734.45959099999993</c:v>
                </c:pt>
                <c:pt idx="1934">
                  <c:v>734.45958355000005</c:v>
                </c:pt>
                <c:pt idx="1935">
                  <c:v>734.45958355000005</c:v>
                </c:pt>
                <c:pt idx="1936">
                  <c:v>734.45958355000005</c:v>
                </c:pt>
                <c:pt idx="1937">
                  <c:v>734.45958355000005</c:v>
                </c:pt>
                <c:pt idx="1938">
                  <c:v>734.45958355000005</c:v>
                </c:pt>
                <c:pt idx="1939">
                  <c:v>734.45957610000005</c:v>
                </c:pt>
                <c:pt idx="1940">
                  <c:v>734.45957610000005</c:v>
                </c:pt>
                <c:pt idx="1941">
                  <c:v>734.45957610000005</c:v>
                </c:pt>
                <c:pt idx="1942">
                  <c:v>734.45956865000005</c:v>
                </c:pt>
                <c:pt idx="1943">
                  <c:v>734.45956865000005</c:v>
                </c:pt>
                <c:pt idx="1944">
                  <c:v>734.45956865000005</c:v>
                </c:pt>
                <c:pt idx="1945">
                  <c:v>734.45956865000005</c:v>
                </c:pt>
                <c:pt idx="1946">
                  <c:v>734.45956120000005</c:v>
                </c:pt>
                <c:pt idx="1947">
                  <c:v>734.45956120000005</c:v>
                </c:pt>
                <c:pt idx="1948">
                  <c:v>734.45956120000005</c:v>
                </c:pt>
                <c:pt idx="1949">
                  <c:v>734.45956120000005</c:v>
                </c:pt>
                <c:pt idx="1950">
                  <c:v>734.45955375000005</c:v>
                </c:pt>
                <c:pt idx="1951">
                  <c:v>734.45955375000005</c:v>
                </c:pt>
                <c:pt idx="1952">
                  <c:v>734.45955375000005</c:v>
                </c:pt>
                <c:pt idx="1953">
                  <c:v>734.45955375000005</c:v>
                </c:pt>
                <c:pt idx="1954">
                  <c:v>734.45955375000005</c:v>
                </c:pt>
                <c:pt idx="1955">
                  <c:v>734.45954629999994</c:v>
                </c:pt>
                <c:pt idx="1956">
                  <c:v>734.45954629999994</c:v>
                </c:pt>
                <c:pt idx="1957">
                  <c:v>734.45954629999994</c:v>
                </c:pt>
                <c:pt idx="1958">
                  <c:v>734.45954629999994</c:v>
                </c:pt>
                <c:pt idx="1959">
                  <c:v>734.45954629999994</c:v>
                </c:pt>
                <c:pt idx="1960">
                  <c:v>734.45954629999994</c:v>
                </c:pt>
                <c:pt idx="1961">
                  <c:v>734.45953884999994</c:v>
                </c:pt>
                <c:pt idx="1962">
                  <c:v>734.45953884999994</c:v>
                </c:pt>
                <c:pt idx="1963">
                  <c:v>734.45953884999994</c:v>
                </c:pt>
                <c:pt idx="1964">
                  <c:v>734.45953884999994</c:v>
                </c:pt>
                <c:pt idx="1965">
                  <c:v>734.45953884999994</c:v>
                </c:pt>
                <c:pt idx="1966">
                  <c:v>734.45953884999994</c:v>
                </c:pt>
                <c:pt idx="1967">
                  <c:v>734.45953884999994</c:v>
                </c:pt>
                <c:pt idx="1968">
                  <c:v>734.45953884999994</c:v>
                </c:pt>
                <c:pt idx="1969">
                  <c:v>734.45953140000006</c:v>
                </c:pt>
                <c:pt idx="1970">
                  <c:v>734.45953140000006</c:v>
                </c:pt>
                <c:pt idx="1971">
                  <c:v>734.45953140000006</c:v>
                </c:pt>
                <c:pt idx="1972">
                  <c:v>734.45953140000006</c:v>
                </c:pt>
                <c:pt idx="1973">
                  <c:v>734.45953140000006</c:v>
                </c:pt>
                <c:pt idx="1974">
                  <c:v>734.45953140000006</c:v>
                </c:pt>
                <c:pt idx="1975">
                  <c:v>734.45952395000006</c:v>
                </c:pt>
                <c:pt idx="1976">
                  <c:v>734.45952395000006</c:v>
                </c:pt>
                <c:pt idx="1977">
                  <c:v>734.45952395000006</c:v>
                </c:pt>
                <c:pt idx="1978">
                  <c:v>734.45952395000006</c:v>
                </c:pt>
                <c:pt idx="1979">
                  <c:v>734.45952395000006</c:v>
                </c:pt>
                <c:pt idx="1980">
                  <c:v>734.45952395000006</c:v>
                </c:pt>
                <c:pt idx="1981">
                  <c:v>734.45952395000006</c:v>
                </c:pt>
                <c:pt idx="1982">
                  <c:v>734.45952395000006</c:v>
                </c:pt>
                <c:pt idx="1983">
                  <c:v>734.45952395000006</c:v>
                </c:pt>
                <c:pt idx="1984">
                  <c:v>734.45952395000006</c:v>
                </c:pt>
                <c:pt idx="1985">
                  <c:v>734.45951650000006</c:v>
                </c:pt>
                <c:pt idx="1986">
                  <c:v>734.45951650000006</c:v>
                </c:pt>
                <c:pt idx="1987">
                  <c:v>734.45951650000006</c:v>
                </c:pt>
                <c:pt idx="1988">
                  <c:v>734.45951650000006</c:v>
                </c:pt>
                <c:pt idx="1989">
                  <c:v>734.45951650000006</c:v>
                </c:pt>
                <c:pt idx="1990">
                  <c:v>734.45951650000006</c:v>
                </c:pt>
                <c:pt idx="1991">
                  <c:v>734.45951650000006</c:v>
                </c:pt>
                <c:pt idx="1992">
                  <c:v>734.45951650000006</c:v>
                </c:pt>
                <c:pt idx="1993">
                  <c:v>734.45951650000006</c:v>
                </c:pt>
                <c:pt idx="1994">
                  <c:v>734.45951650000006</c:v>
                </c:pt>
                <c:pt idx="1995">
                  <c:v>734.45951650000006</c:v>
                </c:pt>
                <c:pt idx="1996">
                  <c:v>734.45951650000006</c:v>
                </c:pt>
                <c:pt idx="1997">
                  <c:v>734.45951650000006</c:v>
                </c:pt>
                <c:pt idx="1998">
                  <c:v>734.45951650000006</c:v>
                </c:pt>
                <c:pt idx="1999">
                  <c:v>734.45951650000006</c:v>
                </c:pt>
                <c:pt idx="2000">
                  <c:v>734.45951650000006</c:v>
                </c:pt>
                <c:pt idx="2001">
                  <c:v>734.45951650000006</c:v>
                </c:pt>
                <c:pt idx="2002">
                  <c:v>734.45951650000006</c:v>
                </c:pt>
                <c:pt idx="2003">
                  <c:v>734.45951650000006</c:v>
                </c:pt>
                <c:pt idx="2004">
                  <c:v>734.45951650000006</c:v>
                </c:pt>
                <c:pt idx="2005">
                  <c:v>734.45951650000006</c:v>
                </c:pt>
                <c:pt idx="2006">
                  <c:v>734.45951650000006</c:v>
                </c:pt>
                <c:pt idx="2007">
                  <c:v>734.45951650000006</c:v>
                </c:pt>
                <c:pt idx="2008">
                  <c:v>734.45951650000006</c:v>
                </c:pt>
                <c:pt idx="2009">
                  <c:v>734.45951650000006</c:v>
                </c:pt>
                <c:pt idx="2010">
                  <c:v>734.45951650000006</c:v>
                </c:pt>
                <c:pt idx="2011">
                  <c:v>734.45951650000006</c:v>
                </c:pt>
                <c:pt idx="2012">
                  <c:v>734.45951650000006</c:v>
                </c:pt>
                <c:pt idx="2013">
                  <c:v>734.45951650000006</c:v>
                </c:pt>
                <c:pt idx="2014">
                  <c:v>734.45951650000006</c:v>
                </c:pt>
                <c:pt idx="2015">
                  <c:v>734.45951650000006</c:v>
                </c:pt>
                <c:pt idx="2016">
                  <c:v>734.45951650000006</c:v>
                </c:pt>
                <c:pt idx="2017">
                  <c:v>734.45951650000006</c:v>
                </c:pt>
                <c:pt idx="2018">
                  <c:v>734.45951650000006</c:v>
                </c:pt>
                <c:pt idx="2019">
                  <c:v>734.45951650000006</c:v>
                </c:pt>
                <c:pt idx="2020">
                  <c:v>734.45951650000006</c:v>
                </c:pt>
                <c:pt idx="2021">
                  <c:v>734.45951650000006</c:v>
                </c:pt>
                <c:pt idx="2022">
                  <c:v>734.45951650000006</c:v>
                </c:pt>
                <c:pt idx="2023">
                  <c:v>734.45951650000006</c:v>
                </c:pt>
                <c:pt idx="2024">
                  <c:v>734.45951650000006</c:v>
                </c:pt>
                <c:pt idx="2025">
                  <c:v>734.45951650000006</c:v>
                </c:pt>
                <c:pt idx="2026">
                  <c:v>734.45951650000006</c:v>
                </c:pt>
                <c:pt idx="2027">
                  <c:v>734.45951650000006</c:v>
                </c:pt>
                <c:pt idx="2028">
                  <c:v>734.45951650000006</c:v>
                </c:pt>
                <c:pt idx="2029">
                  <c:v>734.45951650000006</c:v>
                </c:pt>
                <c:pt idx="2030">
                  <c:v>734.45951650000006</c:v>
                </c:pt>
                <c:pt idx="2031">
                  <c:v>734.45951650000006</c:v>
                </c:pt>
                <c:pt idx="2032">
                  <c:v>734.45951650000006</c:v>
                </c:pt>
                <c:pt idx="2033">
                  <c:v>734.45951650000006</c:v>
                </c:pt>
                <c:pt idx="2034">
                  <c:v>734.45951650000006</c:v>
                </c:pt>
                <c:pt idx="2035">
                  <c:v>734.45951650000006</c:v>
                </c:pt>
                <c:pt idx="2036">
                  <c:v>734.45951650000006</c:v>
                </c:pt>
                <c:pt idx="2037">
                  <c:v>734.45951650000006</c:v>
                </c:pt>
                <c:pt idx="2038">
                  <c:v>734.45951650000006</c:v>
                </c:pt>
                <c:pt idx="2039">
                  <c:v>734.45951650000006</c:v>
                </c:pt>
                <c:pt idx="2040">
                  <c:v>734.45951650000006</c:v>
                </c:pt>
                <c:pt idx="2041">
                  <c:v>734.45951650000006</c:v>
                </c:pt>
                <c:pt idx="2042">
                  <c:v>734.45951650000006</c:v>
                </c:pt>
                <c:pt idx="2043">
                  <c:v>734.45951650000006</c:v>
                </c:pt>
                <c:pt idx="2044">
                  <c:v>734.45951650000006</c:v>
                </c:pt>
                <c:pt idx="2045">
                  <c:v>734.45951650000006</c:v>
                </c:pt>
                <c:pt idx="2046">
                  <c:v>734.45951650000006</c:v>
                </c:pt>
                <c:pt idx="2047">
                  <c:v>734.45951650000006</c:v>
                </c:pt>
                <c:pt idx="2048">
                  <c:v>734.45951650000006</c:v>
                </c:pt>
                <c:pt idx="2049">
                  <c:v>734.45951650000006</c:v>
                </c:pt>
                <c:pt idx="2050">
                  <c:v>734.45951650000006</c:v>
                </c:pt>
                <c:pt idx="2051">
                  <c:v>734.45951650000006</c:v>
                </c:pt>
                <c:pt idx="2052">
                  <c:v>734.45951650000006</c:v>
                </c:pt>
                <c:pt idx="2053">
                  <c:v>734.45951650000006</c:v>
                </c:pt>
                <c:pt idx="2054">
                  <c:v>734.45951650000006</c:v>
                </c:pt>
                <c:pt idx="2055">
                  <c:v>734.45951650000006</c:v>
                </c:pt>
                <c:pt idx="2056">
                  <c:v>734.45951650000006</c:v>
                </c:pt>
                <c:pt idx="2057">
                  <c:v>734.45951650000006</c:v>
                </c:pt>
                <c:pt idx="2058">
                  <c:v>734.45951650000006</c:v>
                </c:pt>
                <c:pt idx="2059">
                  <c:v>734.45951650000006</c:v>
                </c:pt>
                <c:pt idx="2060">
                  <c:v>734.45951650000006</c:v>
                </c:pt>
                <c:pt idx="2061">
                  <c:v>734.45951650000006</c:v>
                </c:pt>
                <c:pt idx="2062">
                  <c:v>734.45951650000006</c:v>
                </c:pt>
                <c:pt idx="2063">
                  <c:v>734.45951650000006</c:v>
                </c:pt>
                <c:pt idx="2064">
                  <c:v>734.45951650000006</c:v>
                </c:pt>
                <c:pt idx="2065">
                  <c:v>734.45951650000006</c:v>
                </c:pt>
                <c:pt idx="2066">
                  <c:v>734.45951650000006</c:v>
                </c:pt>
                <c:pt idx="2067">
                  <c:v>734.45951650000006</c:v>
                </c:pt>
                <c:pt idx="2068">
                  <c:v>734.45951650000006</c:v>
                </c:pt>
                <c:pt idx="2069">
                  <c:v>734.45951650000006</c:v>
                </c:pt>
                <c:pt idx="2070">
                  <c:v>734.45951650000006</c:v>
                </c:pt>
                <c:pt idx="2071">
                  <c:v>734.45951650000006</c:v>
                </c:pt>
                <c:pt idx="2072">
                  <c:v>734.45951650000006</c:v>
                </c:pt>
                <c:pt idx="2073">
                  <c:v>734.45951650000006</c:v>
                </c:pt>
                <c:pt idx="2074">
                  <c:v>734.45951650000006</c:v>
                </c:pt>
                <c:pt idx="2075">
                  <c:v>734.45951650000006</c:v>
                </c:pt>
                <c:pt idx="2076">
                  <c:v>734.45951650000006</c:v>
                </c:pt>
                <c:pt idx="2077">
                  <c:v>734.45951650000006</c:v>
                </c:pt>
                <c:pt idx="2078">
                  <c:v>734.45951650000006</c:v>
                </c:pt>
                <c:pt idx="2079">
                  <c:v>734.45951650000006</c:v>
                </c:pt>
                <c:pt idx="2080">
                  <c:v>734.45951650000006</c:v>
                </c:pt>
                <c:pt idx="2081">
                  <c:v>734.45951650000006</c:v>
                </c:pt>
                <c:pt idx="2082">
                  <c:v>734.45951650000006</c:v>
                </c:pt>
                <c:pt idx="2083">
                  <c:v>734.45951650000006</c:v>
                </c:pt>
                <c:pt idx="2084">
                  <c:v>734.45951650000006</c:v>
                </c:pt>
                <c:pt idx="2085">
                  <c:v>734.45951650000006</c:v>
                </c:pt>
                <c:pt idx="2086">
                  <c:v>734.45951650000006</c:v>
                </c:pt>
                <c:pt idx="2087">
                  <c:v>734.45951650000006</c:v>
                </c:pt>
                <c:pt idx="2088">
                  <c:v>734.45951650000006</c:v>
                </c:pt>
                <c:pt idx="2089">
                  <c:v>734.45951650000006</c:v>
                </c:pt>
                <c:pt idx="2090">
                  <c:v>734.45951650000006</c:v>
                </c:pt>
                <c:pt idx="2091">
                  <c:v>734.45951650000006</c:v>
                </c:pt>
                <c:pt idx="2092">
                  <c:v>734.45951650000006</c:v>
                </c:pt>
                <c:pt idx="2093">
                  <c:v>734.45951650000006</c:v>
                </c:pt>
                <c:pt idx="2094">
                  <c:v>734.45951650000006</c:v>
                </c:pt>
                <c:pt idx="2095">
                  <c:v>734.45951650000006</c:v>
                </c:pt>
                <c:pt idx="2096">
                  <c:v>734.45951650000006</c:v>
                </c:pt>
                <c:pt idx="2097">
                  <c:v>734.45951650000006</c:v>
                </c:pt>
                <c:pt idx="2098">
                  <c:v>734.45951650000006</c:v>
                </c:pt>
                <c:pt idx="2099">
                  <c:v>734.45951650000006</c:v>
                </c:pt>
                <c:pt idx="2100">
                  <c:v>734.45951650000006</c:v>
                </c:pt>
                <c:pt idx="2101">
                  <c:v>734.45951650000006</c:v>
                </c:pt>
                <c:pt idx="2102">
                  <c:v>734.45951650000006</c:v>
                </c:pt>
                <c:pt idx="2103">
                  <c:v>734.45951650000006</c:v>
                </c:pt>
                <c:pt idx="2104">
                  <c:v>734.45951650000006</c:v>
                </c:pt>
                <c:pt idx="2105">
                  <c:v>734.45951650000006</c:v>
                </c:pt>
                <c:pt idx="2106">
                  <c:v>734.45951650000006</c:v>
                </c:pt>
                <c:pt idx="2107">
                  <c:v>734.45951650000006</c:v>
                </c:pt>
                <c:pt idx="2108">
                  <c:v>734.45951650000006</c:v>
                </c:pt>
                <c:pt idx="2109">
                  <c:v>734.45951650000006</c:v>
                </c:pt>
                <c:pt idx="2110">
                  <c:v>734.45951650000006</c:v>
                </c:pt>
                <c:pt idx="2111">
                  <c:v>734.45951650000006</c:v>
                </c:pt>
                <c:pt idx="2112">
                  <c:v>734.45951650000006</c:v>
                </c:pt>
                <c:pt idx="2113">
                  <c:v>734.45951650000006</c:v>
                </c:pt>
                <c:pt idx="2114">
                  <c:v>734.45951650000006</c:v>
                </c:pt>
                <c:pt idx="2115">
                  <c:v>734.45951650000006</c:v>
                </c:pt>
                <c:pt idx="2116">
                  <c:v>734.45951650000006</c:v>
                </c:pt>
                <c:pt idx="2117">
                  <c:v>734.45951650000006</c:v>
                </c:pt>
                <c:pt idx="2118">
                  <c:v>734.45951650000006</c:v>
                </c:pt>
                <c:pt idx="2119">
                  <c:v>734.45951650000006</c:v>
                </c:pt>
                <c:pt idx="2120">
                  <c:v>734.45951650000006</c:v>
                </c:pt>
                <c:pt idx="2121">
                  <c:v>734.45951650000006</c:v>
                </c:pt>
                <c:pt idx="2122">
                  <c:v>734.45951650000006</c:v>
                </c:pt>
                <c:pt idx="2123">
                  <c:v>734.45951650000006</c:v>
                </c:pt>
                <c:pt idx="2124">
                  <c:v>734.45951650000006</c:v>
                </c:pt>
                <c:pt idx="2125">
                  <c:v>734.45951650000006</c:v>
                </c:pt>
                <c:pt idx="2126">
                  <c:v>734.45951650000006</c:v>
                </c:pt>
                <c:pt idx="2127">
                  <c:v>734.45951650000006</c:v>
                </c:pt>
                <c:pt idx="2128">
                  <c:v>734.45951650000006</c:v>
                </c:pt>
                <c:pt idx="2129">
                  <c:v>734.45951650000006</c:v>
                </c:pt>
                <c:pt idx="2130">
                  <c:v>734.45951650000006</c:v>
                </c:pt>
                <c:pt idx="2131">
                  <c:v>734.45951650000006</c:v>
                </c:pt>
                <c:pt idx="2132">
                  <c:v>734.45951650000006</c:v>
                </c:pt>
                <c:pt idx="2133">
                  <c:v>734.45951650000006</c:v>
                </c:pt>
                <c:pt idx="2134">
                  <c:v>734.45951650000006</c:v>
                </c:pt>
                <c:pt idx="2135">
                  <c:v>734.45951650000006</c:v>
                </c:pt>
                <c:pt idx="2136">
                  <c:v>734.45951650000006</c:v>
                </c:pt>
                <c:pt idx="2137">
                  <c:v>734.45951650000006</c:v>
                </c:pt>
                <c:pt idx="2138">
                  <c:v>734.45951650000006</c:v>
                </c:pt>
                <c:pt idx="2139">
                  <c:v>734.45951650000006</c:v>
                </c:pt>
                <c:pt idx="2140">
                  <c:v>734.45951650000006</c:v>
                </c:pt>
                <c:pt idx="2141">
                  <c:v>734.45951650000006</c:v>
                </c:pt>
                <c:pt idx="2142">
                  <c:v>734.45951650000006</c:v>
                </c:pt>
                <c:pt idx="2143">
                  <c:v>734.45951650000006</c:v>
                </c:pt>
                <c:pt idx="2144">
                  <c:v>734.45951650000006</c:v>
                </c:pt>
                <c:pt idx="2145">
                  <c:v>734.45951650000006</c:v>
                </c:pt>
                <c:pt idx="2146">
                  <c:v>734.45951650000006</c:v>
                </c:pt>
                <c:pt idx="2147">
                  <c:v>734.45951650000006</c:v>
                </c:pt>
                <c:pt idx="2148">
                  <c:v>734.45951650000006</c:v>
                </c:pt>
                <c:pt idx="2149">
                  <c:v>734.45951650000006</c:v>
                </c:pt>
                <c:pt idx="2150">
                  <c:v>734.45951650000006</c:v>
                </c:pt>
                <c:pt idx="2151">
                  <c:v>734.45951650000006</c:v>
                </c:pt>
                <c:pt idx="2152">
                  <c:v>734.45951650000006</c:v>
                </c:pt>
                <c:pt idx="2153">
                  <c:v>734.45951650000006</c:v>
                </c:pt>
                <c:pt idx="2154">
                  <c:v>734.45951650000006</c:v>
                </c:pt>
                <c:pt idx="2155">
                  <c:v>734.45951650000006</c:v>
                </c:pt>
                <c:pt idx="2156">
                  <c:v>734.45951650000006</c:v>
                </c:pt>
                <c:pt idx="2157">
                  <c:v>734.45951650000006</c:v>
                </c:pt>
                <c:pt idx="2158">
                  <c:v>734.45951650000006</c:v>
                </c:pt>
                <c:pt idx="2159">
                  <c:v>734.45951650000006</c:v>
                </c:pt>
                <c:pt idx="2160">
                  <c:v>734.45951650000006</c:v>
                </c:pt>
                <c:pt idx="2161">
                  <c:v>734.45951650000006</c:v>
                </c:pt>
                <c:pt idx="2162">
                  <c:v>734.45951650000006</c:v>
                </c:pt>
                <c:pt idx="2163">
                  <c:v>734.45951650000006</c:v>
                </c:pt>
                <c:pt idx="2164">
                  <c:v>734.45951650000006</c:v>
                </c:pt>
                <c:pt idx="2165">
                  <c:v>734.45951650000006</c:v>
                </c:pt>
                <c:pt idx="2166">
                  <c:v>734.45951650000006</c:v>
                </c:pt>
                <c:pt idx="2167">
                  <c:v>734.45951650000006</c:v>
                </c:pt>
                <c:pt idx="2168">
                  <c:v>734.45951650000006</c:v>
                </c:pt>
                <c:pt idx="2169">
                  <c:v>734.45951650000006</c:v>
                </c:pt>
                <c:pt idx="2170">
                  <c:v>734.45951650000006</c:v>
                </c:pt>
                <c:pt idx="2171">
                  <c:v>734.45951650000006</c:v>
                </c:pt>
                <c:pt idx="2172">
                  <c:v>734.45951650000006</c:v>
                </c:pt>
                <c:pt idx="2173">
                  <c:v>734.45951650000006</c:v>
                </c:pt>
                <c:pt idx="2174">
                  <c:v>734.45951650000006</c:v>
                </c:pt>
                <c:pt idx="2175">
                  <c:v>734.45951650000006</c:v>
                </c:pt>
                <c:pt idx="2176">
                  <c:v>734.45951650000006</c:v>
                </c:pt>
                <c:pt idx="2177">
                  <c:v>734.45951650000006</c:v>
                </c:pt>
                <c:pt idx="2178">
                  <c:v>734.45951650000006</c:v>
                </c:pt>
                <c:pt idx="2179">
                  <c:v>734.45951650000006</c:v>
                </c:pt>
                <c:pt idx="2180">
                  <c:v>734.45951650000006</c:v>
                </c:pt>
                <c:pt idx="2181">
                  <c:v>734.45951650000006</c:v>
                </c:pt>
                <c:pt idx="2182">
                  <c:v>734.45951650000006</c:v>
                </c:pt>
                <c:pt idx="2183">
                  <c:v>734.45951650000006</c:v>
                </c:pt>
                <c:pt idx="2184">
                  <c:v>734.45951650000006</c:v>
                </c:pt>
                <c:pt idx="2185">
                  <c:v>734.45951650000006</c:v>
                </c:pt>
                <c:pt idx="2186">
                  <c:v>734.45951650000006</c:v>
                </c:pt>
                <c:pt idx="2187">
                  <c:v>734.45951650000006</c:v>
                </c:pt>
                <c:pt idx="2188">
                  <c:v>734.45951650000006</c:v>
                </c:pt>
                <c:pt idx="2189">
                  <c:v>734.45951650000006</c:v>
                </c:pt>
                <c:pt idx="2190">
                  <c:v>734.45951650000006</c:v>
                </c:pt>
                <c:pt idx="2191">
                  <c:v>734.45951650000006</c:v>
                </c:pt>
                <c:pt idx="2192">
                  <c:v>734.45951650000006</c:v>
                </c:pt>
                <c:pt idx="2193">
                  <c:v>734.45951650000006</c:v>
                </c:pt>
                <c:pt idx="2194">
                  <c:v>734.45951650000006</c:v>
                </c:pt>
                <c:pt idx="2195">
                  <c:v>734.45951650000006</c:v>
                </c:pt>
                <c:pt idx="2196">
                  <c:v>734.45951650000006</c:v>
                </c:pt>
                <c:pt idx="2197">
                  <c:v>734.45951650000006</c:v>
                </c:pt>
                <c:pt idx="2198">
                  <c:v>734.45951650000006</c:v>
                </c:pt>
                <c:pt idx="2199">
                  <c:v>734.45951650000006</c:v>
                </c:pt>
                <c:pt idx="2200">
                  <c:v>734.45951650000006</c:v>
                </c:pt>
                <c:pt idx="2201">
                  <c:v>734.45951650000006</c:v>
                </c:pt>
                <c:pt idx="2202">
                  <c:v>734.45951650000006</c:v>
                </c:pt>
                <c:pt idx="2203">
                  <c:v>734.45951650000006</c:v>
                </c:pt>
                <c:pt idx="2204">
                  <c:v>734.45951650000006</c:v>
                </c:pt>
                <c:pt idx="2205">
                  <c:v>734.45951650000006</c:v>
                </c:pt>
                <c:pt idx="2206">
                  <c:v>734.45951650000006</c:v>
                </c:pt>
                <c:pt idx="2207">
                  <c:v>734.45951650000006</c:v>
                </c:pt>
                <c:pt idx="2208">
                  <c:v>734.45951650000006</c:v>
                </c:pt>
                <c:pt idx="2209">
                  <c:v>734.45951650000006</c:v>
                </c:pt>
                <c:pt idx="2210">
                  <c:v>734.45951650000006</c:v>
                </c:pt>
                <c:pt idx="2211">
                  <c:v>734.45951650000006</c:v>
                </c:pt>
                <c:pt idx="2212">
                  <c:v>734.45951650000006</c:v>
                </c:pt>
                <c:pt idx="2213">
                  <c:v>734.45951650000006</c:v>
                </c:pt>
                <c:pt idx="2214">
                  <c:v>734.45951650000006</c:v>
                </c:pt>
                <c:pt idx="2215">
                  <c:v>734.45951650000006</c:v>
                </c:pt>
                <c:pt idx="2216">
                  <c:v>734.45951650000006</c:v>
                </c:pt>
                <c:pt idx="2217">
                  <c:v>734.45951650000006</c:v>
                </c:pt>
                <c:pt idx="2218">
                  <c:v>734.45951650000006</c:v>
                </c:pt>
                <c:pt idx="2219">
                  <c:v>734.45951650000006</c:v>
                </c:pt>
                <c:pt idx="2220">
                  <c:v>734.45951650000006</c:v>
                </c:pt>
                <c:pt idx="2221">
                  <c:v>734.45951650000006</c:v>
                </c:pt>
                <c:pt idx="2222">
                  <c:v>734.45951650000006</c:v>
                </c:pt>
                <c:pt idx="2223">
                  <c:v>734.45951650000006</c:v>
                </c:pt>
                <c:pt idx="2224">
                  <c:v>734.45951650000006</c:v>
                </c:pt>
                <c:pt idx="2225">
                  <c:v>734.45951650000006</c:v>
                </c:pt>
                <c:pt idx="2226">
                  <c:v>734.45951650000006</c:v>
                </c:pt>
                <c:pt idx="2227">
                  <c:v>734.45951650000006</c:v>
                </c:pt>
                <c:pt idx="2228">
                  <c:v>734.45951650000006</c:v>
                </c:pt>
                <c:pt idx="2229">
                  <c:v>734.45951650000006</c:v>
                </c:pt>
                <c:pt idx="2230">
                  <c:v>734.45951650000006</c:v>
                </c:pt>
                <c:pt idx="2231">
                  <c:v>734.45951650000006</c:v>
                </c:pt>
                <c:pt idx="2232">
                  <c:v>734.45950904999995</c:v>
                </c:pt>
                <c:pt idx="2233">
                  <c:v>734.45950904999995</c:v>
                </c:pt>
                <c:pt idx="2234">
                  <c:v>734.45862249999993</c:v>
                </c:pt>
                <c:pt idx="2235">
                  <c:v>734.45861505000005</c:v>
                </c:pt>
                <c:pt idx="2236">
                  <c:v>734.45856290000006</c:v>
                </c:pt>
                <c:pt idx="2237">
                  <c:v>734.45856290000006</c:v>
                </c:pt>
                <c:pt idx="2238">
                  <c:v>734.45809355000006</c:v>
                </c:pt>
                <c:pt idx="2239">
                  <c:v>734.45798924999997</c:v>
                </c:pt>
                <c:pt idx="2240">
                  <c:v>734.45795199999998</c:v>
                </c:pt>
                <c:pt idx="2241">
                  <c:v>734.45795199999998</c:v>
                </c:pt>
                <c:pt idx="2242">
                  <c:v>734.434708</c:v>
                </c:pt>
                <c:pt idx="2243">
                  <c:v>734.41054765000001</c:v>
                </c:pt>
                <c:pt idx="2244">
                  <c:v>734.41053275000002</c:v>
                </c:pt>
                <c:pt idx="2245">
                  <c:v>734.40994419999993</c:v>
                </c:pt>
                <c:pt idx="2246">
                  <c:v>734.38658099999998</c:v>
                </c:pt>
                <c:pt idx="2247">
                  <c:v>734.38657354999998</c:v>
                </c:pt>
                <c:pt idx="2248">
                  <c:v>734.38635005000003</c:v>
                </c:pt>
                <c:pt idx="2249">
                  <c:v>734.38586580000003</c:v>
                </c:pt>
                <c:pt idx="2250">
                  <c:v>734.38582110000004</c:v>
                </c:pt>
                <c:pt idx="2251">
                  <c:v>734.38579875000005</c:v>
                </c:pt>
                <c:pt idx="2252">
                  <c:v>734.38568699999996</c:v>
                </c:pt>
                <c:pt idx="2253">
                  <c:v>734.38568699999996</c:v>
                </c:pt>
                <c:pt idx="2254">
                  <c:v>734.38568699999996</c:v>
                </c:pt>
                <c:pt idx="2255">
                  <c:v>734.38568699999996</c:v>
                </c:pt>
                <c:pt idx="2256">
                  <c:v>734.38559759999998</c:v>
                </c:pt>
                <c:pt idx="2257">
                  <c:v>734.3855082</c:v>
                </c:pt>
                <c:pt idx="2258">
                  <c:v>734.38550075000012</c:v>
                </c:pt>
                <c:pt idx="2259">
                  <c:v>734.38546350000001</c:v>
                </c:pt>
                <c:pt idx="2260">
                  <c:v>734.38546350000001</c:v>
                </c:pt>
                <c:pt idx="2261">
                  <c:v>734.38546350000001</c:v>
                </c:pt>
                <c:pt idx="2262">
                  <c:v>734.38546350000001</c:v>
                </c:pt>
                <c:pt idx="2263">
                  <c:v>734.38546350000001</c:v>
                </c:pt>
                <c:pt idx="2264">
                  <c:v>734.38546350000001</c:v>
                </c:pt>
                <c:pt idx="2265">
                  <c:v>734.38546350000001</c:v>
                </c:pt>
                <c:pt idx="2266">
                  <c:v>734.38546350000001</c:v>
                </c:pt>
                <c:pt idx="2267">
                  <c:v>734.38545605000002</c:v>
                </c:pt>
                <c:pt idx="2268">
                  <c:v>734.38538900000003</c:v>
                </c:pt>
                <c:pt idx="2269">
                  <c:v>734.38538900000003</c:v>
                </c:pt>
                <c:pt idx="2270">
                  <c:v>734.38536664999992</c:v>
                </c:pt>
                <c:pt idx="2271">
                  <c:v>734.38535920000004</c:v>
                </c:pt>
                <c:pt idx="2272">
                  <c:v>734.38535175000004</c:v>
                </c:pt>
                <c:pt idx="2273">
                  <c:v>734.38532194999993</c:v>
                </c:pt>
                <c:pt idx="2274">
                  <c:v>734.38532194999993</c:v>
                </c:pt>
                <c:pt idx="2275">
                  <c:v>734.38531450000005</c:v>
                </c:pt>
                <c:pt idx="2276">
                  <c:v>734.38531450000005</c:v>
                </c:pt>
                <c:pt idx="2277">
                  <c:v>734.38529215000005</c:v>
                </c:pt>
                <c:pt idx="2278">
                  <c:v>734.38529215000005</c:v>
                </c:pt>
                <c:pt idx="2279">
                  <c:v>734.38527724999994</c:v>
                </c:pt>
                <c:pt idx="2280">
                  <c:v>734.38527724999994</c:v>
                </c:pt>
                <c:pt idx="2281">
                  <c:v>734.38526235000006</c:v>
                </c:pt>
                <c:pt idx="2282">
                  <c:v>734.38523999999995</c:v>
                </c:pt>
                <c:pt idx="2283">
                  <c:v>734.38523999999995</c:v>
                </c:pt>
                <c:pt idx="2284">
                  <c:v>734.38523999999995</c:v>
                </c:pt>
                <c:pt idx="2285">
                  <c:v>734.38523999999995</c:v>
                </c:pt>
                <c:pt idx="2286">
                  <c:v>734.38523999999995</c:v>
                </c:pt>
                <c:pt idx="2287">
                  <c:v>734.38523254999996</c:v>
                </c:pt>
                <c:pt idx="2288">
                  <c:v>734.38522510000007</c:v>
                </c:pt>
                <c:pt idx="2289">
                  <c:v>734.38519529999996</c:v>
                </c:pt>
                <c:pt idx="2290">
                  <c:v>734.38517295000008</c:v>
                </c:pt>
                <c:pt idx="2291">
                  <c:v>734.38516550000008</c:v>
                </c:pt>
                <c:pt idx="2292">
                  <c:v>734.38516550000008</c:v>
                </c:pt>
                <c:pt idx="2293">
                  <c:v>734.38516550000008</c:v>
                </c:pt>
                <c:pt idx="2294">
                  <c:v>734.38516550000008</c:v>
                </c:pt>
                <c:pt idx="2295">
                  <c:v>734.38516550000008</c:v>
                </c:pt>
                <c:pt idx="2296">
                  <c:v>734.38515059999997</c:v>
                </c:pt>
                <c:pt idx="2297">
                  <c:v>734.38514314999998</c:v>
                </c:pt>
                <c:pt idx="2298">
                  <c:v>734.38514314999998</c:v>
                </c:pt>
                <c:pt idx="2299">
                  <c:v>734.38513569999998</c:v>
                </c:pt>
                <c:pt idx="2300">
                  <c:v>734.38513569999998</c:v>
                </c:pt>
                <c:pt idx="2301">
                  <c:v>734.38512825000009</c:v>
                </c:pt>
                <c:pt idx="2302">
                  <c:v>734.38511334999998</c:v>
                </c:pt>
                <c:pt idx="2303">
                  <c:v>734.38509844999999</c:v>
                </c:pt>
                <c:pt idx="2304">
                  <c:v>734.38509099999999</c:v>
                </c:pt>
                <c:pt idx="2305">
                  <c:v>734.38509099999999</c:v>
                </c:pt>
                <c:pt idx="2306">
                  <c:v>734.3850835500001</c:v>
                </c:pt>
                <c:pt idx="2307">
                  <c:v>734.38507609999999</c:v>
                </c:pt>
                <c:pt idx="2308">
                  <c:v>734.38507609999999</c:v>
                </c:pt>
                <c:pt idx="2309">
                  <c:v>734.38506864999999</c:v>
                </c:pt>
                <c:pt idx="2310">
                  <c:v>734.38506864999999</c:v>
                </c:pt>
                <c:pt idx="2311">
                  <c:v>734.3850612</c:v>
                </c:pt>
                <c:pt idx="2312">
                  <c:v>734.3850612</c:v>
                </c:pt>
                <c:pt idx="2313">
                  <c:v>734.38505375</c:v>
                </c:pt>
                <c:pt idx="2314">
                  <c:v>734.3850463</c:v>
                </c:pt>
                <c:pt idx="2315">
                  <c:v>734.3850314</c:v>
                </c:pt>
                <c:pt idx="2316">
                  <c:v>734.3850314</c:v>
                </c:pt>
                <c:pt idx="2317">
                  <c:v>734.38502395</c:v>
                </c:pt>
                <c:pt idx="2318">
                  <c:v>734.38502395</c:v>
                </c:pt>
                <c:pt idx="2319">
                  <c:v>734.38501650000001</c:v>
                </c:pt>
                <c:pt idx="2320">
                  <c:v>734.38501650000001</c:v>
                </c:pt>
                <c:pt idx="2321">
                  <c:v>734.38501650000001</c:v>
                </c:pt>
                <c:pt idx="2322">
                  <c:v>734.38501650000001</c:v>
                </c:pt>
                <c:pt idx="2323">
                  <c:v>734.38501650000001</c:v>
                </c:pt>
                <c:pt idx="2324">
                  <c:v>734.38501650000001</c:v>
                </c:pt>
                <c:pt idx="2325">
                  <c:v>734.38501650000001</c:v>
                </c:pt>
                <c:pt idx="2326">
                  <c:v>734.38501650000001</c:v>
                </c:pt>
                <c:pt idx="2327">
                  <c:v>734.38501650000001</c:v>
                </c:pt>
                <c:pt idx="2328">
                  <c:v>734.38501650000001</c:v>
                </c:pt>
                <c:pt idx="2329">
                  <c:v>734.38501650000001</c:v>
                </c:pt>
                <c:pt idx="2330">
                  <c:v>734.38501650000001</c:v>
                </c:pt>
                <c:pt idx="2331">
                  <c:v>734.38501650000001</c:v>
                </c:pt>
                <c:pt idx="2332">
                  <c:v>734.38501650000001</c:v>
                </c:pt>
                <c:pt idx="2333">
                  <c:v>734.38501650000001</c:v>
                </c:pt>
                <c:pt idx="2334">
                  <c:v>734.38501650000001</c:v>
                </c:pt>
                <c:pt idx="2335">
                  <c:v>734.38501650000001</c:v>
                </c:pt>
                <c:pt idx="2336">
                  <c:v>734.38501650000001</c:v>
                </c:pt>
                <c:pt idx="2337">
                  <c:v>734.38501650000001</c:v>
                </c:pt>
                <c:pt idx="2338">
                  <c:v>734.38501650000001</c:v>
                </c:pt>
                <c:pt idx="2339">
                  <c:v>734.38501650000001</c:v>
                </c:pt>
                <c:pt idx="2340">
                  <c:v>734.38501650000001</c:v>
                </c:pt>
                <c:pt idx="2341">
                  <c:v>734.38501650000001</c:v>
                </c:pt>
                <c:pt idx="2342">
                  <c:v>734.38501650000001</c:v>
                </c:pt>
                <c:pt idx="2343">
                  <c:v>734.38501650000001</c:v>
                </c:pt>
                <c:pt idx="2344">
                  <c:v>734.38501650000001</c:v>
                </c:pt>
                <c:pt idx="2345">
                  <c:v>734.38501650000001</c:v>
                </c:pt>
                <c:pt idx="2346">
                  <c:v>734.38501650000001</c:v>
                </c:pt>
                <c:pt idx="2347">
                  <c:v>734.38501650000001</c:v>
                </c:pt>
                <c:pt idx="2348">
                  <c:v>734.38501650000001</c:v>
                </c:pt>
                <c:pt idx="2349">
                  <c:v>734.38501650000001</c:v>
                </c:pt>
                <c:pt idx="2350">
                  <c:v>734.38501650000001</c:v>
                </c:pt>
                <c:pt idx="2351">
                  <c:v>734.38501650000001</c:v>
                </c:pt>
                <c:pt idx="2352">
                  <c:v>734.38501650000001</c:v>
                </c:pt>
                <c:pt idx="2353">
                  <c:v>734.38501650000001</c:v>
                </c:pt>
                <c:pt idx="2354">
                  <c:v>734.38501650000001</c:v>
                </c:pt>
                <c:pt idx="2355">
                  <c:v>734.38501650000001</c:v>
                </c:pt>
                <c:pt idx="2356">
                  <c:v>734.38501650000001</c:v>
                </c:pt>
                <c:pt idx="2357">
                  <c:v>734.38501650000001</c:v>
                </c:pt>
                <c:pt idx="2358">
                  <c:v>734.38501650000001</c:v>
                </c:pt>
                <c:pt idx="2359">
                  <c:v>734.38501650000001</c:v>
                </c:pt>
                <c:pt idx="2360">
                  <c:v>734.38501650000001</c:v>
                </c:pt>
                <c:pt idx="2361">
                  <c:v>734.38501650000001</c:v>
                </c:pt>
                <c:pt idx="2362">
                  <c:v>734.38501650000001</c:v>
                </c:pt>
                <c:pt idx="2363">
                  <c:v>734.38501650000001</c:v>
                </c:pt>
                <c:pt idx="2364">
                  <c:v>734.38501650000001</c:v>
                </c:pt>
                <c:pt idx="2365">
                  <c:v>734.38501650000001</c:v>
                </c:pt>
                <c:pt idx="2366">
                  <c:v>734.38501650000001</c:v>
                </c:pt>
                <c:pt idx="2367">
                  <c:v>734.38501650000001</c:v>
                </c:pt>
                <c:pt idx="2368">
                  <c:v>734.38501650000001</c:v>
                </c:pt>
                <c:pt idx="2369">
                  <c:v>734.38501650000001</c:v>
                </c:pt>
                <c:pt idx="2370">
                  <c:v>734.38501650000001</c:v>
                </c:pt>
                <c:pt idx="2371">
                  <c:v>734.38501650000001</c:v>
                </c:pt>
                <c:pt idx="2372">
                  <c:v>734.38501650000001</c:v>
                </c:pt>
                <c:pt idx="2373">
                  <c:v>734.38501650000001</c:v>
                </c:pt>
                <c:pt idx="2374">
                  <c:v>734.38501650000001</c:v>
                </c:pt>
                <c:pt idx="2375">
                  <c:v>734.38501650000001</c:v>
                </c:pt>
                <c:pt idx="2376">
                  <c:v>734.38501650000001</c:v>
                </c:pt>
                <c:pt idx="2377">
                  <c:v>734.38501650000001</c:v>
                </c:pt>
                <c:pt idx="2378">
                  <c:v>734.38501650000001</c:v>
                </c:pt>
                <c:pt idx="2379">
                  <c:v>734.38501650000001</c:v>
                </c:pt>
                <c:pt idx="2380">
                  <c:v>734.38501650000001</c:v>
                </c:pt>
                <c:pt idx="2381">
                  <c:v>734.38501650000001</c:v>
                </c:pt>
                <c:pt idx="2382">
                  <c:v>734.38501650000001</c:v>
                </c:pt>
                <c:pt idx="2383">
                  <c:v>734.38501650000001</c:v>
                </c:pt>
                <c:pt idx="2384">
                  <c:v>734.38501650000001</c:v>
                </c:pt>
                <c:pt idx="2385">
                  <c:v>734.38501650000001</c:v>
                </c:pt>
                <c:pt idx="2386">
                  <c:v>734.38501650000001</c:v>
                </c:pt>
                <c:pt idx="2387">
                  <c:v>734.38501650000001</c:v>
                </c:pt>
                <c:pt idx="2388">
                  <c:v>734.38501650000001</c:v>
                </c:pt>
                <c:pt idx="2389">
                  <c:v>734.38501650000001</c:v>
                </c:pt>
                <c:pt idx="2390">
                  <c:v>734.38501650000001</c:v>
                </c:pt>
                <c:pt idx="2391">
                  <c:v>734.38501650000001</c:v>
                </c:pt>
                <c:pt idx="2392">
                  <c:v>734.38500905000001</c:v>
                </c:pt>
                <c:pt idx="2393">
                  <c:v>734.3845695</c:v>
                </c:pt>
                <c:pt idx="2394">
                  <c:v>734.38417464999998</c:v>
                </c:pt>
                <c:pt idx="2395">
                  <c:v>734.38348925000003</c:v>
                </c:pt>
                <c:pt idx="2396">
                  <c:v>734.38348180000003</c:v>
                </c:pt>
                <c:pt idx="2397">
                  <c:v>734.38346690000003</c:v>
                </c:pt>
                <c:pt idx="2398">
                  <c:v>734.38345200000003</c:v>
                </c:pt>
                <c:pt idx="2399">
                  <c:v>734.38344455000004</c:v>
                </c:pt>
                <c:pt idx="2400">
                  <c:v>734.36032720000003</c:v>
                </c:pt>
                <c:pt idx="2401">
                  <c:v>734.33608490000006</c:v>
                </c:pt>
                <c:pt idx="2402">
                  <c:v>734.33606255000007</c:v>
                </c:pt>
                <c:pt idx="2403">
                  <c:v>734.33600294999997</c:v>
                </c:pt>
                <c:pt idx="2404">
                  <c:v>734.31252799999993</c:v>
                </c:pt>
                <c:pt idx="2405">
                  <c:v>734.31252799999993</c:v>
                </c:pt>
                <c:pt idx="2406">
                  <c:v>734.31252799999993</c:v>
                </c:pt>
                <c:pt idx="2407">
                  <c:v>734.31252799999993</c:v>
                </c:pt>
                <c:pt idx="2408">
                  <c:v>734.31185749999997</c:v>
                </c:pt>
                <c:pt idx="2409">
                  <c:v>734.31096350000007</c:v>
                </c:pt>
                <c:pt idx="2410">
                  <c:v>734.31096350000007</c:v>
                </c:pt>
                <c:pt idx="2411">
                  <c:v>734.31088899999997</c:v>
                </c:pt>
                <c:pt idx="2412">
                  <c:v>734.31088899999997</c:v>
                </c:pt>
                <c:pt idx="2413">
                  <c:v>734.31088899999997</c:v>
                </c:pt>
                <c:pt idx="2414">
                  <c:v>734.31083684999999</c:v>
                </c:pt>
                <c:pt idx="2415">
                  <c:v>734.31081449999999</c:v>
                </c:pt>
                <c:pt idx="2416">
                  <c:v>734.3107847</c:v>
                </c:pt>
                <c:pt idx="2417">
                  <c:v>734.31076235</c:v>
                </c:pt>
                <c:pt idx="2418">
                  <c:v>734.31074000000001</c:v>
                </c:pt>
                <c:pt idx="2419">
                  <c:v>734.31074000000001</c:v>
                </c:pt>
                <c:pt idx="2420">
                  <c:v>734.31071765000002</c:v>
                </c:pt>
                <c:pt idx="2421">
                  <c:v>734.31071020000002</c:v>
                </c:pt>
                <c:pt idx="2422">
                  <c:v>734.31070275000002</c:v>
                </c:pt>
                <c:pt idx="2423">
                  <c:v>734.31068785000002</c:v>
                </c:pt>
                <c:pt idx="2424">
                  <c:v>734.31068040000002</c:v>
                </c:pt>
                <c:pt idx="2425">
                  <c:v>734.31067295000003</c:v>
                </c:pt>
                <c:pt idx="2426">
                  <c:v>734.31066550000003</c:v>
                </c:pt>
                <c:pt idx="2427">
                  <c:v>734.31066550000003</c:v>
                </c:pt>
                <c:pt idx="2428">
                  <c:v>734.31066550000003</c:v>
                </c:pt>
                <c:pt idx="2429">
                  <c:v>734.31066550000003</c:v>
                </c:pt>
                <c:pt idx="2430">
                  <c:v>734.31066550000003</c:v>
                </c:pt>
                <c:pt idx="2431">
                  <c:v>734.31066550000003</c:v>
                </c:pt>
                <c:pt idx="2432">
                  <c:v>734.31065060000003</c:v>
                </c:pt>
                <c:pt idx="2433">
                  <c:v>734.31063570000003</c:v>
                </c:pt>
                <c:pt idx="2434">
                  <c:v>734.31060589999993</c:v>
                </c:pt>
                <c:pt idx="2435">
                  <c:v>734.31059100000004</c:v>
                </c:pt>
                <c:pt idx="2436">
                  <c:v>734.31059100000004</c:v>
                </c:pt>
                <c:pt idx="2437">
                  <c:v>734.31059100000004</c:v>
                </c:pt>
                <c:pt idx="2438">
                  <c:v>734.31059100000004</c:v>
                </c:pt>
                <c:pt idx="2439">
                  <c:v>734.31059100000004</c:v>
                </c:pt>
                <c:pt idx="2440">
                  <c:v>734.31059100000004</c:v>
                </c:pt>
                <c:pt idx="2441">
                  <c:v>734.31059100000004</c:v>
                </c:pt>
                <c:pt idx="2442">
                  <c:v>734.31059100000004</c:v>
                </c:pt>
                <c:pt idx="2443">
                  <c:v>734.31059100000004</c:v>
                </c:pt>
                <c:pt idx="2444">
                  <c:v>734.31059100000004</c:v>
                </c:pt>
                <c:pt idx="2445">
                  <c:v>734.31059100000004</c:v>
                </c:pt>
                <c:pt idx="2446">
                  <c:v>734.31059100000004</c:v>
                </c:pt>
                <c:pt idx="2447">
                  <c:v>734.31059100000004</c:v>
                </c:pt>
                <c:pt idx="2448">
                  <c:v>734.31059100000004</c:v>
                </c:pt>
                <c:pt idx="2449">
                  <c:v>734.31059100000004</c:v>
                </c:pt>
                <c:pt idx="2450">
                  <c:v>734.31059100000004</c:v>
                </c:pt>
                <c:pt idx="2451">
                  <c:v>734.31059100000004</c:v>
                </c:pt>
                <c:pt idx="2452">
                  <c:v>734.31059100000004</c:v>
                </c:pt>
                <c:pt idx="2453">
                  <c:v>734.31059100000004</c:v>
                </c:pt>
                <c:pt idx="2454">
                  <c:v>734.31059100000004</c:v>
                </c:pt>
                <c:pt idx="2455">
                  <c:v>734.31059100000004</c:v>
                </c:pt>
                <c:pt idx="2456">
                  <c:v>734.31059100000004</c:v>
                </c:pt>
                <c:pt idx="2457">
                  <c:v>734.31059100000004</c:v>
                </c:pt>
                <c:pt idx="2458">
                  <c:v>734.31059100000004</c:v>
                </c:pt>
                <c:pt idx="2459">
                  <c:v>734.31059100000004</c:v>
                </c:pt>
                <c:pt idx="2460">
                  <c:v>734.31059100000004</c:v>
                </c:pt>
                <c:pt idx="2461">
                  <c:v>734.31059100000004</c:v>
                </c:pt>
                <c:pt idx="2462">
                  <c:v>734.31059100000004</c:v>
                </c:pt>
                <c:pt idx="2463">
                  <c:v>734.31059100000004</c:v>
                </c:pt>
                <c:pt idx="2464">
                  <c:v>734.31059100000004</c:v>
                </c:pt>
                <c:pt idx="2465">
                  <c:v>734.31059100000004</c:v>
                </c:pt>
                <c:pt idx="2466">
                  <c:v>734.31059100000004</c:v>
                </c:pt>
                <c:pt idx="2467">
                  <c:v>734.31059100000004</c:v>
                </c:pt>
                <c:pt idx="2468">
                  <c:v>734.31059100000004</c:v>
                </c:pt>
                <c:pt idx="2469">
                  <c:v>734.31059100000004</c:v>
                </c:pt>
                <c:pt idx="2470">
                  <c:v>734.31059100000004</c:v>
                </c:pt>
                <c:pt idx="2471">
                  <c:v>734.31059100000004</c:v>
                </c:pt>
                <c:pt idx="2472">
                  <c:v>734.31059100000004</c:v>
                </c:pt>
                <c:pt idx="2473">
                  <c:v>734.31059100000004</c:v>
                </c:pt>
                <c:pt idx="2474">
                  <c:v>734.31059100000004</c:v>
                </c:pt>
                <c:pt idx="2475">
                  <c:v>734.31059100000004</c:v>
                </c:pt>
                <c:pt idx="2476">
                  <c:v>734.31059100000004</c:v>
                </c:pt>
                <c:pt idx="2477">
                  <c:v>734.31059100000004</c:v>
                </c:pt>
                <c:pt idx="2478">
                  <c:v>734.31059100000004</c:v>
                </c:pt>
                <c:pt idx="2479">
                  <c:v>734.31059100000004</c:v>
                </c:pt>
                <c:pt idx="2480">
                  <c:v>734.31059100000004</c:v>
                </c:pt>
                <c:pt idx="2481">
                  <c:v>734.31059100000004</c:v>
                </c:pt>
                <c:pt idx="2482">
                  <c:v>734.31059100000004</c:v>
                </c:pt>
                <c:pt idx="2483">
                  <c:v>734.31059100000004</c:v>
                </c:pt>
                <c:pt idx="2484">
                  <c:v>734.31059100000004</c:v>
                </c:pt>
                <c:pt idx="2485">
                  <c:v>734.31059100000004</c:v>
                </c:pt>
                <c:pt idx="2486">
                  <c:v>734.31059100000004</c:v>
                </c:pt>
                <c:pt idx="2487">
                  <c:v>734.31059100000004</c:v>
                </c:pt>
                <c:pt idx="2488">
                  <c:v>734.31059100000004</c:v>
                </c:pt>
                <c:pt idx="2489">
                  <c:v>734.31059100000004</c:v>
                </c:pt>
                <c:pt idx="2490">
                  <c:v>734.31059100000004</c:v>
                </c:pt>
                <c:pt idx="2491">
                  <c:v>734.31059100000004</c:v>
                </c:pt>
                <c:pt idx="2492">
                  <c:v>734.31059100000004</c:v>
                </c:pt>
                <c:pt idx="2493">
                  <c:v>734.31059100000004</c:v>
                </c:pt>
                <c:pt idx="2494">
                  <c:v>734.31057610000005</c:v>
                </c:pt>
                <c:pt idx="2495">
                  <c:v>734.31057610000005</c:v>
                </c:pt>
                <c:pt idx="2496">
                  <c:v>734.31056865000005</c:v>
                </c:pt>
                <c:pt idx="2497">
                  <c:v>734.31056865000005</c:v>
                </c:pt>
                <c:pt idx="2498">
                  <c:v>734.31056119999994</c:v>
                </c:pt>
                <c:pt idx="2499">
                  <c:v>734.31056119999994</c:v>
                </c:pt>
                <c:pt idx="2500">
                  <c:v>734.31056119999994</c:v>
                </c:pt>
                <c:pt idx="2501">
                  <c:v>734.31053885000006</c:v>
                </c:pt>
                <c:pt idx="2502">
                  <c:v>734.31052395000006</c:v>
                </c:pt>
                <c:pt idx="2503">
                  <c:v>734.31050160000007</c:v>
                </c:pt>
                <c:pt idx="2504">
                  <c:v>734.30971935000002</c:v>
                </c:pt>
                <c:pt idx="2505">
                  <c:v>734.30970445000003</c:v>
                </c:pt>
                <c:pt idx="2506">
                  <c:v>734.29159349999998</c:v>
                </c:pt>
                <c:pt idx="2507">
                  <c:v>734.285708</c:v>
                </c:pt>
                <c:pt idx="2508">
                  <c:v>734.26089950000005</c:v>
                </c:pt>
                <c:pt idx="2509">
                  <c:v>734.25471600000003</c:v>
                </c:pt>
                <c:pt idx="2510">
                  <c:v>734.2380280000001</c:v>
                </c:pt>
                <c:pt idx="2511">
                  <c:v>734.23646350000001</c:v>
                </c:pt>
                <c:pt idx="2512">
                  <c:v>734.23638900000003</c:v>
                </c:pt>
                <c:pt idx="2513">
                  <c:v>734.23631450000005</c:v>
                </c:pt>
                <c:pt idx="2514">
                  <c:v>734.23631450000005</c:v>
                </c:pt>
                <c:pt idx="2515">
                  <c:v>734.23624000000007</c:v>
                </c:pt>
                <c:pt idx="2516">
                  <c:v>734.23624000000007</c:v>
                </c:pt>
                <c:pt idx="2517">
                  <c:v>734.23620274999996</c:v>
                </c:pt>
                <c:pt idx="2518">
                  <c:v>734.23616549999997</c:v>
                </c:pt>
                <c:pt idx="2519">
                  <c:v>734.23613570000009</c:v>
                </c:pt>
                <c:pt idx="2520">
                  <c:v>734.23610589999998</c:v>
                </c:pt>
                <c:pt idx="2521">
                  <c:v>734.23609099999999</c:v>
                </c:pt>
                <c:pt idx="2522">
                  <c:v>734.23609099999999</c:v>
                </c:pt>
                <c:pt idx="2523">
                  <c:v>734.23609099999999</c:v>
                </c:pt>
                <c:pt idx="2524">
                  <c:v>734.23609099999999</c:v>
                </c:pt>
                <c:pt idx="2525">
                  <c:v>734.23609099999999</c:v>
                </c:pt>
                <c:pt idx="2526">
                  <c:v>734.23609099999999</c:v>
                </c:pt>
                <c:pt idx="2527">
                  <c:v>734.23609099999999</c:v>
                </c:pt>
                <c:pt idx="2528">
                  <c:v>734.23609099999999</c:v>
                </c:pt>
                <c:pt idx="2529">
                  <c:v>734.23609099999999</c:v>
                </c:pt>
                <c:pt idx="2530">
                  <c:v>734.23609099999999</c:v>
                </c:pt>
                <c:pt idx="2531">
                  <c:v>734.23609099999999</c:v>
                </c:pt>
                <c:pt idx="2532">
                  <c:v>734.23609099999999</c:v>
                </c:pt>
                <c:pt idx="2533">
                  <c:v>734.23609099999999</c:v>
                </c:pt>
                <c:pt idx="2534">
                  <c:v>734.23609099999999</c:v>
                </c:pt>
                <c:pt idx="2535">
                  <c:v>734.23609099999999</c:v>
                </c:pt>
                <c:pt idx="2536">
                  <c:v>734.23609099999999</c:v>
                </c:pt>
                <c:pt idx="2537">
                  <c:v>734.23609099999999</c:v>
                </c:pt>
                <c:pt idx="2538">
                  <c:v>734.23609099999999</c:v>
                </c:pt>
                <c:pt idx="2539">
                  <c:v>734.23609099999999</c:v>
                </c:pt>
                <c:pt idx="2540">
                  <c:v>734.23609099999999</c:v>
                </c:pt>
                <c:pt idx="2541">
                  <c:v>734.23609099999999</c:v>
                </c:pt>
                <c:pt idx="2542">
                  <c:v>734.23609099999999</c:v>
                </c:pt>
                <c:pt idx="2543">
                  <c:v>734.23609099999999</c:v>
                </c:pt>
                <c:pt idx="2544">
                  <c:v>734.23609099999999</c:v>
                </c:pt>
                <c:pt idx="2545">
                  <c:v>734.23609099999999</c:v>
                </c:pt>
                <c:pt idx="2546">
                  <c:v>734.23609099999999</c:v>
                </c:pt>
                <c:pt idx="2547">
                  <c:v>734.23609099999999</c:v>
                </c:pt>
                <c:pt idx="2548">
                  <c:v>734.23609099999999</c:v>
                </c:pt>
                <c:pt idx="2549">
                  <c:v>734.23609099999999</c:v>
                </c:pt>
                <c:pt idx="2550">
                  <c:v>734.23609099999999</c:v>
                </c:pt>
                <c:pt idx="2551">
                  <c:v>734.23609099999999</c:v>
                </c:pt>
                <c:pt idx="2552">
                  <c:v>734.23605375000011</c:v>
                </c:pt>
                <c:pt idx="2553">
                  <c:v>734.21120800000006</c:v>
                </c:pt>
                <c:pt idx="2554">
                  <c:v>734.21120800000006</c:v>
                </c:pt>
                <c:pt idx="2555">
                  <c:v>734.16196350000007</c:v>
                </c:pt>
                <c:pt idx="2556">
                  <c:v>734.16186664999998</c:v>
                </c:pt>
                <c:pt idx="2557">
                  <c:v>734.16181449999999</c:v>
                </c:pt>
                <c:pt idx="2558">
                  <c:v>734.16181449999999</c:v>
                </c:pt>
                <c:pt idx="2559">
                  <c:v>734.16181449999999</c:v>
                </c:pt>
                <c:pt idx="2560">
                  <c:v>734.16170275000002</c:v>
                </c:pt>
                <c:pt idx="2561">
                  <c:v>734.16159100000004</c:v>
                </c:pt>
                <c:pt idx="2562">
                  <c:v>734.16153885000006</c:v>
                </c:pt>
                <c:pt idx="2563">
                  <c:v>734.16151650000006</c:v>
                </c:pt>
                <c:pt idx="2564">
                  <c:v>734.16151650000006</c:v>
                </c:pt>
                <c:pt idx="2565">
                  <c:v>734.16151650000006</c:v>
                </c:pt>
                <c:pt idx="2566">
                  <c:v>734.16151650000006</c:v>
                </c:pt>
                <c:pt idx="2567">
                  <c:v>734.16151650000006</c:v>
                </c:pt>
                <c:pt idx="2568">
                  <c:v>734.16151650000006</c:v>
                </c:pt>
                <c:pt idx="2569">
                  <c:v>734.16151650000006</c:v>
                </c:pt>
                <c:pt idx="2570">
                  <c:v>734.16151650000006</c:v>
                </c:pt>
                <c:pt idx="2571">
                  <c:v>734.16151650000006</c:v>
                </c:pt>
                <c:pt idx="2572">
                  <c:v>734.16151650000006</c:v>
                </c:pt>
                <c:pt idx="2573">
                  <c:v>734.16151650000006</c:v>
                </c:pt>
                <c:pt idx="2574">
                  <c:v>734.16151650000006</c:v>
                </c:pt>
                <c:pt idx="2575">
                  <c:v>734.16151650000006</c:v>
                </c:pt>
                <c:pt idx="2576">
                  <c:v>734.16151650000006</c:v>
                </c:pt>
                <c:pt idx="2577">
                  <c:v>734.16072680000002</c:v>
                </c:pt>
                <c:pt idx="2578">
                  <c:v>734.08746350000001</c:v>
                </c:pt>
                <c:pt idx="2579">
                  <c:v>734.08716549999997</c:v>
                </c:pt>
                <c:pt idx="2580">
                  <c:v>734.08716549999997</c:v>
                </c:pt>
                <c:pt idx="2581">
                  <c:v>734.08709099999999</c:v>
                </c:pt>
                <c:pt idx="2582">
                  <c:v>734.08709099999999</c:v>
                </c:pt>
                <c:pt idx="2583">
                  <c:v>734.08709099999999</c:v>
                </c:pt>
                <c:pt idx="2584">
                  <c:v>734.08709099999999</c:v>
                </c:pt>
                <c:pt idx="2585">
                  <c:v>734.08709099999999</c:v>
                </c:pt>
                <c:pt idx="2586">
                  <c:v>734.08709099999999</c:v>
                </c:pt>
                <c:pt idx="2587">
                  <c:v>734.08709099999999</c:v>
                </c:pt>
                <c:pt idx="2588">
                  <c:v>734.06846600000006</c:v>
                </c:pt>
                <c:pt idx="2589">
                  <c:v>734.06846600000006</c:v>
                </c:pt>
                <c:pt idx="2590">
                  <c:v>734.06846600000006</c:v>
                </c:pt>
                <c:pt idx="2591">
                  <c:v>734.06845110000006</c:v>
                </c:pt>
                <c:pt idx="2592">
                  <c:v>734.01259100000004</c:v>
                </c:pt>
                <c:pt idx="2593">
                  <c:v>734.01259100000004</c:v>
                </c:pt>
                <c:pt idx="2594">
                  <c:v>734.01259100000004</c:v>
                </c:pt>
                <c:pt idx="2595">
                  <c:v>734.01259100000004</c:v>
                </c:pt>
                <c:pt idx="2596">
                  <c:v>734.01259100000004</c:v>
                </c:pt>
                <c:pt idx="2597">
                  <c:v>734.01259100000004</c:v>
                </c:pt>
                <c:pt idx="2598">
                  <c:v>734.01259100000004</c:v>
                </c:pt>
                <c:pt idx="2599">
                  <c:v>734.01259100000004</c:v>
                </c:pt>
                <c:pt idx="2600">
                  <c:v>734.01259100000004</c:v>
                </c:pt>
                <c:pt idx="2601">
                  <c:v>734.01259100000004</c:v>
                </c:pt>
                <c:pt idx="2602">
                  <c:v>734.01259100000004</c:v>
                </c:pt>
                <c:pt idx="2603">
                  <c:v>734.01257610000005</c:v>
                </c:pt>
                <c:pt idx="2604">
                  <c:v>733.99389150000002</c:v>
                </c:pt>
                <c:pt idx="2605">
                  <c:v>733.93846350000001</c:v>
                </c:pt>
                <c:pt idx="2606">
                  <c:v>733.9380165</c:v>
                </c:pt>
                <c:pt idx="2607">
                  <c:v>733.86396349999995</c:v>
                </c:pt>
                <c:pt idx="2608">
                  <c:v>733.86396349999995</c:v>
                </c:pt>
                <c:pt idx="2609">
                  <c:v>733.86396349999995</c:v>
                </c:pt>
                <c:pt idx="2610">
                  <c:v>733.78947840000001</c:v>
                </c:pt>
                <c:pt idx="2611">
                  <c:v>733.78943370000002</c:v>
                </c:pt>
                <c:pt idx="2612">
                  <c:v>733.78938900000003</c:v>
                </c:pt>
                <c:pt idx="2613">
                  <c:v>733.78938900000003</c:v>
                </c:pt>
                <c:pt idx="2614">
                  <c:v>733.78938900000003</c:v>
                </c:pt>
                <c:pt idx="2615">
                  <c:v>733.71459100000004</c:v>
                </c:pt>
                <c:pt idx="2616">
                  <c:v>733.47492450000004</c:v>
                </c:pt>
                <c:pt idx="2617">
                  <c:v>720.15469699999994</c:v>
                </c:pt>
                <c:pt idx="2618">
                  <c:v>699.5640145000001</c:v>
                </c:pt>
                <c:pt idx="2619">
                  <c:v>699.48951450000004</c:v>
                </c:pt>
                <c:pt idx="2620">
                  <c:v>699.48951450000004</c:v>
                </c:pt>
                <c:pt idx="2621">
                  <c:v>699.41509644999996</c:v>
                </c:pt>
                <c:pt idx="2622">
                  <c:v>699.41508899999997</c:v>
                </c:pt>
                <c:pt idx="2623">
                  <c:v>699.35921400000007</c:v>
                </c:pt>
                <c:pt idx="2624">
                  <c:v>699.13563950000002</c:v>
                </c:pt>
                <c:pt idx="2625">
                  <c:v>699.06121400000006</c:v>
                </c:pt>
                <c:pt idx="2626">
                  <c:v>693.39750050000009</c:v>
                </c:pt>
                <c:pt idx="2627">
                  <c:v>691.19500484999992</c:v>
                </c:pt>
                <c:pt idx="2628">
                  <c:v>691.19498995000004</c:v>
                </c:pt>
                <c:pt idx="2629">
                  <c:v>685.78851750000001</c:v>
                </c:pt>
                <c:pt idx="2630">
                  <c:v>685.29294349999998</c:v>
                </c:pt>
                <c:pt idx="2631">
                  <c:v>681.7505877000001</c:v>
                </c:pt>
                <c:pt idx="2632">
                  <c:v>681.7500215</c:v>
                </c:pt>
                <c:pt idx="2633">
                  <c:v>681.74964899999998</c:v>
                </c:pt>
                <c:pt idx="2634">
                  <c:v>681.74964154999998</c:v>
                </c:pt>
                <c:pt idx="2635">
                  <c:v>681.74960429999999</c:v>
                </c:pt>
                <c:pt idx="2636">
                  <c:v>681.74957449999999</c:v>
                </c:pt>
                <c:pt idx="2637">
                  <c:v>681.74943295000003</c:v>
                </c:pt>
                <c:pt idx="2638">
                  <c:v>681.74942550000003</c:v>
                </c:pt>
                <c:pt idx="2639">
                  <c:v>681.74942550000003</c:v>
                </c:pt>
                <c:pt idx="2640">
                  <c:v>681.74942550000003</c:v>
                </c:pt>
                <c:pt idx="2641">
                  <c:v>681.74942550000003</c:v>
                </c:pt>
                <c:pt idx="2642">
                  <c:v>681.74942550000003</c:v>
                </c:pt>
                <c:pt idx="2643">
                  <c:v>681.74942550000003</c:v>
                </c:pt>
                <c:pt idx="2644">
                  <c:v>681.74942550000003</c:v>
                </c:pt>
                <c:pt idx="2645">
                  <c:v>681.74942550000003</c:v>
                </c:pt>
                <c:pt idx="2646">
                  <c:v>681.67542464999997</c:v>
                </c:pt>
                <c:pt idx="2647">
                  <c:v>681.67532779999999</c:v>
                </c:pt>
                <c:pt idx="2648">
                  <c:v>681.67503725000006</c:v>
                </c:pt>
                <c:pt idx="2649">
                  <c:v>681.67497764999996</c:v>
                </c:pt>
                <c:pt idx="2650">
                  <c:v>681.67493294999997</c:v>
                </c:pt>
                <c:pt idx="2651">
                  <c:v>681.67493294999997</c:v>
                </c:pt>
                <c:pt idx="2652">
                  <c:v>681.67492549999997</c:v>
                </c:pt>
                <c:pt idx="2653">
                  <c:v>681.67492549999997</c:v>
                </c:pt>
                <c:pt idx="2654">
                  <c:v>681.67492549999997</c:v>
                </c:pt>
                <c:pt idx="2655">
                  <c:v>681.67492549999997</c:v>
                </c:pt>
                <c:pt idx="2656">
                  <c:v>681.67492549999997</c:v>
                </c:pt>
                <c:pt idx="2657">
                  <c:v>681.67492549999997</c:v>
                </c:pt>
                <c:pt idx="2658">
                  <c:v>681.67492549999997</c:v>
                </c:pt>
                <c:pt idx="2659">
                  <c:v>681.67492549999997</c:v>
                </c:pt>
                <c:pt idx="2660">
                  <c:v>681.60372584999993</c:v>
                </c:pt>
                <c:pt idx="2661">
                  <c:v>681.60073839999995</c:v>
                </c:pt>
                <c:pt idx="2662">
                  <c:v>681.60062664999998</c:v>
                </c:pt>
                <c:pt idx="2663">
                  <c:v>681.60058194999999</c:v>
                </c:pt>
                <c:pt idx="2664">
                  <c:v>681.6005298</c:v>
                </c:pt>
                <c:pt idx="2665">
                  <c:v>681.60052235000001</c:v>
                </c:pt>
                <c:pt idx="2666">
                  <c:v>681.60050745000001</c:v>
                </c:pt>
                <c:pt idx="2667">
                  <c:v>681.60050000000001</c:v>
                </c:pt>
                <c:pt idx="2668">
                  <c:v>681.60050000000001</c:v>
                </c:pt>
                <c:pt idx="2669">
                  <c:v>681.60050000000001</c:v>
                </c:pt>
                <c:pt idx="2670">
                  <c:v>681.60050000000001</c:v>
                </c:pt>
                <c:pt idx="2671">
                  <c:v>681.60050000000001</c:v>
                </c:pt>
                <c:pt idx="2672">
                  <c:v>681.60050000000001</c:v>
                </c:pt>
                <c:pt idx="2673">
                  <c:v>681.60050000000001</c:v>
                </c:pt>
                <c:pt idx="2674">
                  <c:v>681.60050000000001</c:v>
                </c:pt>
                <c:pt idx="2675">
                  <c:v>681.60050000000001</c:v>
                </c:pt>
                <c:pt idx="2676">
                  <c:v>681.60050000000001</c:v>
                </c:pt>
                <c:pt idx="2677">
                  <c:v>681.60050000000001</c:v>
                </c:pt>
                <c:pt idx="2678">
                  <c:v>681.60050000000001</c:v>
                </c:pt>
                <c:pt idx="2679">
                  <c:v>681.60049255000001</c:v>
                </c:pt>
                <c:pt idx="2680">
                  <c:v>681.45150000000001</c:v>
                </c:pt>
                <c:pt idx="2681">
                  <c:v>681.31114200000002</c:v>
                </c:pt>
                <c:pt idx="2682">
                  <c:v>674.59705300000007</c:v>
                </c:pt>
                <c:pt idx="2683">
                  <c:v>667.65246100000002</c:v>
                </c:pt>
                <c:pt idx="2684">
                  <c:v>665.0760722</c:v>
                </c:pt>
                <c:pt idx="2685">
                  <c:v>663.69770300000005</c:v>
                </c:pt>
                <c:pt idx="2686">
                  <c:v>662.92580850000002</c:v>
                </c:pt>
                <c:pt idx="2687">
                  <c:v>662.92580850000002</c:v>
                </c:pt>
                <c:pt idx="2688">
                  <c:v>662.92580850000002</c:v>
                </c:pt>
                <c:pt idx="2689">
                  <c:v>662.776883</c:v>
                </c:pt>
                <c:pt idx="2690">
                  <c:v>662.77686065</c:v>
                </c:pt>
                <c:pt idx="2691">
                  <c:v>662.77683085000001</c:v>
                </c:pt>
                <c:pt idx="2692">
                  <c:v>662.77680850000002</c:v>
                </c:pt>
                <c:pt idx="2693">
                  <c:v>662.77680850000002</c:v>
                </c:pt>
                <c:pt idx="2694">
                  <c:v>662.77680850000002</c:v>
                </c:pt>
                <c:pt idx="2695">
                  <c:v>662.54506134999997</c:v>
                </c:pt>
                <c:pt idx="2696">
                  <c:v>662.54503899999997</c:v>
                </c:pt>
                <c:pt idx="2697">
                  <c:v>662.39603900000009</c:v>
                </c:pt>
                <c:pt idx="2698">
                  <c:v>662.39603900000009</c:v>
                </c:pt>
                <c:pt idx="2699">
                  <c:v>662.39603900000009</c:v>
                </c:pt>
                <c:pt idx="2700">
                  <c:v>662.32153900000003</c:v>
                </c:pt>
                <c:pt idx="2701">
                  <c:v>662.32150920000004</c:v>
                </c:pt>
                <c:pt idx="2702">
                  <c:v>662.24703899999997</c:v>
                </c:pt>
                <c:pt idx="2703">
                  <c:v>662.24703899999997</c:v>
                </c:pt>
                <c:pt idx="2704">
                  <c:v>662.24703899999997</c:v>
                </c:pt>
                <c:pt idx="2705">
                  <c:v>662.24703899999997</c:v>
                </c:pt>
                <c:pt idx="2706">
                  <c:v>662.17237510000007</c:v>
                </c:pt>
                <c:pt idx="2707">
                  <c:v>662.17236765000007</c:v>
                </c:pt>
                <c:pt idx="2708">
                  <c:v>662.17236019999996</c:v>
                </c:pt>
                <c:pt idx="2709">
                  <c:v>662.17231549999997</c:v>
                </c:pt>
                <c:pt idx="2710">
                  <c:v>662.14750700000002</c:v>
                </c:pt>
                <c:pt idx="2711">
                  <c:v>662.09803899999997</c:v>
                </c:pt>
                <c:pt idx="2712">
                  <c:v>662.02353899999991</c:v>
                </c:pt>
                <c:pt idx="2713">
                  <c:v>661.24457444999996</c:v>
                </c:pt>
                <c:pt idx="2714">
                  <c:v>661.24456700000007</c:v>
                </c:pt>
                <c:pt idx="2715">
                  <c:v>661.24456700000007</c:v>
                </c:pt>
                <c:pt idx="2716">
                  <c:v>661.22314825000001</c:v>
                </c:pt>
                <c:pt idx="2717">
                  <c:v>661.21476699999994</c:v>
                </c:pt>
                <c:pt idx="2718">
                  <c:v>661.21476699999994</c:v>
                </c:pt>
                <c:pt idx="2719">
                  <c:v>661.1556885</c:v>
                </c:pt>
                <c:pt idx="2720">
                  <c:v>661.10115450000001</c:v>
                </c:pt>
                <c:pt idx="2721">
                  <c:v>661.09929199999999</c:v>
                </c:pt>
                <c:pt idx="2722">
                  <c:v>661.09556700000007</c:v>
                </c:pt>
                <c:pt idx="2723">
                  <c:v>661.09556700000007</c:v>
                </c:pt>
                <c:pt idx="2724">
                  <c:v>661.0886385</c:v>
                </c:pt>
                <c:pt idx="2725">
                  <c:v>661.08811700000001</c:v>
                </c:pt>
                <c:pt idx="2726">
                  <c:v>661.0741855</c:v>
                </c:pt>
                <c:pt idx="2727">
                  <c:v>661.06576700000005</c:v>
                </c:pt>
                <c:pt idx="2728">
                  <c:v>661.06576700000005</c:v>
                </c:pt>
                <c:pt idx="2729">
                  <c:v>661.01398204999998</c:v>
                </c:pt>
                <c:pt idx="2730">
                  <c:v>661.01376600000003</c:v>
                </c:pt>
                <c:pt idx="2731">
                  <c:v>661.01361699999995</c:v>
                </c:pt>
                <c:pt idx="2732">
                  <c:v>661.00750800000003</c:v>
                </c:pt>
                <c:pt idx="2733">
                  <c:v>661.00676299999998</c:v>
                </c:pt>
                <c:pt idx="2734">
                  <c:v>661.0066885</c:v>
                </c:pt>
                <c:pt idx="2735">
                  <c:v>661.006167</c:v>
                </c:pt>
                <c:pt idx="2736">
                  <c:v>661.006167</c:v>
                </c:pt>
                <c:pt idx="2737">
                  <c:v>661.00609250000002</c:v>
                </c:pt>
                <c:pt idx="2738">
                  <c:v>660.94716300000005</c:v>
                </c:pt>
                <c:pt idx="2739">
                  <c:v>660.93911700000001</c:v>
                </c:pt>
                <c:pt idx="2740">
                  <c:v>660.93911700000001</c:v>
                </c:pt>
                <c:pt idx="2741">
                  <c:v>660.88018750000003</c:v>
                </c:pt>
                <c:pt idx="2742">
                  <c:v>660.88018750000003</c:v>
                </c:pt>
                <c:pt idx="2743">
                  <c:v>660.88018750000003</c:v>
                </c:pt>
                <c:pt idx="2744">
                  <c:v>660.88018750000003</c:v>
                </c:pt>
                <c:pt idx="2745">
                  <c:v>660.87951699999996</c:v>
                </c:pt>
                <c:pt idx="2746">
                  <c:v>660.87951699999996</c:v>
                </c:pt>
                <c:pt idx="2747">
                  <c:v>660.87951699999996</c:v>
                </c:pt>
                <c:pt idx="2748">
                  <c:v>660.86469150000005</c:v>
                </c:pt>
                <c:pt idx="2749">
                  <c:v>660.86469150000005</c:v>
                </c:pt>
                <c:pt idx="2750">
                  <c:v>660.86469150000005</c:v>
                </c:pt>
                <c:pt idx="2751">
                  <c:v>660.857167</c:v>
                </c:pt>
                <c:pt idx="2752">
                  <c:v>660.857167</c:v>
                </c:pt>
                <c:pt idx="2753">
                  <c:v>660.857167</c:v>
                </c:pt>
                <c:pt idx="2754">
                  <c:v>660.857167</c:v>
                </c:pt>
                <c:pt idx="2755">
                  <c:v>660.857167</c:v>
                </c:pt>
                <c:pt idx="2756">
                  <c:v>660.67121500000007</c:v>
                </c:pt>
                <c:pt idx="2757">
                  <c:v>660.50016300000004</c:v>
                </c:pt>
                <c:pt idx="2758">
                  <c:v>658.86883650000004</c:v>
                </c:pt>
                <c:pt idx="2759">
                  <c:v>658.86881415000005</c:v>
                </c:pt>
                <c:pt idx="2760">
                  <c:v>658.86877689999994</c:v>
                </c:pt>
                <c:pt idx="2761">
                  <c:v>658.79430669999999</c:v>
                </c:pt>
                <c:pt idx="2762">
                  <c:v>649.96446985000011</c:v>
                </c:pt>
                <c:pt idx="2763">
                  <c:v>649.20101620000003</c:v>
                </c:pt>
                <c:pt idx="2764">
                  <c:v>644.7671785</c:v>
                </c:pt>
                <c:pt idx="2765">
                  <c:v>644.58018350000009</c:v>
                </c:pt>
                <c:pt idx="2766">
                  <c:v>644.46925299999998</c:v>
                </c:pt>
                <c:pt idx="2767">
                  <c:v>639.26356550000003</c:v>
                </c:pt>
                <c:pt idx="2768">
                  <c:v>639.18906549999997</c:v>
                </c:pt>
                <c:pt idx="2769">
                  <c:v>639.1518155</c:v>
                </c:pt>
                <c:pt idx="2770">
                  <c:v>638.83519050000007</c:v>
                </c:pt>
                <c:pt idx="2771">
                  <c:v>638.83519050000007</c:v>
                </c:pt>
                <c:pt idx="2772">
                  <c:v>638.83519050000007</c:v>
                </c:pt>
                <c:pt idx="2773">
                  <c:v>638.76069050000001</c:v>
                </c:pt>
                <c:pt idx="2774">
                  <c:v>638.53719049999995</c:v>
                </c:pt>
                <c:pt idx="2775">
                  <c:v>638.53719049999995</c:v>
                </c:pt>
                <c:pt idx="2776">
                  <c:v>638.53719049999995</c:v>
                </c:pt>
                <c:pt idx="2777">
                  <c:v>638.53719049999995</c:v>
                </c:pt>
                <c:pt idx="2778">
                  <c:v>638.53719049999995</c:v>
                </c:pt>
                <c:pt idx="2779">
                  <c:v>638.46269050000001</c:v>
                </c:pt>
                <c:pt idx="2780">
                  <c:v>638.46269050000001</c:v>
                </c:pt>
                <c:pt idx="2781">
                  <c:v>638.46269050000001</c:v>
                </c:pt>
                <c:pt idx="2782">
                  <c:v>638.46269050000001</c:v>
                </c:pt>
                <c:pt idx="2783">
                  <c:v>638.46269050000001</c:v>
                </c:pt>
                <c:pt idx="2784">
                  <c:v>638.46269050000001</c:v>
                </c:pt>
                <c:pt idx="2785">
                  <c:v>638.46269050000001</c:v>
                </c:pt>
                <c:pt idx="2786">
                  <c:v>638.38062875000003</c:v>
                </c:pt>
                <c:pt idx="2787">
                  <c:v>638.38023390000001</c:v>
                </c:pt>
                <c:pt idx="2788">
                  <c:v>638.38014450000003</c:v>
                </c:pt>
                <c:pt idx="2789">
                  <c:v>638.37993589999996</c:v>
                </c:pt>
                <c:pt idx="2790">
                  <c:v>638.37992100000008</c:v>
                </c:pt>
                <c:pt idx="2791">
                  <c:v>638.37992100000008</c:v>
                </c:pt>
                <c:pt idx="2792">
                  <c:v>638.37992100000008</c:v>
                </c:pt>
                <c:pt idx="2793">
                  <c:v>638.37992100000008</c:v>
                </c:pt>
                <c:pt idx="2794">
                  <c:v>638.37992100000008</c:v>
                </c:pt>
                <c:pt idx="2795">
                  <c:v>638.37992100000008</c:v>
                </c:pt>
                <c:pt idx="2796">
                  <c:v>638.37992100000008</c:v>
                </c:pt>
                <c:pt idx="2797">
                  <c:v>638.37992100000008</c:v>
                </c:pt>
                <c:pt idx="2798">
                  <c:v>638.37992100000008</c:v>
                </c:pt>
                <c:pt idx="2799">
                  <c:v>638.37992100000008</c:v>
                </c:pt>
                <c:pt idx="2800">
                  <c:v>638.23047400000007</c:v>
                </c:pt>
                <c:pt idx="2801">
                  <c:v>638.17459899999994</c:v>
                </c:pt>
                <c:pt idx="2802">
                  <c:v>638.17459899999994</c:v>
                </c:pt>
                <c:pt idx="2803">
                  <c:v>638.17459899999994</c:v>
                </c:pt>
                <c:pt idx="2804">
                  <c:v>638.15597400000001</c:v>
                </c:pt>
                <c:pt idx="2805">
                  <c:v>638.15597400000001</c:v>
                </c:pt>
                <c:pt idx="2806">
                  <c:v>638.13734899999997</c:v>
                </c:pt>
                <c:pt idx="2807">
                  <c:v>638.02559899999994</c:v>
                </c:pt>
                <c:pt idx="2808">
                  <c:v>637.87659900000006</c:v>
                </c:pt>
                <c:pt idx="2809">
                  <c:v>637.87659900000006</c:v>
                </c:pt>
                <c:pt idx="2810">
                  <c:v>637.87659900000006</c:v>
                </c:pt>
                <c:pt idx="2811">
                  <c:v>631.09650299999998</c:v>
                </c:pt>
                <c:pt idx="2812">
                  <c:v>631.07790780000005</c:v>
                </c:pt>
                <c:pt idx="2813">
                  <c:v>630.9474285</c:v>
                </c:pt>
                <c:pt idx="2814">
                  <c:v>630.87292850000006</c:v>
                </c:pt>
                <c:pt idx="2815">
                  <c:v>630.87292850000006</c:v>
                </c:pt>
                <c:pt idx="2816">
                  <c:v>630.87292850000006</c:v>
                </c:pt>
                <c:pt idx="2817">
                  <c:v>630.7984285</c:v>
                </c:pt>
                <c:pt idx="2818">
                  <c:v>630.79798149999999</c:v>
                </c:pt>
                <c:pt idx="2819">
                  <c:v>630.79798149999999</c:v>
                </c:pt>
                <c:pt idx="2820">
                  <c:v>630.79798149999999</c:v>
                </c:pt>
                <c:pt idx="2821">
                  <c:v>630.79798149999999</c:v>
                </c:pt>
                <c:pt idx="2822">
                  <c:v>630.64890700000001</c:v>
                </c:pt>
                <c:pt idx="2823">
                  <c:v>630.64890700000001</c:v>
                </c:pt>
                <c:pt idx="2824">
                  <c:v>630.57448150000005</c:v>
                </c:pt>
                <c:pt idx="2825">
                  <c:v>629.6001705000001</c:v>
                </c:pt>
                <c:pt idx="2826">
                  <c:v>629.48842050000007</c:v>
                </c:pt>
                <c:pt idx="2827">
                  <c:v>629.33942049999996</c:v>
                </c:pt>
                <c:pt idx="2828">
                  <c:v>629.33942049999996</c:v>
                </c:pt>
                <c:pt idx="2829">
                  <c:v>629.33942049999996</c:v>
                </c:pt>
                <c:pt idx="2830">
                  <c:v>623.97884750000003</c:v>
                </c:pt>
                <c:pt idx="2831">
                  <c:v>622.76650900000004</c:v>
                </c:pt>
                <c:pt idx="2832">
                  <c:v>622.07590890000006</c:v>
                </c:pt>
                <c:pt idx="2833">
                  <c:v>622.07589399999995</c:v>
                </c:pt>
                <c:pt idx="2834">
                  <c:v>622.07588654999995</c:v>
                </c:pt>
                <c:pt idx="2835">
                  <c:v>622.07587910000007</c:v>
                </c:pt>
                <c:pt idx="2836">
                  <c:v>622.07585674999996</c:v>
                </c:pt>
                <c:pt idx="2837">
                  <c:v>622.07582695000008</c:v>
                </c:pt>
                <c:pt idx="2838">
                  <c:v>622.07559600000002</c:v>
                </c:pt>
                <c:pt idx="2839">
                  <c:v>621.703394</c:v>
                </c:pt>
                <c:pt idx="2840">
                  <c:v>616.66540600000008</c:v>
                </c:pt>
                <c:pt idx="2841">
                  <c:v>616.60900950000007</c:v>
                </c:pt>
                <c:pt idx="2842">
                  <c:v>616.59127850000004</c:v>
                </c:pt>
                <c:pt idx="2843">
                  <c:v>616.59038450000003</c:v>
                </c:pt>
                <c:pt idx="2844">
                  <c:v>616.57228100000009</c:v>
                </c:pt>
                <c:pt idx="2845">
                  <c:v>616.57183399999997</c:v>
                </c:pt>
                <c:pt idx="2846">
                  <c:v>616.49725950000004</c:v>
                </c:pt>
                <c:pt idx="2847">
                  <c:v>616.49725950000004</c:v>
                </c:pt>
                <c:pt idx="2848">
                  <c:v>616.49725950000004</c:v>
                </c:pt>
                <c:pt idx="2849">
                  <c:v>616.49725950000004</c:v>
                </c:pt>
                <c:pt idx="2850">
                  <c:v>616.46037454999998</c:v>
                </c:pt>
                <c:pt idx="2851">
                  <c:v>616.44138450000003</c:v>
                </c:pt>
                <c:pt idx="2852">
                  <c:v>616.44138450000003</c:v>
                </c:pt>
                <c:pt idx="2853">
                  <c:v>616.34878100000003</c:v>
                </c:pt>
                <c:pt idx="2854">
                  <c:v>616.21788449999997</c:v>
                </c:pt>
                <c:pt idx="2855">
                  <c:v>614.3892075</c:v>
                </c:pt>
                <c:pt idx="2856">
                  <c:v>614.3892075</c:v>
                </c:pt>
                <c:pt idx="2857">
                  <c:v>614.3892075</c:v>
                </c:pt>
                <c:pt idx="2858">
                  <c:v>614.3892075</c:v>
                </c:pt>
                <c:pt idx="2859">
                  <c:v>614.12920250000002</c:v>
                </c:pt>
                <c:pt idx="2860">
                  <c:v>614.12920250000002</c:v>
                </c:pt>
                <c:pt idx="2861">
                  <c:v>614.11057749999998</c:v>
                </c:pt>
                <c:pt idx="2862">
                  <c:v>614.11057749999998</c:v>
                </c:pt>
                <c:pt idx="2863">
                  <c:v>613.99882749999995</c:v>
                </c:pt>
                <c:pt idx="2864">
                  <c:v>613.50747020000006</c:v>
                </c:pt>
                <c:pt idx="2865">
                  <c:v>613.44055430000003</c:v>
                </c:pt>
                <c:pt idx="2866">
                  <c:v>612.05579299999999</c:v>
                </c:pt>
                <c:pt idx="2867">
                  <c:v>612.02480100000002</c:v>
                </c:pt>
                <c:pt idx="2868">
                  <c:v>611.99585030000003</c:v>
                </c:pt>
                <c:pt idx="2869">
                  <c:v>611.99582050000004</c:v>
                </c:pt>
                <c:pt idx="2870">
                  <c:v>611.99582050000004</c:v>
                </c:pt>
                <c:pt idx="2871">
                  <c:v>611.91312550000009</c:v>
                </c:pt>
                <c:pt idx="2872">
                  <c:v>611.91312550000009</c:v>
                </c:pt>
                <c:pt idx="2873">
                  <c:v>611.90686749999998</c:v>
                </c:pt>
                <c:pt idx="2874">
                  <c:v>611.83855100000005</c:v>
                </c:pt>
                <c:pt idx="2875">
                  <c:v>611.83855100000005</c:v>
                </c:pt>
                <c:pt idx="2876">
                  <c:v>611.83028150000007</c:v>
                </c:pt>
                <c:pt idx="2877">
                  <c:v>611.83028150000007</c:v>
                </c:pt>
                <c:pt idx="2878">
                  <c:v>611.77232050000009</c:v>
                </c:pt>
                <c:pt idx="2879">
                  <c:v>611.63606000000004</c:v>
                </c:pt>
                <c:pt idx="2880">
                  <c:v>607.48424950000003</c:v>
                </c:pt>
                <c:pt idx="2881">
                  <c:v>605.465374</c:v>
                </c:pt>
                <c:pt idx="2882">
                  <c:v>605.37232350000011</c:v>
                </c:pt>
                <c:pt idx="2883">
                  <c:v>605.27770850000002</c:v>
                </c:pt>
                <c:pt idx="2884">
                  <c:v>605.22324900000001</c:v>
                </c:pt>
                <c:pt idx="2885">
                  <c:v>604.99974900000007</c:v>
                </c:pt>
                <c:pt idx="2886">
                  <c:v>601.79814875</c:v>
                </c:pt>
                <c:pt idx="2887">
                  <c:v>601.79813385</c:v>
                </c:pt>
                <c:pt idx="2888">
                  <c:v>601.7981115</c:v>
                </c:pt>
                <c:pt idx="2889">
                  <c:v>601.7981115</c:v>
                </c:pt>
                <c:pt idx="2890">
                  <c:v>601.7981115</c:v>
                </c:pt>
                <c:pt idx="2891">
                  <c:v>600.34754435000002</c:v>
                </c:pt>
                <c:pt idx="2892">
                  <c:v>596.37488400000007</c:v>
                </c:pt>
                <c:pt idx="2893">
                  <c:v>596.37488400000007</c:v>
                </c:pt>
                <c:pt idx="2894">
                  <c:v>596.17008350000003</c:v>
                </c:pt>
                <c:pt idx="2895">
                  <c:v>596.149</c:v>
                </c:pt>
                <c:pt idx="2896">
                  <c:v>596.11420850000002</c:v>
                </c:pt>
                <c:pt idx="2897">
                  <c:v>595.94658349999997</c:v>
                </c:pt>
                <c:pt idx="2898">
                  <c:v>595.88080000000002</c:v>
                </c:pt>
                <c:pt idx="2899">
                  <c:v>595.851</c:v>
                </c:pt>
                <c:pt idx="2900">
                  <c:v>595.69939249999993</c:v>
                </c:pt>
                <c:pt idx="2901">
                  <c:v>592.83293049999997</c:v>
                </c:pt>
                <c:pt idx="2902">
                  <c:v>592.83293049999997</c:v>
                </c:pt>
                <c:pt idx="2903">
                  <c:v>592.83293049999997</c:v>
                </c:pt>
                <c:pt idx="2904">
                  <c:v>592.68393049999997</c:v>
                </c:pt>
                <c:pt idx="2905">
                  <c:v>590.10243100000002</c:v>
                </c:pt>
                <c:pt idx="2906">
                  <c:v>589.02724699999999</c:v>
                </c:pt>
                <c:pt idx="2907">
                  <c:v>588.89687200000003</c:v>
                </c:pt>
                <c:pt idx="2908">
                  <c:v>588.89687200000003</c:v>
                </c:pt>
                <c:pt idx="2909">
                  <c:v>588.89687200000003</c:v>
                </c:pt>
                <c:pt idx="2910">
                  <c:v>588.89687200000003</c:v>
                </c:pt>
                <c:pt idx="2911">
                  <c:v>584.28096374999996</c:v>
                </c:pt>
                <c:pt idx="2912">
                  <c:v>581.91435949999993</c:v>
                </c:pt>
                <c:pt idx="2913">
                  <c:v>580.76430299999993</c:v>
                </c:pt>
                <c:pt idx="2914">
                  <c:v>580.76430299999993</c:v>
                </c:pt>
                <c:pt idx="2915">
                  <c:v>580.76430299999993</c:v>
                </c:pt>
                <c:pt idx="2916">
                  <c:v>580.76430299999993</c:v>
                </c:pt>
                <c:pt idx="2917">
                  <c:v>579.80668000000003</c:v>
                </c:pt>
                <c:pt idx="2918">
                  <c:v>579.80668000000003</c:v>
                </c:pt>
                <c:pt idx="2919">
                  <c:v>575.01141299999995</c:v>
                </c:pt>
                <c:pt idx="2920">
                  <c:v>574.95166399999994</c:v>
                </c:pt>
                <c:pt idx="2921">
                  <c:v>574.49848050000003</c:v>
                </c:pt>
                <c:pt idx="2922">
                  <c:v>571.20796450000012</c:v>
                </c:pt>
                <c:pt idx="2923">
                  <c:v>571.20796450000012</c:v>
                </c:pt>
                <c:pt idx="2924">
                  <c:v>571.20796450000012</c:v>
                </c:pt>
                <c:pt idx="2925">
                  <c:v>571.15208949999999</c:v>
                </c:pt>
                <c:pt idx="2926">
                  <c:v>571.00308949999999</c:v>
                </c:pt>
                <c:pt idx="2927">
                  <c:v>570.98446450000006</c:v>
                </c:pt>
                <c:pt idx="2928">
                  <c:v>567.79124549999995</c:v>
                </c:pt>
                <c:pt idx="2929">
                  <c:v>567.79124549999995</c:v>
                </c:pt>
                <c:pt idx="2930">
                  <c:v>567.65111100000001</c:v>
                </c:pt>
                <c:pt idx="2931">
                  <c:v>567.64232000000004</c:v>
                </c:pt>
                <c:pt idx="2932">
                  <c:v>567.58406100000002</c:v>
                </c:pt>
                <c:pt idx="2933">
                  <c:v>567.57661100000007</c:v>
                </c:pt>
                <c:pt idx="2934">
                  <c:v>561.73001490000001</c:v>
                </c:pt>
                <c:pt idx="2935">
                  <c:v>561.73</c:v>
                </c:pt>
                <c:pt idx="2936">
                  <c:v>561.73</c:v>
                </c:pt>
                <c:pt idx="2937">
                  <c:v>561.73</c:v>
                </c:pt>
                <c:pt idx="2938">
                  <c:v>561.73</c:v>
                </c:pt>
                <c:pt idx="2939">
                  <c:v>561.58257939999999</c:v>
                </c:pt>
                <c:pt idx="2940">
                  <c:v>561.58110429999999</c:v>
                </c:pt>
                <c:pt idx="2941">
                  <c:v>561.5810894</c:v>
                </c:pt>
                <c:pt idx="2942">
                  <c:v>561.58108195</c:v>
                </c:pt>
                <c:pt idx="2943">
                  <c:v>561.58106705</c:v>
                </c:pt>
                <c:pt idx="2944">
                  <c:v>561.58100000000002</c:v>
                </c:pt>
                <c:pt idx="2945">
                  <c:v>561.58100000000002</c:v>
                </c:pt>
                <c:pt idx="2946">
                  <c:v>561.58100000000002</c:v>
                </c:pt>
                <c:pt idx="2947">
                  <c:v>561.58100000000002</c:v>
                </c:pt>
                <c:pt idx="2948">
                  <c:v>561.58100000000002</c:v>
                </c:pt>
                <c:pt idx="2949">
                  <c:v>561.58100000000002</c:v>
                </c:pt>
                <c:pt idx="2950">
                  <c:v>561.43945000000008</c:v>
                </c:pt>
                <c:pt idx="2951">
                  <c:v>556.63159995000001</c:v>
                </c:pt>
                <c:pt idx="2952">
                  <c:v>552.20226950000006</c:v>
                </c:pt>
                <c:pt idx="2953">
                  <c:v>552.20226950000006</c:v>
                </c:pt>
                <c:pt idx="2954">
                  <c:v>552.04499999999996</c:v>
                </c:pt>
                <c:pt idx="2955">
                  <c:v>551.59523605000004</c:v>
                </c:pt>
                <c:pt idx="2956">
                  <c:v>551.43052399999999</c:v>
                </c:pt>
                <c:pt idx="2957">
                  <c:v>551.31028100000003</c:v>
                </c:pt>
                <c:pt idx="2958">
                  <c:v>551.23578100000009</c:v>
                </c:pt>
                <c:pt idx="2959">
                  <c:v>551.17990599999996</c:v>
                </c:pt>
                <c:pt idx="2960">
                  <c:v>551.16128100000003</c:v>
                </c:pt>
                <c:pt idx="2961">
                  <c:v>551.12410549999993</c:v>
                </c:pt>
                <c:pt idx="2962">
                  <c:v>551.12403100000006</c:v>
                </c:pt>
                <c:pt idx="2963">
                  <c:v>551.08678099999997</c:v>
                </c:pt>
                <c:pt idx="2964">
                  <c:v>551.08678099999997</c:v>
                </c:pt>
                <c:pt idx="2965">
                  <c:v>551.08678099999997</c:v>
                </c:pt>
                <c:pt idx="2966">
                  <c:v>551.08678099999997</c:v>
                </c:pt>
                <c:pt idx="2967">
                  <c:v>551.08678099999997</c:v>
                </c:pt>
                <c:pt idx="2968">
                  <c:v>551.08678099999997</c:v>
                </c:pt>
                <c:pt idx="2969">
                  <c:v>551.06842419999998</c:v>
                </c:pt>
                <c:pt idx="2970">
                  <c:v>551.06815600000004</c:v>
                </c:pt>
                <c:pt idx="2971">
                  <c:v>551.05027600000005</c:v>
                </c:pt>
                <c:pt idx="2972">
                  <c:v>551.05027600000005</c:v>
                </c:pt>
                <c:pt idx="2973">
                  <c:v>551.04970234999996</c:v>
                </c:pt>
                <c:pt idx="2974">
                  <c:v>551.04970234999996</c:v>
                </c:pt>
                <c:pt idx="2975">
                  <c:v>551.04969490000008</c:v>
                </c:pt>
                <c:pt idx="2976">
                  <c:v>551.049531</c:v>
                </c:pt>
                <c:pt idx="2977">
                  <c:v>551.049531</c:v>
                </c:pt>
                <c:pt idx="2978">
                  <c:v>551.049531</c:v>
                </c:pt>
                <c:pt idx="2979">
                  <c:v>551.049531</c:v>
                </c:pt>
                <c:pt idx="2980">
                  <c:v>551.049531</c:v>
                </c:pt>
                <c:pt idx="2981">
                  <c:v>551.03150200000005</c:v>
                </c:pt>
                <c:pt idx="2982">
                  <c:v>550.99395400000003</c:v>
                </c:pt>
                <c:pt idx="2983">
                  <c:v>550.99395400000003</c:v>
                </c:pt>
                <c:pt idx="2984">
                  <c:v>550.99373049999997</c:v>
                </c:pt>
                <c:pt idx="2985">
                  <c:v>550.97575365000012</c:v>
                </c:pt>
                <c:pt idx="2986">
                  <c:v>550.97573130000001</c:v>
                </c:pt>
                <c:pt idx="2987">
                  <c:v>550.97535134999998</c:v>
                </c:pt>
                <c:pt idx="2988">
                  <c:v>550.97525450000001</c:v>
                </c:pt>
                <c:pt idx="2989">
                  <c:v>550.97525450000001</c:v>
                </c:pt>
                <c:pt idx="2990">
                  <c:v>550.97524705000001</c:v>
                </c:pt>
                <c:pt idx="2991">
                  <c:v>550.97524705000001</c:v>
                </c:pt>
                <c:pt idx="2992">
                  <c:v>550.97524705000001</c:v>
                </c:pt>
                <c:pt idx="2993">
                  <c:v>550.97523960000001</c:v>
                </c:pt>
                <c:pt idx="2994">
                  <c:v>550.97523215000001</c:v>
                </c:pt>
                <c:pt idx="2995">
                  <c:v>550.97521725000001</c:v>
                </c:pt>
                <c:pt idx="2996">
                  <c:v>550.97521725000001</c:v>
                </c:pt>
                <c:pt idx="2997">
                  <c:v>550.97521725000001</c:v>
                </c:pt>
                <c:pt idx="2998">
                  <c:v>550.97520235000002</c:v>
                </c:pt>
                <c:pt idx="2999">
                  <c:v>550.97519490000002</c:v>
                </c:pt>
                <c:pt idx="3000">
                  <c:v>550.97519490000002</c:v>
                </c:pt>
                <c:pt idx="3001">
                  <c:v>550.97518000000002</c:v>
                </c:pt>
                <c:pt idx="3002">
                  <c:v>550.97517255000002</c:v>
                </c:pt>
                <c:pt idx="3003">
                  <c:v>550.97517255000002</c:v>
                </c:pt>
                <c:pt idx="3004">
                  <c:v>550.97509060000004</c:v>
                </c:pt>
                <c:pt idx="3005">
                  <c:v>550.97505335000005</c:v>
                </c:pt>
                <c:pt idx="3006">
                  <c:v>550.97503844999994</c:v>
                </c:pt>
                <c:pt idx="3007">
                  <c:v>550.97503099999994</c:v>
                </c:pt>
                <c:pt idx="3008">
                  <c:v>550.97503099999994</c:v>
                </c:pt>
                <c:pt idx="3009">
                  <c:v>550.97503099999994</c:v>
                </c:pt>
                <c:pt idx="3010">
                  <c:v>550.97503099999994</c:v>
                </c:pt>
                <c:pt idx="3011">
                  <c:v>550.97503099999994</c:v>
                </c:pt>
                <c:pt idx="3012">
                  <c:v>550.97503099999994</c:v>
                </c:pt>
                <c:pt idx="3013">
                  <c:v>550.93807900000002</c:v>
                </c:pt>
                <c:pt idx="3014">
                  <c:v>550.93785550000007</c:v>
                </c:pt>
                <c:pt idx="3015">
                  <c:v>550.93785550000007</c:v>
                </c:pt>
                <c:pt idx="3016">
                  <c:v>550.93785550000007</c:v>
                </c:pt>
                <c:pt idx="3017">
                  <c:v>550.93785550000007</c:v>
                </c:pt>
                <c:pt idx="3018">
                  <c:v>550.93785550000007</c:v>
                </c:pt>
                <c:pt idx="3019">
                  <c:v>550.91937949999999</c:v>
                </c:pt>
                <c:pt idx="3020">
                  <c:v>550.91925285000002</c:v>
                </c:pt>
                <c:pt idx="3021">
                  <c:v>550.91923050000003</c:v>
                </c:pt>
                <c:pt idx="3022">
                  <c:v>550.91920070000003</c:v>
                </c:pt>
                <c:pt idx="3023">
                  <c:v>550.91917090000004</c:v>
                </c:pt>
                <c:pt idx="3024">
                  <c:v>550.91916345000004</c:v>
                </c:pt>
                <c:pt idx="3025">
                  <c:v>550.91915600000004</c:v>
                </c:pt>
                <c:pt idx="3026">
                  <c:v>550.91915600000004</c:v>
                </c:pt>
                <c:pt idx="3027">
                  <c:v>550.91915600000004</c:v>
                </c:pt>
                <c:pt idx="3028">
                  <c:v>550.91915600000004</c:v>
                </c:pt>
                <c:pt idx="3029">
                  <c:v>550.90131324999993</c:v>
                </c:pt>
                <c:pt idx="3030">
                  <c:v>550.90067999999997</c:v>
                </c:pt>
                <c:pt idx="3031">
                  <c:v>550.90067999999997</c:v>
                </c:pt>
                <c:pt idx="3032">
                  <c:v>550.88250200000004</c:v>
                </c:pt>
                <c:pt idx="3033">
                  <c:v>550.88250200000004</c:v>
                </c:pt>
                <c:pt idx="3034">
                  <c:v>550.88250200000004</c:v>
                </c:pt>
                <c:pt idx="3035">
                  <c:v>550.88235299999997</c:v>
                </c:pt>
                <c:pt idx="3036">
                  <c:v>550.882204</c:v>
                </c:pt>
                <c:pt idx="3037">
                  <c:v>550.88205500000004</c:v>
                </c:pt>
                <c:pt idx="3038">
                  <c:v>550.88198049999994</c:v>
                </c:pt>
                <c:pt idx="3039">
                  <c:v>550.88198049999994</c:v>
                </c:pt>
                <c:pt idx="3040">
                  <c:v>550.88198049999994</c:v>
                </c:pt>
                <c:pt idx="3041">
                  <c:v>550.88191345000007</c:v>
                </c:pt>
                <c:pt idx="3042">
                  <c:v>550.86357899999996</c:v>
                </c:pt>
                <c:pt idx="3043">
                  <c:v>550.86331825000002</c:v>
                </c:pt>
                <c:pt idx="3044">
                  <c:v>550.86328100000003</c:v>
                </c:pt>
                <c:pt idx="3045">
                  <c:v>550.86328100000003</c:v>
                </c:pt>
                <c:pt idx="3046">
                  <c:v>550.86328100000003</c:v>
                </c:pt>
                <c:pt idx="3047">
                  <c:v>550.86328100000003</c:v>
                </c:pt>
                <c:pt idx="3048">
                  <c:v>550.86328100000003</c:v>
                </c:pt>
                <c:pt idx="3049">
                  <c:v>550.86328100000003</c:v>
                </c:pt>
                <c:pt idx="3050">
                  <c:v>550.86328100000003</c:v>
                </c:pt>
                <c:pt idx="3051">
                  <c:v>550.86328100000003</c:v>
                </c:pt>
                <c:pt idx="3052">
                  <c:v>550.86328100000003</c:v>
                </c:pt>
                <c:pt idx="3053">
                  <c:v>550.86328100000003</c:v>
                </c:pt>
                <c:pt idx="3054">
                  <c:v>550.86328100000003</c:v>
                </c:pt>
                <c:pt idx="3055">
                  <c:v>550.86328100000003</c:v>
                </c:pt>
                <c:pt idx="3056">
                  <c:v>550.84614600000009</c:v>
                </c:pt>
                <c:pt idx="3057">
                  <c:v>550.84614600000009</c:v>
                </c:pt>
                <c:pt idx="3058">
                  <c:v>550.84502850000001</c:v>
                </c:pt>
                <c:pt idx="3059">
                  <c:v>550.84502850000001</c:v>
                </c:pt>
                <c:pt idx="3060">
                  <c:v>550.84502850000001</c:v>
                </c:pt>
                <c:pt idx="3061">
                  <c:v>550.84502850000001</c:v>
                </c:pt>
                <c:pt idx="3062">
                  <c:v>550.84502850000001</c:v>
                </c:pt>
                <c:pt idx="3063">
                  <c:v>550.84465599999999</c:v>
                </c:pt>
                <c:pt idx="3064">
                  <c:v>550.84465599999999</c:v>
                </c:pt>
                <c:pt idx="3065">
                  <c:v>550.826776</c:v>
                </c:pt>
                <c:pt idx="3066">
                  <c:v>550.826776</c:v>
                </c:pt>
                <c:pt idx="3067">
                  <c:v>550.826776</c:v>
                </c:pt>
                <c:pt idx="3068">
                  <c:v>550.826776</c:v>
                </c:pt>
                <c:pt idx="3069">
                  <c:v>550.826776</c:v>
                </c:pt>
                <c:pt idx="3070">
                  <c:v>550.8262545</c:v>
                </c:pt>
                <c:pt idx="3071">
                  <c:v>550.82622470000001</c:v>
                </c:pt>
                <c:pt idx="3072">
                  <c:v>550.82620235000002</c:v>
                </c:pt>
                <c:pt idx="3073">
                  <c:v>550.82620235000002</c:v>
                </c:pt>
                <c:pt idx="3074">
                  <c:v>550.82620235000002</c:v>
                </c:pt>
                <c:pt idx="3075">
                  <c:v>550.82619490000002</c:v>
                </c:pt>
                <c:pt idx="3076">
                  <c:v>550.82619490000002</c:v>
                </c:pt>
                <c:pt idx="3077">
                  <c:v>550.82618000000002</c:v>
                </c:pt>
                <c:pt idx="3078">
                  <c:v>550.82618000000002</c:v>
                </c:pt>
                <c:pt idx="3079">
                  <c:v>550.82618000000002</c:v>
                </c:pt>
                <c:pt idx="3080">
                  <c:v>550.82618000000002</c:v>
                </c:pt>
                <c:pt idx="3081">
                  <c:v>550.82618000000002</c:v>
                </c:pt>
                <c:pt idx="3082">
                  <c:v>550.82618000000002</c:v>
                </c:pt>
                <c:pt idx="3083">
                  <c:v>550.82618000000002</c:v>
                </c:pt>
                <c:pt idx="3084">
                  <c:v>550.82618000000002</c:v>
                </c:pt>
                <c:pt idx="3085">
                  <c:v>550.82618000000002</c:v>
                </c:pt>
                <c:pt idx="3086">
                  <c:v>550.82618000000002</c:v>
                </c:pt>
                <c:pt idx="3087">
                  <c:v>550.82618000000002</c:v>
                </c:pt>
                <c:pt idx="3088">
                  <c:v>550.82618000000002</c:v>
                </c:pt>
                <c:pt idx="3089">
                  <c:v>550.82618000000002</c:v>
                </c:pt>
                <c:pt idx="3090">
                  <c:v>550.82618000000002</c:v>
                </c:pt>
                <c:pt idx="3091">
                  <c:v>550.82618000000002</c:v>
                </c:pt>
                <c:pt idx="3092">
                  <c:v>550.82618000000002</c:v>
                </c:pt>
                <c:pt idx="3093">
                  <c:v>550.82618000000002</c:v>
                </c:pt>
                <c:pt idx="3094">
                  <c:v>550.82618000000002</c:v>
                </c:pt>
                <c:pt idx="3095">
                  <c:v>550.82618000000002</c:v>
                </c:pt>
                <c:pt idx="3096">
                  <c:v>550.82617255000002</c:v>
                </c:pt>
                <c:pt idx="3097">
                  <c:v>550.82610550000004</c:v>
                </c:pt>
                <c:pt idx="3098">
                  <c:v>550.82610550000004</c:v>
                </c:pt>
                <c:pt idx="3099">
                  <c:v>550.82610550000004</c:v>
                </c:pt>
                <c:pt idx="3100">
                  <c:v>550.82610550000004</c:v>
                </c:pt>
                <c:pt idx="3101">
                  <c:v>550.82610550000004</c:v>
                </c:pt>
                <c:pt idx="3102">
                  <c:v>550.82603100000006</c:v>
                </c:pt>
                <c:pt idx="3103">
                  <c:v>550.82603100000006</c:v>
                </c:pt>
                <c:pt idx="3104">
                  <c:v>550.82603100000006</c:v>
                </c:pt>
                <c:pt idx="3105">
                  <c:v>550.82603100000006</c:v>
                </c:pt>
                <c:pt idx="3106">
                  <c:v>550.82603100000006</c:v>
                </c:pt>
                <c:pt idx="3107">
                  <c:v>550.82603100000006</c:v>
                </c:pt>
                <c:pt idx="3108">
                  <c:v>550.82603100000006</c:v>
                </c:pt>
                <c:pt idx="3109">
                  <c:v>550.82603100000006</c:v>
                </c:pt>
                <c:pt idx="3110">
                  <c:v>550.82603100000006</c:v>
                </c:pt>
                <c:pt idx="3111">
                  <c:v>550.82601610000006</c:v>
                </c:pt>
                <c:pt idx="3112">
                  <c:v>550.80740600000001</c:v>
                </c:pt>
                <c:pt idx="3113">
                  <c:v>550.80740600000001</c:v>
                </c:pt>
                <c:pt idx="3114">
                  <c:v>550.77127350000001</c:v>
                </c:pt>
                <c:pt idx="3115">
                  <c:v>550.77067750000003</c:v>
                </c:pt>
                <c:pt idx="3116">
                  <c:v>550.77067750000003</c:v>
                </c:pt>
                <c:pt idx="3117">
                  <c:v>550.77067750000003</c:v>
                </c:pt>
                <c:pt idx="3118">
                  <c:v>550.77045400000009</c:v>
                </c:pt>
                <c:pt idx="3119">
                  <c:v>550.77023050000003</c:v>
                </c:pt>
                <c:pt idx="3120">
                  <c:v>550.77023050000003</c:v>
                </c:pt>
                <c:pt idx="3121">
                  <c:v>550.77015600000004</c:v>
                </c:pt>
                <c:pt idx="3122">
                  <c:v>550.77015600000004</c:v>
                </c:pt>
                <c:pt idx="3123">
                  <c:v>550.77015600000004</c:v>
                </c:pt>
                <c:pt idx="3124">
                  <c:v>550.75168744999996</c:v>
                </c:pt>
                <c:pt idx="3125">
                  <c:v>550.75167999999996</c:v>
                </c:pt>
                <c:pt idx="3126">
                  <c:v>550.75167999999996</c:v>
                </c:pt>
                <c:pt idx="3127">
                  <c:v>550.75167999999996</c:v>
                </c:pt>
                <c:pt idx="3128">
                  <c:v>550.75167999999996</c:v>
                </c:pt>
                <c:pt idx="3129">
                  <c:v>550.75167999999996</c:v>
                </c:pt>
                <c:pt idx="3130">
                  <c:v>550.75167999999996</c:v>
                </c:pt>
                <c:pt idx="3131">
                  <c:v>550.75167999999996</c:v>
                </c:pt>
                <c:pt idx="3132">
                  <c:v>550.75167999999996</c:v>
                </c:pt>
                <c:pt idx="3133">
                  <c:v>550.75160549999998</c:v>
                </c:pt>
                <c:pt idx="3134">
                  <c:v>550.75160549999998</c:v>
                </c:pt>
                <c:pt idx="3135">
                  <c:v>550.73350199999993</c:v>
                </c:pt>
                <c:pt idx="3136">
                  <c:v>550.73290599999996</c:v>
                </c:pt>
                <c:pt idx="3137">
                  <c:v>550.73290599999996</c:v>
                </c:pt>
                <c:pt idx="3138">
                  <c:v>550.71457899999996</c:v>
                </c:pt>
                <c:pt idx="3139">
                  <c:v>550.71457899999996</c:v>
                </c:pt>
                <c:pt idx="3140">
                  <c:v>550.71457899999996</c:v>
                </c:pt>
                <c:pt idx="3141">
                  <c:v>550.71435550000001</c:v>
                </c:pt>
                <c:pt idx="3142">
                  <c:v>550.71435550000001</c:v>
                </c:pt>
                <c:pt idx="3143">
                  <c:v>550.71428100000003</c:v>
                </c:pt>
                <c:pt idx="3144">
                  <c:v>550.71428100000003</c:v>
                </c:pt>
                <c:pt idx="3145">
                  <c:v>550.71428100000003</c:v>
                </c:pt>
                <c:pt idx="3146">
                  <c:v>550.71428100000003</c:v>
                </c:pt>
                <c:pt idx="3147">
                  <c:v>550.71428100000003</c:v>
                </c:pt>
                <c:pt idx="3148">
                  <c:v>550.69565599999999</c:v>
                </c:pt>
                <c:pt idx="3149">
                  <c:v>550.69565599999999</c:v>
                </c:pt>
                <c:pt idx="3150">
                  <c:v>550.69565599999999</c:v>
                </c:pt>
                <c:pt idx="3151">
                  <c:v>550.67732899999999</c:v>
                </c:pt>
                <c:pt idx="3152">
                  <c:v>550.67718745000002</c:v>
                </c:pt>
                <c:pt idx="3153">
                  <c:v>550.67718000000002</c:v>
                </c:pt>
                <c:pt idx="3154">
                  <c:v>550.67718000000002</c:v>
                </c:pt>
                <c:pt idx="3155">
                  <c:v>550.67718000000002</c:v>
                </c:pt>
                <c:pt idx="3156">
                  <c:v>550.67710550000004</c:v>
                </c:pt>
                <c:pt idx="3157">
                  <c:v>550.65885300000002</c:v>
                </c:pt>
                <c:pt idx="3158">
                  <c:v>550.6584805</c:v>
                </c:pt>
                <c:pt idx="3159">
                  <c:v>550.65840600000001</c:v>
                </c:pt>
                <c:pt idx="3160">
                  <c:v>550.6546810000001</c:v>
                </c:pt>
                <c:pt idx="3161">
                  <c:v>550.63978099999997</c:v>
                </c:pt>
                <c:pt idx="3162">
                  <c:v>550.63978099999997</c:v>
                </c:pt>
                <c:pt idx="3163">
                  <c:v>550.63978099999997</c:v>
                </c:pt>
                <c:pt idx="3164">
                  <c:v>550.63978099999997</c:v>
                </c:pt>
                <c:pt idx="3165">
                  <c:v>550.63978099999997</c:v>
                </c:pt>
                <c:pt idx="3166">
                  <c:v>550.63978099999997</c:v>
                </c:pt>
                <c:pt idx="3167">
                  <c:v>550.6213795000001</c:v>
                </c:pt>
                <c:pt idx="3168">
                  <c:v>550.62115600000004</c:v>
                </c:pt>
                <c:pt idx="3169">
                  <c:v>550.62115600000004</c:v>
                </c:pt>
                <c:pt idx="3170">
                  <c:v>550.60268000000008</c:v>
                </c:pt>
                <c:pt idx="3171">
                  <c:v>550.60268000000008</c:v>
                </c:pt>
                <c:pt idx="3172">
                  <c:v>550.60268000000008</c:v>
                </c:pt>
                <c:pt idx="3173">
                  <c:v>550.60268000000008</c:v>
                </c:pt>
                <c:pt idx="3174">
                  <c:v>550.60268000000008</c:v>
                </c:pt>
                <c:pt idx="3175">
                  <c:v>550.60268000000008</c:v>
                </c:pt>
                <c:pt idx="3176">
                  <c:v>550.60268000000008</c:v>
                </c:pt>
                <c:pt idx="3177">
                  <c:v>550.60268000000008</c:v>
                </c:pt>
                <c:pt idx="3178">
                  <c:v>550.60268000000008</c:v>
                </c:pt>
                <c:pt idx="3179">
                  <c:v>550.60268000000008</c:v>
                </c:pt>
                <c:pt idx="3180">
                  <c:v>550.58405499999992</c:v>
                </c:pt>
                <c:pt idx="3181">
                  <c:v>550.5283290000001</c:v>
                </c:pt>
                <c:pt idx="3182">
                  <c:v>550.52810550000004</c:v>
                </c:pt>
                <c:pt idx="3183">
                  <c:v>550.49078099999997</c:v>
                </c:pt>
                <c:pt idx="3184">
                  <c:v>550.49078099999997</c:v>
                </c:pt>
                <c:pt idx="3185">
                  <c:v>550.49078099999997</c:v>
                </c:pt>
                <c:pt idx="3186">
                  <c:v>550.47248380000008</c:v>
                </c:pt>
                <c:pt idx="3187">
                  <c:v>550.47245399999997</c:v>
                </c:pt>
                <c:pt idx="3188">
                  <c:v>550.47245399999997</c:v>
                </c:pt>
                <c:pt idx="3189">
                  <c:v>550.47245399999997</c:v>
                </c:pt>
                <c:pt idx="3190">
                  <c:v>550.47245399999997</c:v>
                </c:pt>
                <c:pt idx="3191">
                  <c:v>550.47245399999997</c:v>
                </c:pt>
                <c:pt idx="3192">
                  <c:v>550.26728100000003</c:v>
                </c:pt>
                <c:pt idx="3193">
                  <c:v>550.11828100000002</c:v>
                </c:pt>
                <c:pt idx="3194">
                  <c:v>543.28521549999994</c:v>
                </c:pt>
                <c:pt idx="3195">
                  <c:v>543.28521549999994</c:v>
                </c:pt>
                <c:pt idx="3196">
                  <c:v>543.28521549999994</c:v>
                </c:pt>
                <c:pt idx="3197">
                  <c:v>543.21071550000011</c:v>
                </c:pt>
                <c:pt idx="3198">
                  <c:v>541.61820349999994</c:v>
                </c:pt>
                <c:pt idx="3199">
                  <c:v>540.32092009999997</c:v>
                </c:pt>
                <c:pt idx="3200">
                  <c:v>536.75195289999999</c:v>
                </c:pt>
                <c:pt idx="3201">
                  <c:v>536.60297524999999</c:v>
                </c:pt>
                <c:pt idx="3202">
                  <c:v>536.6029231</c:v>
                </c:pt>
                <c:pt idx="3203">
                  <c:v>511.23762500000004</c:v>
                </c:pt>
                <c:pt idx="3204">
                  <c:v>511.23762500000004</c:v>
                </c:pt>
                <c:pt idx="3205">
                  <c:v>511.23762500000004</c:v>
                </c:pt>
                <c:pt idx="3206">
                  <c:v>511.23762500000004</c:v>
                </c:pt>
                <c:pt idx="3207">
                  <c:v>511.23762500000004</c:v>
                </c:pt>
                <c:pt idx="3208">
                  <c:v>511.23762500000004</c:v>
                </c:pt>
                <c:pt idx="3209">
                  <c:v>511.23762500000004</c:v>
                </c:pt>
                <c:pt idx="3210">
                  <c:v>511.23762500000004</c:v>
                </c:pt>
                <c:pt idx="3211">
                  <c:v>511.23762500000004</c:v>
                </c:pt>
                <c:pt idx="3212">
                  <c:v>511.16312499999998</c:v>
                </c:pt>
                <c:pt idx="3213">
                  <c:v>511.16312499999998</c:v>
                </c:pt>
                <c:pt idx="3214">
                  <c:v>497.21299999999997</c:v>
                </c:pt>
                <c:pt idx="3215">
                  <c:v>497.21299999999997</c:v>
                </c:pt>
                <c:pt idx="3216">
                  <c:v>497.21299999999997</c:v>
                </c:pt>
                <c:pt idx="3217">
                  <c:v>497.21299999999997</c:v>
                </c:pt>
                <c:pt idx="3218">
                  <c:v>497.21299999999997</c:v>
                </c:pt>
                <c:pt idx="3219">
                  <c:v>497.21299999999997</c:v>
                </c:pt>
                <c:pt idx="3220">
                  <c:v>497.21299999999997</c:v>
                </c:pt>
                <c:pt idx="3221">
                  <c:v>497.21299999999997</c:v>
                </c:pt>
                <c:pt idx="3222">
                  <c:v>497.08885320000002</c:v>
                </c:pt>
                <c:pt idx="3223">
                  <c:v>497.06400000000002</c:v>
                </c:pt>
                <c:pt idx="3224">
                  <c:v>497.06400000000002</c:v>
                </c:pt>
                <c:pt idx="3225">
                  <c:v>497.06400000000002</c:v>
                </c:pt>
                <c:pt idx="3226">
                  <c:v>497.06400000000002</c:v>
                </c:pt>
                <c:pt idx="3227">
                  <c:v>497.06400000000002</c:v>
                </c:pt>
                <c:pt idx="3228">
                  <c:v>497.06400000000002</c:v>
                </c:pt>
                <c:pt idx="3229">
                  <c:v>497.06400000000002</c:v>
                </c:pt>
                <c:pt idx="3230">
                  <c:v>497.03919149999996</c:v>
                </c:pt>
                <c:pt idx="3231">
                  <c:v>497.03918404999996</c:v>
                </c:pt>
                <c:pt idx="3232">
                  <c:v>497.03914679999997</c:v>
                </c:pt>
                <c:pt idx="3233">
                  <c:v>496.98949999999996</c:v>
                </c:pt>
                <c:pt idx="3234">
                  <c:v>496.98205000000002</c:v>
                </c:pt>
                <c:pt idx="3235">
                  <c:v>496.98205000000002</c:v>
                </c:pt>
                <c:pt idx="3236">
                  <c:v>496.93980849999997</c:v>
                </c:pt>
                <c:pt idx="3237">
                  <c:v>496.89022130000001</c:v>
                </c:pt>
                <c:pt idx="3238">
                  <c:v>496.84050000000002</c:v>
                </c:pt>
                <c:pt idx="3239">
                  <c:v>496.84050000000002</c:v>
                </c:pt>
                <c:pt idx="3240">
                  <c:v>496.84050000000002</c:v>
                </c:pt>
                <c:pt idx="3241">
                  <c:v>496.84050000000002</c:v>
                </c:pt>
                <c:pt idx="3242">
                  <c:v>496.84050000000002</c:v>
                </c:pt>
                <c:pt idx="3243">
                  <c:v>496.84050000000002</c:v>
                </c:pt>
                <c:pt idx="3244">
                  <c:v>496.84050000000002</c:v>
                </c:pt>
                <c:pt idx="3245">
                  <c:v>496.81569150000007</c:v>
                </c:pt>
                <c:pt idx="3246">
                  <c:v>496.81569150000007</c:v>
                </c:pt>
                <c:pt idx="3247">
                  <c:v>496.81569150000007</c:v>
                </c:pt>
                <c:pt idx="3248">
                  <c:v>496.81564679999997</c:v>
                </c:pt>
                <c:pt idx="3249">
                  <c:v>496.79082339999997</c:v>
                </c:pt>
                <c:pt idx="3250">
                  <c:v>496.79080849999997</c:v>
                </c:pt>
                <c:pt idx="3251">
                  <c:v>496.79080849999997</c:v>
                </c:pt>
                <c:pt idx="3252">
                  <c:v>496.79080105000003</c:v>
                </c:pt>
                <c:pt idx="3253">
                  <c:v>496.76602235000001</c:v>
                </c:pt>
                <c:pt idx="3254">
                  <c:v>496.76601490000002</c:v>
                </c:pt>
                <c:pt idx="3255">
                  <c:v>496.76600000000008</c:v>
                </c:pt>
                <c:pt idx="3256">
                  <c:v>496.76600000000008</c:v>
                </c:pt>
                <c:pt idx="3257">
                  <c:v>496.76600000000008</c:v>
                </c:pt>
                <c:pt idx="3258">
                  <c:v>496.76600000000008</c:v>
                </c:pt>
                <c:pt idx="3259">
                  <c:v>496.76600000000008</c:v>
                </c:pt>
                <c:pt idx="3260">
                  <c:v>496.76600000000008</c:v>
                </c:pt>
                <c:pt idx="3261">
                  <c:v>496.76600000000008</c:v>
                </c:pt>
                <c:pt idx="3262">
                  <c:v>496.7412511</c:v>
                </c:pt>
                <c:pt idx="3263">
                  <c:v>496.74121384999995</c:v>
                </c:pt>
                <c:pt idx="3264">
                  <c:v>496.74121384999995</c:v>
                </c:pt>
                <c:pt idx="3265">
                  <c:v>496.74121384999995</c:v>
                </c:pt>
                <c:pt idx="3266">
                  <c:v>496.74120640000001</c:v>
                </c:pt>
                <c:pt idx="3267">
                  <c:v>496.74119895000001</c:v>
                </c:pt>
                <c:pt idx="3268">
                  <c:v>496.74119150000001</c:v>
                </c:pt>
                <c:pt idx="3269">
                  <c:v>496.74119150000001</c:v>
                </c:pt>
                <c:pt idx="3270">
                  <c:v>496.74119150000001</c:v>
                </c:pt>
                <c:pt idx="3271">
                  <c:v>496.74119150000001</c:v>
                </c:pt>
                <c:pt idx="3272">
                  <c:v>496.74119150000001</c:v>
                </c:pt>
                <c:pt idx="3273">
                  <c:v>496.74119150000001</c:v>
                </c:pt>
                <c:pt idx="3274">
                  <c:v>496.74119150000001</c:v>
                </c:pt>
                <c:pt idx="3275">
                  <c:v>496.74119150000001</c:v>
                </c:pt>
                <c:pt idx="3276">
                  <c:v>496.74119150000001</c:v>
                </c:pt>
                <c:pt idx="3277">
                  <c:v>496.74119150000001</c:v>
                </c:pt>
                <c:pt idx="3278">
                  <c:v>496.74119150000001</c:v>
                </c:pt>
                <c:pt idx="3279">
                  <c:v>496.74119150000001</c:v>
                </c:pt>
                <c:pt idx="3280">
                  <c:v>496.74119150000001</c:v>
                </c:pt>
                <c:pt idx="3281">
                  <c:v>496.74119150000001</c:v>
                </c:pt>
                <c:pt idx="3282">
                  <c:v>496.74119150000001</c:v>
                </c:pt>
                <c:pt idx="3283">
                  <c:v>496.74119150000001</c:v>
                </c:pt>
                <c:pt idx="3284">
                  <c:v>496.74119150000001</c:v>
                </c:pt>
                <c:pt idx="3285">
                  <c:v>496.74119150000001</c:v>
                </c:pt>
                <c:pt idx="3286">
                  <c:v>496.74118405000002</c:v>
                </c:pt>
                <c:pt idx="3287">
                  <c:v>496.74118405000002</c:v>
                </c:pt>
                <c:pt idx="3288">
                  <c:v>496.74117660000007</c:v>
                </c:pt>
                <c:pt idx="3289">
                  <c:v>496.74117660000007</c:v>
                </c:pt>
                <c:pt idx="3290">
                  <c:v>496.74117660000007</c:v>
                </c:pt>
                <c:pt idx="3291">
                  <c:v>496.74117660000007</c:v>
                </c:pt>
                <c:pt idx="3292">
                  <c:v>496.74116914999996</c:v>
                </c:pt>
                <c:pt idx="3293">
                  <c:v>496.74116914999996</c:v>
                </c:pt>
                <c:pt idx="3294">
                  <c:v>496.74116914999996</c:v>
                </c:pt>
                <c:pt idx="3295">
                  <c:v>496.74116914999996</c:v>
                </c:pt>
                <c:pt idx="3296">
                  <c:v>496.74114680000002</c:v>
                </c:pt>
                <c:pt idx="3297">
                  <c:v>496.74114680000002</c:v>
                </c:pt>
                <c:pt idx="3298">
                  <c:v>496.74114680000002</c:v>
                </c:pt>
                <c:pt idx="3299">
                  <c:v>496.74113935000003</c:v>
                </c:pt>
                <c:pt idx="3300">
                  <c:v>496.74113935000003</c:v>
                </c:pt>
                <c:pt idx="3301">
                  <c:v>496.74112444999997</c:v>
                </c:pt>
                <c:pt idx="3302">
                  <c:v>496.71633829999996</c:v>
                </c:pt>
                <c:pt idx="3303">
                  <c:v>496.71633085000002</c:v>
                </c:pt>
                <c:pt idx="3304">
                  <c:v>496.71623400000004</c:v>
                </c:pt>
                <c:pt idx="3305">
                  <c:v>496.69150000000002</c:v>
                </c:pt>
                <c:pt idx="3306">
                  <c:v>496.69150000000002</c:v>
                </c:pt>
                <c:pt idx="3307">
                  <c:v>496.69150000000002</c:v>
                </c:pt>
                <c:pt idx="3308">
                  <c:v>496.69150000000002</c:v>
                </c:pt>
                <c:pt idx="3309">
                  <c:v>496.69150000000002</c:v>
                </c:pt>
                <c:pt idx="3310">
                  <c:v>496.69149255000002</c:v>
                </c:pt>
                <c:pt idx="3311">
                  <c:v>496.66671385000001</c:v>
                </c:pt>
                <c:pt idx="3312">
                  <c:v>496.66669149999996</c:v>
                </c:pt>
                <c:pt idx="3313">
                  <c:v>496.66668405000001</c:v>
                </c:pt>
                <c:pt idx="3314">
                  <c:v>496.66668405000001</c:v>
                </c:pt>
                <c:pt idx="3315">
                  <c:v>496.66666915000002</c:v>
                </c:pt>
                <c:pt idx="3316">
                  <c:v>496.66666915000002</c:v>
                </c:pt>
                <c:pt idx="3317">
                  <c:v>496.66665424999997</c:v>
                </c:pt>
                <c:pt idx="3318">
                  <c:v>496.66665424999997</c:v>
                </c:pt>
                <c:pt idx="3319">
                  <c:v>496.66665424999997</c:v>
                </c:pt>
                <c:pt idx="3320">
                  <c:v>496.66663935000003</c:v>
                </c:pt>
                <c:pt idx="3321">
                  <c:v>496.66663935000003</c:v>
                </c:pt>
                <c:pt idx="3322">
                  <c:v>496.66663935000003</c:v>
                </c:pt>
                <c:pt idx="3323">
                  <c:v>496.66663935000003</c:v>
                </c:pt>
                <c:pt idx="3324">
                  <c:v>496.66663190000003</c:v>
                </c:pt>
                <c:pt idx="3325">
                  <c:v>496.66663190000003</c:v>
                </c:pt>
                <c:pt idx="3326">
                  <c:v>496.66663190000003</c:v>
                </c:pt>
                <c:pt idx="3327">
                  <c:v>496.66661699999997</c:v>
                </c:pt>
                <c:pt idx="3328">
                  <c:v>496.66661699999997</c:v>
                </c:pt>
                <c:pt idx="3329">
                  <c:v>496.66661699999997</c:v>
                </c:pt>
                <c:pt idx="3330">
                  <c:v>496.66661699999997</c:v>
                </c:pt>
                <c:pt idx="3331">
                  <c:v>496.66661699999997</c:v>
                </c:pt>
                <c:pt idx="3332">
                  <c:v>496.66661699999997</c:v>
                </c:pt>
                <c:pt idx="3333">
                  <c:v>496.66661699999997</c:v>
                </c:pt>
                <c:pt idx="3334">
                  <c:v>496.66661699999997</c:v>
                </c:pt>
                <c:pt idx="3335">
                  <c:v>496.66661699999997</c:v>
                </c:pt>
                <c:pt idx="3336">
                  <c:v>496.66661699999997</c:v>
                </c:pt>
                <c:pt idx="3337">
                  <c:v>496.66661699999997</c:v>
                </c:pt>
                <c:pt idx="3338">
                  <c:v>496.66661699999997</c:v>
                </c:pt>
                <c:pt idx="3339">
                  <c:v>496.66661699999997</c:v>
                </c:pt>
                <c:pt idx="3340">
                  <c:v>496.66661699999997</c:v>
                </c:pt>
                <c:pt idx="3341">
                  <c:v>496.66661699999997</c:v>
                </c:pt>
                <c:pt idx="3342">
                  <c:v>496.66661699999997</c:v>
                </c:pt>
                <c:pt idx="3343">
                  <c:v>496.66661699999997</c:v>
                </c:pt>
                <c:pt idx="3344">
                  <c:v>496.66661699999997</c:v>
                </c:pt>
                <c:pt idx="3345">
                  <c:v>496.66661699999997</c:v>
                </c:pt>
                <c:pt idx="3346">
                  <c:v>496.66654250000005</c:v>
                </c:pt>
                <c:pt idx="3347">
                  <c:v>496.64806650000003</c:v>
                </c:pt>
                <c:pt idx="3348">
                  <c:v>496.64246409999998</c:v>
                </c:pt>
                <c:pt idx="3349">
                  <c:v>496.64243430000005</c:v>
                </c:pt>
                <c:pt idx="3350">
                  <c:v>496.64239705</c:v>
                </c:pt>
                <c:pt idx="3351">
                  <c:v>496.64238960000006</c:v>
                </c:pt>
                <c:pt idx="3352">
                  <c:v>496.64238960000006</c:v>
                </c:pt>
                <c:pt idx="3353">
                  <c:v>496.64180850000002</c:v>
                </c:pt>
                <c:pt idx="3354">
                  <c:v>496.61704469999995</c:v>
                </c:pt>
                <c:pt idx="3355">
                  <c:v>496.61700744999996</c:v>
                </c:pt>
                <c:pt idx="3356">
                  <c:v>496.61699999999996</c:v>
                </c:pt>
                <c:pt idx="3357">
                  <c:v>496.59222129999995</c:v>
                </c:pt>
                <c:pt idx="3358">
                  <c:v>496.59221385000001</c:v>
                </c:pt>
                <c:pt idx="3359">
                  <c:v>496.59219895000001</c:v>
                </c:pt>
                <c:pt idx="3360">
                  <c:v>496.59219150000007</c:v>
                </c:pt>
                <c:pt idx="3361">
                  <c:v>496.59219150000007</c:v>
                </c:pt>
                <c:pt idx="3362">
                  <c:v>496.59219150000007</c:v>
                </c:pt>
                <c:pt idx="3363">
                  <c:v>496.59219150000007</c:v>
                </c:pt>
                <c:pt idx="3364">
                  <c:v>496.59219150000007</c:v>
                </c:pt>
                <c:pt idx="3365">
                  <c:v>496.59219150000007</c:v>
                </c:pt>
                <c:pt idx="3366">
                  <c:v>496.59219150000007</c:v>
                </c:pt>
                <c:pt idx="3367">
                  <c:v>496.59219150000007</c:v>
                </c:pt>
                <c:pt idx="3368">
                  <c:v>496.59219150000007</c:v>
                </c:pt>
                <c:pt idx="3369">
                  <c:v>496.59219150000007</c:v>
                </c:pt>
                <c:pt idx="3370">
                  <c:v>496.59219150000007</c:v>
                </c:pt>
                <c:pt idx="3371">
                  <c:v>496.59219150000007</c:v>
                </c:pt>
                <c:pt idx="3372">
                  <c:v>496.59219150000007</c:v>
                </c:pt>
                <c:pt idx="3373">
                  <c:v>496.59219150000007</c:v>
                </c:pt>
                <c:pt idx="3374">
                  <c:v>496.59219150000007</c:v>
                </c:pt>
                <c:pt idx="3375">
                  <c:v>496.59219150000007</c:v>
                </c:pt>
                <c:pt idx="3376">
                  <c:v>496.59219150000007</c:v>
                </c:pt>
                <c:pt idx="3377">
                  <c:v>496.59219150000007</c:v>
                </c:pt>
                <c:pt idx="3378">
                  <c:v>496.59219150000007</c:v>
                </c:pt>
                <c:pt idx="3379">
                  <c:v>496.59219150000007</c:v>
                </c:pt>
                <c:pt idx="3380">
                  <c:v>496.59219150000007</c:v>
                </c:pt>
                <c:pt idx="3381">
                  <c:v>496.59219150000007</c:v>
                </c:pt>
                <c:pt idx="3382">
                  <c:v>496.59219150000007</c:v>
                </c:pt>
                <c:pt idx="3383">
                  <c:v>496.59219150000007</c:v>
                </c:pt>
                <c:pt idx="3384">
                  <c:v>496.59219150000007</c:v>
                </c:pt>
                <c:pt idx="3385">
                  <c:v>496.59219150000007</c:v>
                </c:pt>
                <c:pt idx="3386">
                  <c:v>496.59219150000007</c:v>
                </c:pt>
                <c:pt idx="3387">
                  <c:v>496.59219150000007</c:v>
                </c:pt>
                <c:pt idx="3388">
                  <c:v>496.59219150000007</c:v>
                </c:pt>
                <c:pt idx="3389">
                  <c:v>496.59219150000007</c:v>
                </c:pt>
                <c:pt idx="3390">
                  <c:v>496.59219150000007</c:v>
                </c:pt>
                <c:pt idx="3391">
                  <c:v>496.59219150000007</c:v>
                </c:pt>
                <c:pt idx="3392">
                  <c:v>496.59219150000007</c:v>
                </c:pt>
                <c:pt idx="3393">
                  <c:v>496.59219150000007</c:v>
                </c:pt>
                <c:pt idx="3394">
                  <c:v>496.59217659999996</c:v>
                </c:pt>
                <c:pt idx="3395">
                  <c:v>496.59217659999996</c:v>
                </c:pt>
                <c:pt idx="3396">
                  <c:v>496.59216915000002</c:v>
                </c:pt>
                <c:pt idx="3397">
                  <c:v>496.59216915000002</c:v>
                </c:pt>
                <c:pt idx="3398">
                  <c:v>496.59216170000002</c:v>
                </c:pt>
                <c:pt idx="3399">
                  <c:v>496.59216170000002</c:v>
                </c:pt>
                <c:pt idx="3400">
                  <c:v>496.59215425000002</c:v>
                </c:pt>
                <c:pt idx="3401">
                  <c:v>496.59215425000002</c:v>
                </c:pt>
                <c:pt idx="3402">
                  <c:v>496.59213189999997</c:v>
                </c:pt>
                <c:pt idx="3403">
                  <c:v>496.59212445000003</c:v>
                </c:pt>
                <c:pt idx="3404">
                  <c:v>496.59212445000003</c:v>
                </c:pt>
                <c:pt idx="3405">
                  <c:v>496.59204249999999</c:v>
                </c:pt>
                <c:pt idx="3406">
                  <c:v>496.59204249999999</c:v>
                </c:pt>
                <c:pt idx="3407">
                  <c:v>496.59204249999999</c:v>
                </c:pt>
                <c:pt idx="3408">
                  <c:v>496.59204249999999</c:v>
                </c:pt>
                <c:pt idx="3409">
                  <c:v>496.59204249999999</c:v>
                </c:pt>
                <c:pt idx="3410">
                  <c:v>496.56791940000005</c:v>
                </c:pt>
                <c:pt idx="3411">
                  <c:v>496.56740535000006</c:v>
                </c:pt>
                <c:pt idx="3412">
                  <c:v>496.56738300000001</c:v>
                </c:pt>
                <c:pt idx="3413">
                  <c:v>496.56738300000001</c:v>
                </c:pt>
                <c:pt idx="3414">
                  <c:v>496.56738300000001</c:v>
                </c:pt>
                <c:pt idx="3415">
                  <c:v>496.56738300000001</c:v>
                </c:pt>
                <c:pt idx="3416">
                  <c:v>496.56738300000001</c:v>
                </c:pt>
                <c:pt idx="3417">
                  <c:v>496.56738300000001</c:v>
                </c:pt>
                <c:pt idx="3418">
                  <c:v>496.56738300000001</c:v>
                </c:pt>
                <c:pt idx="3419">
                  <c:v>496.56738300000001</c:v>
                </c:pt>
                <c:pt idx="3420">
                  <c:v>496.56738300000001</c:v>
                </c:pt>
                <c:pt idx="3421">
                  <c:v>496.56738300000001</c:v>
                </c:pt>
                <c:pt idx="3422">
                  <c:v>496.56738300000001</c:v>
                </c:pt>
                <c:pt idx="3423">
                  <c:v>496.56738300000001</c:v>
                </c:pt>
                <c:pt idx="3424">
                  <c:v>496.56738300000001</c:v>
                </c:pt>
                <c:pt idx="3425">
                  <c:v>496.56738300000001</c:v>
                </c:pt>
                <c:pt idx="3426">
                  <c:v>496.56738300000001</c:v>
                </c:pt>
                <c:pt idx="3427">
                  <c:v>496.56736064999996</c:v>
                </c:pt>
                <c:pt idx="3428">
                  <c:v>496.56735319999996</c:v>
                </c:pt>
                <c:pt idx="3429">
                  <c:v>496.56735319999996</c:v>
                </c:pt>
                <c:pt idx="3430">
                  <c:v>496.56734575000002</c:v>
                </c:pt>
                <c:pt idx="3431">
                  <c:v>496.56733085000002</c:v>
                </c:pt>
                <c:pt idx="3432">
                  <c:v>496.56730849999997</c:v>
                </c:pt>
                <c:pt idx="3433">
                  <c:v>496.54250000000008</c:v>
                </c:pt>
                <c:pt idx="3434">
                  <c:v>496.54250000000008</c:v>
                </c:pt>
                <c:pt idx="3435">
                  <c:v>496.51769150000001</c:v>
                </c:pt>
                <c:pt idx="3436">
                  <c:v>496.51769150000001</c:v>
                </c:pt>
                <c:pt idx="3437">
                  <c:v>496.51769150000001</c:v>
                </c:pt>
                <c:pt idx="3438">
                  <c:v>496.51769150000001</c:v>
                </c:pt>
                <c:pt idx="3439">
                  <c:v>496.51769150000001</c:v>
                </c:pt>
                <c:pt idx="3440">
                  <c:v>496.51769150000001</c:v>
                </c:pt>
                <c:pt idx="3441">
                  <c:v>496.51769150000001</c:v>
                </c:pt>
                <c:pt idx="3442">
                  <c:v>496.51769150000001</c:v>
                </c:pt>
                <c:pt idx="3443">
                  <c:v>496.51769150000001</c:v>
                </c:pt>
                <c:pt idx="3444">
                  <c:v>496.51769150000001</c:v>
                </c:pt>
                <c:pt idx="3445">
                  <c:v>496.51769150000001</c:v>
                </c:pt>
                <c:pt idx="3446">
                  <c:v>496.51765425000002</c:v>
                </c:pt>
                <c:pt idx="3447">
                  <c:v>496.49340450000005</c:v>
                </c:pt>
                <c:pt idx="3448">
                  <c:v>496.49280850000008</c:v>
                </c:pt>
                <c:pt idx="3449">
                  <c:v>496.49280850000008</c:v>
                </c:pt>
                <c:pt idx="3450">
                  <c:v>496.49280850000008</c:v>
                </c:pt>
                <c:pt idx="3451">
                  <c:v>496.49280850000008</c:v>
                </c:pt>
                <c:pt idx="3452">
                  <c:v>496.49280850000008</c:v>
                </c:pt>
                <c:pt idx="3453">
                  <c:v>496.49280850000008</c:v>
                </c:pt>
                <c:pt idx="3454">
                  <c:v>496.49280850000008</c:v>
                </c:pt>
                <c:pt idx="3455">
                  <c:v>496.49280850000008</c:v>
                </c:pt>
                <c:pt idx="3456">
                  <c:v>496.49280850000008</c:v>
                </c:pt>
                <c:pt idx="3457">
                  <c:v>496.46800000000002</c:v>
                </c:pt>
                <c:pt idx="3458">
                  <c:v>496.46800000000002</c:v>
                </c:pt>
                <c:pt idx="3459">
                  <c:v>496.44319895000007</c:v>
                </c:pt>
                <c:pt idx="3460">
                  <c:v>496.44319149999995</c:v>
                </c:pt>
                <c:pt idx="3461">
                  <c:v>496.44319149999995</c:v>
                </c:pt>
                <c:pt idx="3462">
                  <c:v>496.44319149999995</c:v>
                </c:pt>
                <c:pt idx="3463">
                  <c:v>496.44319149999995</c:v>
                </c:pt>
                <c:pt idx="3464">
                  <c:v>496.44319149999995</c:v>
                </c:pt>
                <c:pt idx="3465">
                  <c:v>496.44319149999995</c:v>
                </c:pt>
                <c:pt idx="3466">
                  <c:v>496.44318405000001</c:v>
                </c:pt>
                <c:pt idx="3467">
                  <c:v>496.44311700000009</c:v>
                </c:pt>
                <c:pt idx="3468">
                  <c:v>496.4189045</c:v>
                </c:pt>
                <c:pt idx="3469">
                  <c:v>496.41830850000002</c:v>
                </c:pt>
                <c:pt idx="3470">
                  <c:v>496.41830850000002</c:v>
                </c:pt>
                <c:pt idx="3471">
                  <c:v>496.41830850000002</c:v>
                </c:pt>
                <c:pt idx="3472">
                  <c:v>496.41830850000002</c:v>
                </c:pt>
                <c:pt idx="3473">
                  <c:v>496.41830850000002</c:v>
                </c:pt>
                <c:pt idx="3474">
                  <c:v>496.41830850000002</c:v>
                </c:pt>
                <c:pt idx="3475">
                  <c:v>496.41830850000002</c:v>
                </c:pt>
                <c:pt idx="3476">
                  <c:v>496.41830850000002</c:v>
                </c:pt>
                <c:pt idx="3477">
                  <c:v>496.41830850000002</c:v>
                </c:pt>
                <c:pt idx="3478">
                  <c:v>496.41823399999998</c:v>
                </c:pt>
                <c:pt idx="3479">
                  <c:v>496.41823399999998</c:v>
                </c:pt>
                <c:pt idx="3480">
                  <c:v>496.36861700000003</c:v>
                </c:pt>
                <c:pt idx="3481">
                  <c:v>496.34388300000001</c:v>
                </c:pt>
                <c:pt idx="3482">
                  <c:v>496.34388300000001</c:v>
                </c:pt>
                <c:pt idx="3483">
                  <c:v>496.34388300000001</c:v>
                </c:pt>
                <c:pt idx="3484">
                  <c:v>496.34388300000001</c:v>
                </c:pt>
                <c:pt idx="3485">
                  <c:v>496.34388300000001</c:v>
                </c:pt>
                <c:pt idx="3486">
                  <c:v>496.34388300000001</c:v>
                </c:pt>
                <c:pt idx="3487">
                  <c:v>496.34388300000001</c:v>
                </c:pt>
                <c:pt idx="3488">
                  <c:v>496.34388300000001</c:v>
                </c:pt>
                <c:pt idx="3489">
                  <c:v>496.34388300000001</c:v>
                </c:pt>
                <c:pt idx="3490">
                  <c:v>496.34388300000001</c:v>
                </c:pt>
                <c:pt idx="3491">
                  <c:v>496.34388300000001</c:v>
                </c:pt>
                <c:pt idx="3492">
                  <c:v>496.34380849999997</c:v>
                </c:pt>
                <c:pt idx="3493">
                  <c:v>496.29419150000001</c:v>
                </c:pt>
                <c:pt idx="3494">
                  <c:v>496.29410954999997</c:v>
                </c:pt>
                <c:pt idx="3495">
                  <c:v>496.26930850000002</c:v>
                </c:pt>
                <c:pt idx="3496">
                  <c:v>496.26930850000002</c:v>
                </c:pt>
                <c:pt idx="3497">
                  <c:v>496.26930850000002</c:v>
                </c:pt>
                <c:pt idx="3498">
                  <c:v>496.26930850000002</c:v>
                </c:pt>
                <c:pt idx="3499">
                  <c:v>496.19480850000002</c:v>
                </c:pt>
                <c:pt idx="3500">
                  <c:v>496.12030849999996</c:v>
                </c:pt>
                <c:pt idx="3501">
                  <c:v>495.97130850000002</c:v>
                </c:pt>
                <c:pt idx="3502">
                  <c:v>495.97130850000002</c:v>
                </c:pt>
                <c:pt idx="3503">
                  <c:v>495.91476300000005</c:v>
                </c:pt>
                <c:pt idx="3504">
                  <c:v>495.87766200000004</c:v>
                </c:pt>
                <c:pt idx="3505">
                  <c:v>495.80323650000003</c:v>
                </c:pt>
                <c:pt idx="3506">
                  <c:v>495.80323650000003</c:v>
                </c:pt>
                <c:pt idx="3507">
                  <c:v>495.7975447</c:v>
                </c:pt>
                <c:pt idx="3508">
                  <c:v>495.7975447</c:v>
                </c:pt>
                <c:pt idx="3509">
                  <c:v>495.79750000000001</c:v>
                </c:pt>
                <c:pt idx="3510">
                  <c:v>495.74348750000001</c:v>
                </c:pt>
                <c:pt idx="3511">
                  <c:v>495.71778499999999</c:v>
                </c:pt>
                <c:pt idx="3512">
                  <c:v>495.67330850000008</c:v>
                </c:pt>
                <c:pt idx="3513">
                  <c:v>495.669062</c:v>
                </c:pt>
                <c:pt idx="3514">
                  <c:v>495.53682450000002</c:v>
                </c:pt>
                <c:pt idx="3515">
                  <c:v>495.5366755</c:v>
                </c:pt>
                <c:pt idx="3516">
                  <c:v>495.46791199999996</c:v>
                </c:pt>
                <c:pt idx="3517">
                  <c:v>466.78042050000005</c:v>
                </c:pt>
                <c:pt idx="3518">
                  <c:v>466.55692794999999</c:v>
                </c:pt>
                <c:pt idx="3519">
                  <c:v>466.55692049999999</c:v>
                </c:pt>
                <c:pt idx="3520">
                  <c:v>466.48242794999999</c:v>
                </c:pt>
                <c:pt idx="3521">
                  <c:v>466.48242050000005</c:v>
                </c:pt>
                <c:pt idx="3522">
                  <c:v>466.40792049999999</c:v>
                </c:pt>
                <c:pt idx="3523">
                  <c:v>466.40792049999999</c:v>
                </c:pt>
                <c:pt idx="3524">
                  <c:v>466.40792049999999</c:v>
                </c:pt>
                <c:pt idx="3525">
                  <c:v>466.40792049999999</c:v>
                </c:pt>
                <c:pt idx="3526">
                  <c:v>466.40792049999999</c:v>
                </c:pt>
                <c:pt idx="3527">
                  <c:v>466.33344284999998</c:v>
                </c:pt>
                <c:pt idx="3528">
                  <c:v>466.33342794999999</c:v>
                </c:pt>
                <c:pt idx="3529">
                  <c:v>466.33342049999999</c:v>
                </c:pt>
                <c:pt idx="3530">
                  <c:v>466.33342049999999</c:v>
                </c:pt>
                <c:pt idx="3531">
                  <c:v>466.33342049999999</c:v>
                </c:pt>
                <c:pt idx="3532">
                  <c:v>466.33342049999999</c:v>
                </c:pt>
                <c:pt idx="3533">
                  <c:v>466.33342049999999</c:v>
                </c:pt>
                <c:pt idx="3534">
                  <c:v>466.33342049999999</c:v>
                </c:pt>
                <c:pt idx="3535">
                  <c:v>466.33342049999999</c:v>
                </c:pt>
                <c:pt idx="3536">
                  <c:v>466.33342049999999</c:v>
                </c:pt>
                <c:pt idx="3537">
                  <c:v>466.33342049999999</c:v>
                </c:pt>
                <c:pt idx="3538">
                  <c:v>466.33342049999999</c:v>
                </c:pt>
                <c:pt idx="3539">
                  <c:v>466.33342049999999</c:v>
                </c:pt>
                <c:pt idx="3540">
                  <c:v>466.33342049999999</c:v>
                </c:pt>
                <c:pt idx="3541">
                  <c:v>466.33342049999999</c:v>
                </c:pt>
                <c:pt idx="3542">
                  <c:v>466.33342049999999</c:v>
                </c:pt>
                <c:pt idx="3543">
                  <c:v>466.33342049999999</c:v>
                </c:pt>
                <c:pt idx="3544">
                  <c:v>466.33342049999999</c:v>
                </c:pt>
                <c:pt idx="3545">
                  <c:v>466.33342049999999</c:v>
                </c:pt>
                <c:pt idx="3546">
                  <c:v>466.33342049999999</c:v>
                </c:pt>
                <c:pt idx="3547">
                  <c:v>466.33342049999999</c:v>
                </c:pt>
                <c:pt idx="3548">
                  <c:v>466.33340559999999</c:v>
                </c:pt>
                <c:pt idx="3549">
                  <c:v>466.25892050000004</c:v>
                </c:pt>
                <c:pt idx="3550">
                  <c:v>466.25892050000004</c:v>
                </c:pt>
                <c:pt idx="3551">
                  <c:v>466.25892050000004</c:v>
                </c:pt>
                <c:pt idx="3552">
                  <c:v>466.25892050000004</c:v>
                </c:pt>
                <c:pt idx="3553">
                  <c:v>466.25892050000004</c:v>
                </c:pt>
                <c:pt idx="3554">
                  <c:v>466.25892050000004</c:v>
                </c:pt>
                <c:pt idx="3555">
                  <c:v>466.25892050000004</c:v>
                </c:pt>
                <c:pt idx="3556">
                  <c:v>466.25892050000004</c:v>
                </c:pt>
                <c:pt idx="3557">
                  <c:v>466.18442050000004</c:v>
                </c:pt>
                <c:pt idx="3558">
                  <c:v>466.18442050000004</c:v>
                </c:pt>
                <c:pt idx="3559">
                  <c:v>466.18442050000004</c:v>
                </c:pt>
                <c:pt idx="3560">
                  <c:v>466.18442050000004</c:v>
                </c:pt>
                <c:pt idx="3561">
                  <c:v>466.18442050000004</c:v>
                </c:pt>
                <c:pt idx="3562">
                  <c:v>466.18442050000004</c:v>
                </c:pt>
                <c:pt idx="3563">
                  <c:v>466.18442050000004</c:v>
                </c:pt>
                <c:pt idx="3564">
                  <c:v>466.18442050000004</c:v>
                </c:pt>
                <c:pt idx="3565">
                  <c:v>466.18442050000004</c:v>
                </c:pt>
                <c:pt idx="3566">
                  <c:v>466.18442050000004</c:v>
                </c:pt>
                <c:pt idx="3567">
                  <c:v>466.18442050000004</c:v>
                </c:pt>
                <c:pt idx="3568">
                  <c:v>466.18442050000004</c:v>
                </c:pt>
                <c:pt idx="3569">
                  <c:v>466.18442050000004</c:v>
                </c:pt>
                <c:pt idx="3570">
                  <c:v>466.18442050000004</c:v>
                </c:pt>
                <c:pt idx="3571">
                  <c:v>466.18442050000004</c:v>
                </c:pt>
                <c:pt idx="3572">
                  <c:v>466.18440559999999</c:v>
                </c:pt>
                <c:pt idx="3573">
                  <c:v>466.10992049999999</c:v>
                </c:pt>
                <c:pt idx="3574">
                  <c:v>466.10992049999999</c:v>
                </c:pt>
                <c:pt idx="3575">
                  <c:v>466.03542049999999</c:v>
                </c:pt>
                <c:pt idx="3576">
                  <c:v>465.96092050000004</c:v>
                </c:pt>
                <c:pt idx="3577">
                  <c:v>465.88642049999999</c:v>
                </c:pt>
                <c:pt idx="3578">
                  <c:v>465.88642049999999</c:v>
                </c:pt>
                <c:pt idx="3579">
                  <c:v>465.81192049999999</c:v>
                </c:pt>
                <c:pt idx="3580">
                  <c:v>465.81192049999999</c:v>
                </c:pt>
                <c:pt idx="3581">
                  <c:v>465.81192049999999</c:v>
                </c:pt>
                <c:pt idx="3582">
                  <c:v>465.81192049999999</c:v>
                </c:pt>
                <c:pt idx="3583">
                  <c:v>447.28309999999999</c:v>
                </c:pt>
                <c:pt idx="3584">
                  <c:v>447</c:v>
                </c:pt>
                <c:pt idx="3585">
                  <c:v>446.94040000000001</c:v>
                </c:pt>
                <c:pt idx="3586">
                  <c:v>446.93295000000001</c:v>
                </c:pt>
                <c:pt idx="3587">
                  <c:v>446.93295000000001</c:v>
                </c:pt>
                <c:pt idx="3588">
                  <c:v>446.7765</c:v>
                </c:pt>
                <c:pt idx="3589">
                  <c:v>446.77590400000003</c:v>
                </c:pt>
                <c:pt idx="3590">
                  <c:v>446.76904999999999</c:v>
                </c:pt>
                <c:pt idx="3591">
                  <c:v>446.76904999999999</c:v>
                </c:pt>
                <c:pt idx="3592">
                  <c:v>446.76160000000004</c:v>
                </c:pt>
                <c:pt idx="3593">
                  <c:v>446.70945</c:v>
                </c:pt>
                <c:pt idx="3594">
                  <c:v>446.68709999999999</c:v>
                </c:pt>
                <c:pt idx="3595">
                  <c:v>446.68709999999999</c:v>
                </c:pt>
                <c:pt idx="3596">
                  <c:v>446.68709999999999</c:v>
                </c:pt>
                <c:pt idx="3597">
                  <c:v>446.68709999999999</c:v>
                </c:pt>
                <c:pt idx="3598">
                  <c:v>446.64985000000001</c:v>
                </c:pt>
                <c:pt idx="3599">
                  <c:v>446.6175915</c:v>
                </c:pt>
                <c:pt idx="3600">
                  <c:v>446.6175915</c:v>
                </c:pt>
                <c:pt idx="3601">
                  <c:v>446.6175915</c:v>
                </c:pt>
                <c:pt idx="3602">
                  <c:v>446.6175915</c:v>
                </c:pt>
                <c:pt idx="3603">
                  <c:v>446.5430915</c:v>
                </c:pt>
                <c:pt idx="3604">
                  <c:v>446.5430915</c:v>
                </c:pt>
                <c:pt idx="3605">
                  <c:v>442.64236821570188</c:v>
                </c:pt>
                <c:pt idx="3606">
                  <c:v>436.82076699999999</c:v>
                </c:pt>
                <c:pt idx="3607">
                  <c:v>436.82076699999999</c:v>
                </c:pt>
                <c:pt idx="3608">
                  <c:v>436.82076699999999</c:v>
                </c:pt>
                <c:pt idx="3609">
                  <c:v>436.82076699999999</c:v>
                </c:pt>
                <c:pt idx="3610">
                  <c:v>436.82076699999999</c:v>
                </c:pt>
                <c:pt idx="3611">
                  <c:v>436.82076699999999</c:v>
                </c:pt>
                <c:pt idx="3612">
                  <c:v>414.29452235000002</c:v>
                </c:pt>
                <c:pt idx="3613">
                  <c:v>414.21173049999999</c:v>
                </c:pt>
                <c:pt idx="3614">
                  <c:v>414.13724540000004</c:v>
                </c:pt>
                <c:pt idx="3615">
                  <c:v>414.13723049999999</c:v>
                </c:pt>
                <c:pt idx="3616">
                  <c:v>414.12890140000002</c:v>
                </c:pt>
                <c:pt idx="3617">
                  <c:v>414.12069150000002</c:v>
                </c:pt>
                <c:pt idx="3618">
                  <c:v>414.054461</c:v>
                </c:pt>
                <c:pt idx="3619">
                  <c:v>414.05445355000001</c:v>
                </c:pt>
                <c:pt idx="3620">
                  <c:v>414.05441630000001</c:v>
                </c:pt>
                <c:pt idx="3621">
                  <c:v>414.04619150000002</c:v>
                </c:pt>
                <c:pt idx="3622">
                  <c:v>414.04617659999997</c:v>
                </c:pt>
                <c:pt idx="3623">
                  <c:v>414.04616170000003</c:v>
                </c:pt>
                <c:pt idx="3624">
                  <c:v>414.0378475</c:v>
                </c:pt>
                <c:pt idx="3625">
                  <c:v>414.0378475</c:v>
                </c:pt>
                <c:pt idx="3626">
                  <c:v>413.97191499999997</c:v>
                </c:pt>
                <c:pt idx="3627">
                  <c:v>413.97191499999997</c:v>
                </c:pt>
                <c:pt idx="3628">
                  <c:v>413.97173620000001</c:v>
                </c:pt>
                <c:pt idx="3629">
                  <c:v>413.97169150000002</c:v>
                </c:pt>
                <c:pt idx="3630">
                  <c:v>413.97169150000002</c:v>
                </c:pt>
                <c:pt idx="3631">
                  <c:v>413.97169150000002</c:v>
                </c:pt>
                <c:pt idx="3632">
                  <c:v>413.97169150000002</c:v>
                </c:pt>
                <c:pt idx="3633">
                  <c:v>413.97169150000002</c:v>
                </c:pt>
                <c:pt idx="3634">
                  <c:v>413.97163934999998</c:v>
                </c:pt>
                <c:pt idx="3635">
                  <c:v>413.89741500000002</c:v>
                </c:pt>
                <c:pt idx="3636">
                  <c:v>413.89740755000003</c:v>
                </c:pt>
                <c:pt idx="3637">
                  <c:v>413.89719149999996</c:v>
                </c:pt>
                <c:pt idx="3638">
                  <c:v>413.89719149999996</c:v>
                </c:pt>
                <c:pt idx="3639">
                  <c:v>413.89719149999996</c:v>
                </c:pt>
                <c:pt idx="3640">
                  <c:v>413.89719149999996</c:v>
                </c:pt>
                <c:pt idx="3641">
                  <c:v>413.89719149999996</c:v>
                </c:pt>
                <c:pt idx="3642">
                  <c:v>413.89719149999996</c:v>
                </c:pt>
                <c:pt idx="3643">
                  <c:v>413.88892200000004</c:v>
                </c:pt>
                <c:pt idx="3644">
                  <c:v>413.88889220000004</c:v>
                </c:pt>
                <c:pt idx="3645">
                  <c:v>413.88886985000005</c:v>
                </c:pt>
                <c:pt idx="3646">
                  <c:v>413.87230850000003</c:v>
                </c:pt>
                <c:pt idx="3647">
                  <c:v>413.87227125000004</c:v>
                </c:pt>
                <c:pt idx="3648">
                  <c:v>413.82269150000002</c:v>
                </c:pt>
                <c:pt idx="3649">
                  <c:v>413.82269150000002</c:v>
                </c:pt>
                <c:pt idx="3650">
                  <c:v>413.82269150000002</c:v>
                </c:pt>
                <c:pt idx="3651">
                  <c:v>413.81442200000004</c:v>
                </c:pt>
                <c:pt idx="3652">
                  <c:v>413.81442200000004</c:v>
                </c:pt>
                <c:pt idx="3653">
                  <c:v>413.81437730000005</c:v>
                </c:pt>
                <c:pt idx="3654">
                  <c:v>413.8061525</c:v>
                </c:pt>
                <c:pt idx="3655">
                  <c:v>413.80607055000002</c:v>
                </c:pt>
                <c:pt idx="3656">
                  <c:v>413.78957625000004</c:v>
                </c:pt>
                <c:pt idx="3657">
                  <c:v>413.78954644999999</c:v>
                </c:pt>
                <c:pt idx="3658">
                  <c:v>413.78953899999999</c:v>
                </c:pt>
                <c:pt idx="3659">
                  <c:v>413.78953899999999</c:v>
                </c:pt>
                <c:pt idx="3660">
                  <c:v>413.78953899999999</c:v>
                </c:pt>
                <c:pt idx="3661">
                  <c:v>413.78953899999999</c:v>
                </c:pt>
                <c:pt idx="3662">
                  <c:v>413.78953899999999</c:v>
                </c:pt>
                <c:pt idx="3663">
                  <c:v>413.78953899999999</c:v>
                </c:pt>
                <c:pt idx="3664">
                  <c:v>413.78953899999999</c:v>
                </c:pt>
                <c:pt idx="3665">
                  <c:v>413.78953899999999</c:v>
                </c:pt>
                <c:pt idx="3666">
                  <c:v>413.78953899999999</c:v>
                </c:pt>
                <c:pt idx="3667">
                  <c:v>413.78953899999999</c:v>
                </c:pt>
                <c:pt idx="3668">
                  <c:v>413.78953899999999</c:v>
                </c:pt>
                <c:pt idx="3669">
                  <c:v>413.78953899999999</c:v>
                </c:pt>
                <c:pt idx="3670">
                  <c:v>413.78953899999999</c:v>
                </c:pt>
                <c:pt idx="3671">
                  <c:v>413.73992199999998</c:v>
                </c:pt>
                <c:pt idx="3672">
                  <c:v>413.73992199999998</c:v>
                </c:pt>
                <c:pt idx="3673">
                  <c:v>413.73992199999998</c:v>
                </c:pt>
                <c:pt idx="3674">
                  <c:v>413.72334575000002</c:v>
                </c:pt>
                <c:pt idx="3675">
                  <c:v>413.72333830000002</c:v>
                </c:pt>
                <c:pt idx="3676">
                  <c:v>413.722936</c:v>
                </c:pt>
                <c:pt idx="3677">
                  <c:v>413.72290620000001</c:v>
                </c:pt>
                <c:pt idx="3678">
                  <c:v>413.71503900000005</c:v>
                </c:pt>
                <c:pt idx="3679">
                  <c:v>413.64928530000003</c:v>
                </c:pt>
                <c:pt idx="3680">
                  <c:v>413.64873399999999</c:v>
                </c:pt>
                <c:pt idx="3681">
                  <c:v>413.64056880000004</c:v>
                </c:pt>
                <c:pt idx="3682">
                  <c:v>413.64056134999998</c:v>
                </c:pt>
                <c:pt idx="3683">
                  <c:v>413.64053899999999</c:v>
                </c:pt>
                <c:pt idx="3684">
                  <c:v>413.63227695</c:v>
                </c:pt>
                <c:pt idx="3685">
                  <c:v>413.48326950000001</c:v>
                </c:pt>
                <c:pt idx="3686">
                  <c:v>413.48326950000001</c:v>
                </c:pt>
                <c:pt idx="3687">
                  <c:v>413.48326950000001</c:v>
                </c:pt>
                <c:pt idx="3688">
                  <c:v>413.48326950000001</c:v>
                </c:pt>
                <c:pt idx="3689">
                  <c:v>413.48326950000001</c:v>
                </c:pt>
                <c:pt idx="3690">
                  <c:v>413.47500000000002</c:v>
                </c:pt>
                <c:pt idx="3691">
                  <c:v>413.46671560000004</c:v>
                </c:pt>
                <c:pt idx="3692">
                  <c:v>413.40891849999997</c:v>
                </c:pt>
                <c:pt idx="3693">
                  <c:v>413.40888870000003</c:v>
                </c:pt>
                <c:pt idx="3694">
                  <c:v>413.40888870000003</c:v>
                </c:pt>
                <c:pt idx="3695">
                  <c:v>413.40888124999998</c:v>
                </c:pt>
                <c:pt idx="3696">
                  <c:v>413.40879930000006</c:v>
                </c:pt>
                <c:pt idx="3697">
                  <c:v>413.40877695</c:v>
                </c:pt>
                <c:pt idx="3698">
                  <c:v>413.23637650000001</c:v>
                </c:pt>
                <c:pt idx="3699">
                  <c:v>413.23199590000002</c:v>
                </c:pt>
                <c:pt idx="3700">
                  <c:v>413.231832</c:v>
                </c:pt>
                <c:pt idx="3701">
                  <c:v>413.15733944999999</c:v>
                </c:pt>
                <c:pt idx="3702">
                  <c:v>413.157332</c:v>
                </c:pt>
                <c:pt idx="3703">
                  <c:v>413.157332</c:v>
                </c:pt>
                <c:pt idx="3704">
                  <c:v>413.157332</c:v>
                </c:pt>
                <c:pt idx="3705">
                  <c:v>413.14280450000001</c:v>
                </c:pt>
                <c:pt idx="3706">
                  <c:v>413.10101000000003</c:v>
                </c:pt>
                <c:pt idx="3707">
                  <c:v>413.10093549999999</c:v>
                </c:pt>
                <c:pt idx="3708">
                  <c:v>413.10093549999999</c:v>
                </c:pt>
                <c:pt idx="3709">
                  <c:v>413.10093549999999</c:v>
                </c:pt>
                <c:pt idx="3710">
                  <c:v>413.04513500000002</c:v>
                </c:pt>
                <c:pt idx="3711">
                  <c:v>413.02650999999997</c:v>
                </c:pt>
                <c:pt idx="3712">
                  <c:v>413.02650999999997</c:v>
                </c:pt>
                <c:pt idx="3713">
                  <c:v>413.02650999999997</c:v>
                </c:pt>
                <c:pt idx="3714">
                  <c:v>413.02650999999997</c:v>
                </c:pt>
                <c:pt idx="3715">
                  <c:v>412.97063500000002</c:v>
                </c:pt>
                <c:pt idx="3716">
                  <c:v>412.92861699999997</c:v>
                </c:pt>
                <c:pt idx="3717">
                  <c:v>402.39632849999998</c:v>
                </c:pt>
                <c:pt idx="3718">
                  <c:v>402.32182849999998</c:v>
                </c:pt>
                <c:pt idx="3719">
                  <c:v>402.24732850000004</c:v>
                </c:pt>
                <c:pt idx="3720">
                  <c:v>402.24732850000004</c:v>
                </c:pt>
                <c:pt idx="3721">
                  <c:v>402.17284339999998</c:v>
                </c:pt>
                <c:pt idx="3722">
                  <c:v>402.09832849999998</c:v>
                </c:pt>
                <c:pt idx="3723">
                  <c:v>402.09832849999998</c:v>
                </c:pt>
                <c:pt idx="3724">
                  <c:v>383.40955650000001</c:v>
                </c:pt>
                <c:pt idx="3725">
                  <c:v>372.947</c:v>
                </c:pt>
                <c:pt idx="3726">
                  <c:v>372.947</c:v>
                </c:pt>
                <c:pt idx="3727">
                  <c:v>372.947</c:v>
                </c:pt>
                <c:pt idx="3728">
                  <c:v>372.947</c:v>
                </c:pt>
                <c:pt idx="3729">
                  <c:v>372.947</c:v>
                </c:pt>
                <c:pt idx="3730">
                  <c:v>372.947</c:v>
                </c:pt>
                <c:pt idx="3731">
                  <c:v>372.947</c:v>
                </c:pt>
                <c:pt idx="3732">
                  <c:v>372.947</c:v>
                </c:pt>
                <c:pt idx="3733">
                  <c:v>372.947</c:v>
                </c:pt>
                <c:pt idx="3734">
                  <c:v>372.947</c:v>
                </c:pt>
                <c:pt idx="3735">
                  <c:v>372.90975000000003</c:v>
                </c:pt>
                <c:pt idx="3736">
                  <c:v>372.87264900000002</c:v>
                </c:pt>
                <c:pt idx="3737">
                  <c:v>372.87254470000005</c:v>
                </c:pt>
                <c:pt idx="3738">
                  <c:v>372.8725</c:v>
                </c:pt>
                <c:pt idx="3739">
                  <c:v>372.8725</c:v>
                </c:pt>
                <c:pt idx="3740">
                  <c:v>372.8725</c:v>
                </c:pt>
                <c:pt idx="3741">
                  <c:v>372.8725</c:v>
                </c:pt>
                <c:pt idx="3742">
                  <c:v>372.8725</c:v>
                </c:pt>
                <c:pt idx="3743">
                  <c:v>372.8725</c:v>
                </c:pt>
                <c:pt idx="3744">
                  <c:v>372.8725</c:v>
                </c:pt>
                <c:pt idx="3745">
                  <c:v>372.8725</c:v>
                </c:pt>
                <c:pt idx="3746">
                  <c:v>372.8725</c:v>
                </c:pt>
                <c:pt idx="3747">
                  <c:v>372.79814900000002</c:v>
                </c:pt>
                <c:pt idx="3748">
                  <c:v>372.79802980000005</c:v>
                </c:pt>
                <c:pt idx="3749">
                  <c:v>372.798</c:v>
                </c:pt>
                <c:pt idx="3750">
                  <c:v>372.798</c:v>
                </c:pt>
                <c:pt idx="3751">
                  <c:v>372.798</c:v>
                </c:pt>
                <c:pt idx="3752">
                  <c:v>372.798</c:v>
                </c:pt>
                <c:pt idx="3753">
                  <c:v>372.798</c:v>
                </c:pt>
                <c:pt idx="3754">
                  <c:v>372.798</c:v>
                </c:pt>
                <c:pt idx="3755">
                  <c:v>372.798</c:v>
                </c:pt>
                <c:pt idx="3756">
                  <c:v>372.798</c:v>
                </c:pt>
                <c:pt idx="3757">
                  <c:v>372.798</c:v>
                </c:pt>
                <c:pt idx="3758">
                  <c:v>372.798</c:v>
                </c:pt>
                <c:pt idx="3759">
                  <c:v>372.798</c:v>
                </c:pt>
                <c:pt idx="3760">
                  <c:v>372.798</c:v>
                </c:pt>
                <c:pt idx="3761">
                  <c:v>372.798</c:v>
                </c:pt>
                <c:pt idx="3762">
                  <c:v>372.798</c:v>
                </c:pt>
                <c:pt idx="3763">
                  <c:v>372.798</c:v>
                </c:pt>
                <c:pt idx="3764">
                  <c:v>372.798</c:v>
                </c:pt>
                <c:pt idx="3765">
                  <c:v>372.798</c:v>
                </c:pt>
                <c:pt idx="3766">
                  <c:v>372.798</c:v>
                </c:pt>
                <c:pt idx="3767">
                  <c:v>372.798</c:v>
                </c:pt>
                <c:pt idx="3768">
                  <c:v>372.798</c:v>
                </c:pt>
                <c:pt idx="3769">
                  <c:v>372.798</c:v>
                </c:pt>
                <c:pt idx="3770">
                  <c:v>372.798</c:v>
                </c:pt>
                <c:pt idx="3771">
                  <c:v>372.798</c:v>
                </c:pt>
                <c:pt idx="3772">
                  <c:v>372.798</c:v>
                </c:pt>
                <c:pt idx="3773">
                  <c:v>372.798</c:v>
                </c:pt>
                <c:pt idx="3774">
                  <c:v>372.798</c:v>
                </c:pt>
                <c:pt idx="3775">
                  <c:v>372.798</c:v>
                </c:pt>
                <c:pt idx="3776">
                  <c:v>372.798</c:v>
                </c:pt>
                <c:pt idx="3777">
                  <c:v>372.798</c:v>
                </c:pt>
                <c:pt idx="3778">
                  <c:v>372.798</c:v>
                </c:pt>
                <c:pt idx="3779">
                  <c:v>372.798</c:v>
                </c:pt>
                <c:pt idx="3780">
                  <c:v>372.798</c:v>
                </c:pt>
                <c:pt idx="3781">
                  <c:v>372.798</c:v>
                </c:pt>
                <c:pt idx="3782">
                  <c:v>372.798</c:v>
                </c:pt>
                <c:pt idx="3783">
                  <c:v>372.79055</c:v>
                </c:pt>
                <c:pt idx="3784">
                  <c:v>372.79055</c:v>
                </c:pt>
                <c:pt idx="3785">
                  <c:v>372.72364900000002</c:v>
                </c:pt>
                <c:pt idx="3786">
                  <c:v>372.72361920000003</c:v>
                </c:pt>
                <c:pt idx="3787">
                  <c:v>372.72358195000004</c:v>
                </c:pt>
                <c:pt idx="3788">
                  <c:v>372.72353725000005</c:v>
                </c:pt>
                <c:pt idx="3789">
                  <c:v>372.72352235</c:v>
                </c:pt>
                <c:pt idx="3790">
                  <c:v>372.72351490000005</c:v>
                </c:pt>
                <c:pt idx="3791">
                  <c:v>372.72350745</c:v>
                </c:pt>
                <c:pt idx="3792">
                  <c:v>372.72350745</c:v>
                </c:pt>
                <c:pt idx="3793">
                  <c:v>372.72350745</c:v>
                </c:pt>
                <c:pt idx="3794">
                  <c:v>372.7235</c:v>
                </c:pt>
                <c:pt idx="3795">
                  <c:v>372.7235</c:v>
                </c:pt>
                <c:pt idx="3796">
                  <c:v>372.7235</c:v>
                </c:pt>
                <c:pt idx="3797">
                  <c:v>372.7235</c:v>
                </c:pt>
                <c:pt idx="3798">
                  <c:v>372.7235</c:v>
                </c:pt>
                <c:pt idx="3799">
                  <c:v>372.7235</c:v>
                </c:pt>
                <c:pt idx="3800">
                  <c:v>372.7235</c:v>
                </c:pt>
                <c:pt idx="3801">
                  <c:v>372.7235</c:v>
                </c:pt>
                <c:pt idx="3802">
                  <c:v>372.7235</c:v>
                </c:pt>
                <c:pt idx="3803">
                  <c:v>372.7235</c:v>
                </c:pt>
                <c:pt idx="3804">
                  <c:v>372.7235</c:v>
                </c:pt>
                <c:pt idx="3805">
                  <c:v>372.7235</c:v>
                </c:pt>
                <c:pt idx="3806">
                  <c:v>372.7235</c:v>
                </c:pt>
                <c:pt idx="3807">
                  <c:v>372.7235</c:v>
                </c:pt>
                <c:pt idx="3808">
                  <c:v>372.7235</c:v>
                </c:pt>
                <c:pt idx="3809">
                  <c:v>372.7235</c:v>
                </c:pt>
                <c:pt idx="3810">
                  <c:v>372.7235</c:v>
                </c:pt>
                <c:pt idx="3811">
                  <c:v>372.7235</c:v>
                </c:pt>
                <c:pt idx="3812">
                  <c:v>372.7235</c:v>
                </c:pt>
                <c:pt idx="3813">
                  <c:v>372.7235</c:v>
                </c:pt>
                <c:pt idx="3814">
                  <c:v>372.7235</c:v>
                </c:pt>
                <c:pt idx="3815">
                  <c:v>372.7235</c:v>
                </c:pt>
                <c:pt idx="3816">
                  <c:v>372.7235</c:v>
                </c:pt>
                <c:pt idx="3817">
                  <c:v>372.7235</c:v>
                </c:pt>
                <c:pt idx="3818">
                  <c:v>372.7235</c:v>
                </c:pt>
                <c:pt idx="3819">
                  <c:v>372.7235</c:v>
                </c:pt>
                <c:pt idx="3820">
                  <c:v>372.7235</c:v>
                </c:pt>
                <c:pt idx="3821">
                  <c:v>372.7235</c:v>
                </c:pt>
                <c:pt idx="3822">
                  <c:v>372.7235</c:v>
                </c:pt>
                <c:pt idx="3823">
                  <c:v>372.7235</c:v>
                </c:pt>
                <c:pt idx="3824">
                  <c:v>372.7235</c:v>
                </c:pt>
                <c:pt idx="3825">
                  <c:v>372.7235</c:v>
                </c:pt>
                <c:pt idx="3826">
                  <c:v>372.7235</c:v>
                </c:pt>
                <c:pt idx="3827">
                  <c:v>372.7235</c:v>
                </c:pt>
                <c:pt idx="3828">
                  <c:v>372.7235</c:v>
                </c:pt>
                <c:pt idx="3829">
                  <c:v>372.7235</c:v>
                </c:pt>
                <c:pt idx="3830">
                  <c:v>372.7235</c:v>
                </c:pt>
                <c:pt idx="3831">
                  <c:v>372.7235</c:v>
                </c:pt>
                <c:pt idx="3832">
                  <c:v>372.7235</c:v>
                </c:pt>
                <c:pt idx="3833">
                  <c:v>372.7235</c:v>
                </c:pt>
                <c:pt idx="3834">
                  <c:v>372.7235</c:v>
                </c:pt>
                <c:pt idx="3835">
                  <c:v>372.7235</c:v>
                </c:pt>
                <c:pt idx="3836">
                  <c:v>372.7235</c:v>
                </c:pt>
                <c:pt idx="3837">
                  <c:v>372.7235</c:v>
                </c:pt>
                <c:pt idx="3838">
                  <c:v>372.7235</c:v>
                </c:pt>
                <c:pt idx="3839">
                  <c:v>372.7235</c:v>
                </c:pt>
                <c:pt idx="3840">
                  <c:v>372.7235</c:v>
                </c:pt>
                <c:pt idx="3841">
                  <c:v>372.7235</c:v>
                </c:pt>
                <c:pt idx="3842">
                  <c:v>372.7235</c:v>
                </c:pt>
                <c:pt idx="3843">
                  <c:v>372.7235</c:v>
                </c:pt>
                <c:pt idx="3844">
                  <c:v>372.7235</c:v>
                </c:pt>
                <c:pt idx="3845">
                  <c:v>372.7235</c:v>
                </c:pt>
                <c:pt idx="3846">
                  <c:v>372.7235</c:v>
                </c:pt>
                <c:pt idx="3847">
                  <c:v>372.7235</c:v>
                </c:pt>
                <c:pt idx="3848">
                  <c:v>372.7235</c:v>
                </c:pt>
                <c:pt idx="3849">
                  <c:v>372.7235</c:v>
                </c:pt>
                <c:pt idx="3850">
                  <c:v>372.7235</c:v>
                </c:pt>
                <c:pt idx="3851">
                  <c:v>372.7235</c:v>
                </c:pt>
                <c:pt idx="3852">
                  <c:v>372.7235</c:v>
                </c:pt>
                <c:pt idx="3853">
                  <c:v>372.7235</c:v>
                </c:pt>
                <c:pt idx="3854">
                  <c:v>372.7235</c:v>
                </c:pt>
                <c:pt idx="3855">
                  <c:v>372.7235</c:v>
                </c:pt>
                <c:pt idx="3856">
                  <c:v>372.7235</c:v>
                </c:pt>
                <c:pt idx="3857">
                  <c:v>372.7235</c:v>
                </c:pt>
                <c:pt idx="3858">
                  <c:v>372.7235</c:v>
                </c:pt>
                <c:pt idx="3859">
                  <c:v>372.7235</c:v>
                </c:pt>
                <c:pt idx="3860">
                  <c:v>372.7235</c:v>
                </c:pt>
                <c:pt idx="3861">
                  <c:v>372.7235</c:v>
                </c:pt>
                <c:pt idx="3862">
                  <c:v>372.7235</c:v>
                </c:pt>
                <c:pt idx="3863">
                  <c:v>372.7235</c:v>
                </c:pt>
                <c:pt idx="3864">
                  <c:v>372.7235</c:v>
                </c:pt>
                <c:pt idx="3865">
                  <c:v>372.7235</c:v>
                </c:pt>
                <c:pt idx="3866">
                  <c:v>372.7235</c:v>
                </c:pt>
                <c:pt idx="3867">
                  <c:v>372.7235</c:v>
                </c:pt>
                <c:pt idx="3868">
                  <c:v>372.7235</c:v>
                </c:pt>
                <c:pt idx="3869">
                  <c:v>372.7235</c:v>
                </c:pt>
                <c:pt idx="3870">
                  <c:v>372.7235</c:v>
                </c:pt>
                <c:pt idx="3871">
                  <c:v>372.7235</c:v>
                </c:pt>
                <c:pt idx="3872">
                  <c:v>372.7235</c:v>
                </c:pt>
                <c:pt idx="3873">
                  <c:v>372.7235</c:v>
                </c:pt>
                <c:pt idx="3874">
                  <c:v>372.7235</c:v>
                </c:pt>
                <c:pt idx="3875">
                  <c:v>372.7235</c:v>
                </c:pt>
                <c:pt idx="3876">
                  <c:v>372.7235</c:v>
                </c:pt>
                <c:pt idx="3877">
                  <c:v>372.7235</c:v>
                </c:pt>
                <c:pt idx="3878">
                  <c:v>372.7235</c:v>
                </c:pt>
                <c:pt idx="3879">
                  <c:v>372.7235</c:v>
                </c:pt>
                <c:pt idx="3880">
                  <c:v>372.7235</c:v>
                </c:pt>
                <c:pt idx="3881">
                  <c:v>372.7235</c:v>
                </c:pt>
                <c:pt idx="3882">
                  <c:v>372.7235</c:v>
                </c:pt>
                <c:pt idx="3883">
                  <c:v>372.7235</c:v>
                </c:pt>
                <c:pt idx="3884">
                  <c:v>372.7235</c:v>
                </c:pt>
                <c:pt idx="3885">
                  <c:v>372.7235</c:v>
                </c:pt>
                <c:pt idx="3886">
                  <c:v>372.7235</c:v>
                </c:pt>
                <c:pt idx="3887">
                  <c:v>372.7235</c:v>
                </c:pt>
                <c:pt idx="3888">
                  <c:v>372.7235</c:v>
                </c:pt>
                <c:pt idx="3889">
                  <c:v>372.7235</c:v>
                </c:pt>
                <c:pt idx="3890">
                  <c:v>372.7235</c:v>
                </c:pt>
                <c:pt idx="3891">
                  <c:v>372.7235</c:v>
                </c:pt>
                <c:pt idx="3892">
                  <c:v>372.7235</c:v>
                </c:pt>
                <c:pt idx="3893">
                  <c:v>372.7235</c:v>
                </c:pt>
                <c:pt idx="3894">
                  <c:v>372.7235</c:v>
                </c:pt>
                <c:pt idx="3895">
                  <c:v>372.72349255</c:v>
                </c:pt>
                <c:pt idx="3896">
                  <c:v>372.7234851</c:v>
                </c:pt>
                <c:pt idx="3897">
                  <c:v>372.7234851</c:v>
                </c:pt>
                <c:pt idx="3898">
                  <c:v>372.72347020000001</c:v>
                </c:pt>
                <c:pt idx="3899">
                  <c:v>372.72238250000004</c:v>
                </c:pt>
                <c:pt idx="3900">
                  <c:v>372.70487500000002</c:v>
                </c:pt>
                <c:pt idx="3901">
                  <c:v>372.70487500000002</c:v>
                </c:pt>
                <c:pt idx="3902">
                  <c:v>372.70486755000002</c:v>
                </c:pt>
                <c:pt idx="3903">
                  <c:v>372.64981204999998</c:v>
                </c:pt>
                <c:pt idx="3904">
                  <c:v>372.6497152</c:v>
                </c:pt>
                <c:pt idx="3905">
                  <c:v>372.64949915</c:v>
                </c:pt>
                <c:pt idx="3906">
                  <c:v>372.64942465000001</c:v>
                </c:pt>
                <c:pt idx="3907">
                  <c:v>372.64924585</c:v>
                </c:pt>
                <c:pt idx="3908">
                  <c:v>372.64914154999997</c:v>
                </c:pt>
                <c:pt idx="3909">
                  <c:v>372.64904470000005</c:v>
                </c:pt>
                <c:pt idx="3910">
                  <c:v>372.64902979999999</c:v>
                </c:pt>
                <c:pt idx="3911">
                  <c:v>372.64902979999999</c:v>
                </c:pt>
                <c:pt idx="3912">
                  <c:v>372.64902979999999</c:v>
                </c:pt>
                <c:pt idx="3913">
                  <c:v>372.64902235000005</c:v>
                </c:pt>
                <c:pt idx="3914">
                  <c:v>372.64902235000005</c:v>
                </c:pt>
                <c:pt idx="3915">
                  <c:v>372.6490149</c:v>
                </c:pt>
                <c:pt idx="3916">
                  <c:v>372.6490149</c:v>
                </c:pt>
                <c:pt idx="3917">
                  <c:v>372.6490149</c:v>
                </c:pt>
                <c:pt idx="3918">
                  <c:v>372.6490149</c:v>
                </c:pt>
                <c:pt idx="3919">
                  <c:v>372.64900745</c:v>
                </c:pt>
                <c:pt idx="3920">
                  <c:v>372.64900745</c:v>
                </c:pt>
                <c:pt idx="3921">
                  <c:v>372.64900745</c:v>
                </c:pt>
                <c:pt idx="3922">
                  <c:v>372.64900000000006</c:v>
                </c:pt>
                <c:pt idx="3923">
                  <c:v>372.64900000000006</c:v>
                </c:pt>
                <c:pt idx="3924">
                  <c:v>372.64900000000006</c:v>
                </c:pt>
                <c:pt idx="3925">
                  <c:v>372.64900000000006</c:v>
                </c:pt>
                <c:pt idx="3926">
                  <c:v>372.64900000000006</c:v>
                </c:pt>
                <c:pt idx="3927">
                  <c:v>372.64900000000006</c:v>
                </c:pt>
                <c:pt idx="3928">
                  <c:v>372.64900000000006</c:v>
                </c:pt>
                <c:pt idx="3929">
                  <c:v>372.64900000000006</c:v>
                </c:pt>
                <c:pt idx="3930">
                  <c:v>372.64900000000006</c:v>
                </c:pt>
                <c:pt idx="3931">
                  <c:v>372.64900000000006</c:v>
                </c:pt>
                <c:pt idx="3932">
                  <c:v>372.64900000000006</c:v>
                </c:pt>
                <c:pt idx="3933">
                  <c:v>372.64900000000006</c:v>
                </c:pt>
                <c:pt idx="3934">
                  <c:v>372.64900000000006</c:v>
                </c:pt>
                <c:pt idx="3935">
                  <c:v>372.64900000000006</c:v>
                </c:pt>
                <c:pt idx="3936">
                  <c:v>372.64900000000006</c:v>
                </c:pt>
                <c:pt idx="3937">
                  <c:v>372.64900000000006</c:v>
                </c:pt>
                <c:pt idx="3938">
                  <c:v>372.64900000000006</c:v>
                </c:pt>
                <c:pt idx="3939">
                  <c:v>372.64900000000006</c:v>
                </c:pt>
                <c:pt idx="3940">
                  <c:v>372.64900000000006</c:v>
                </c:pt>
                <c:pt idx="3941">
                  <c:v>372.64900000000006</c:v>
                </c:pt>
                <c:pt idx="3942">
                  <c:v>372.64900000000006</c:v>
                </c:pt>
                <c:pt idx="3943">
                  <c:v>372.64900000000006</c:v>
                </c:pt>
                <c:pt idx="3944">
                  <c:v>372.64900000000006</c:v>
                </c:pt>
                <c:pt idx="3945">
                  <c:v>372.64900000000006</c:v>
                </c:pt>
                <c:pt idx="3946">
                  <c:v>372.64900000000006</c:v>
                </c:pt>
                <c:pt idx="3947">
                  <c:v>372.64900000000006</c:v>
                </c:pt>
                <c:pt idx="3948">
                  <c:v>372.64900000000006</c:v>
                </c:pt>
                <c:pt idx="3949">
                  <c:v>372.64900000000006</c:v>
                </c:pt>
                <c:pt idx="3950">
                  <c:v>372.64900000000006</c:v>
                </c:pt>
                <c:pt idx="3951">
                  <c:v>372.64900000000006</c:v>
                </c:pt>
                <c:pt idx="3952">
                  <c:v>372.64900000000006</c:v>
                </c:pt>
                <c:pt idx="3953">
                  <c:v>372.64900000000006</c:v>
                </c:pt>
                <c:pt idx="3954">
                  <c:v>372.64900000000006</c:v>
                </c:pt>
                <c:pt idx="3955">
                  <c:v>372.64900000000006</c:v>
                </c:pt>
                <c:pt idx="3956">
                  <c:v>372.64900000000006</c:v>
                </c:pt>
                <c:pt idx="3957">
                  <c:v>372.64900000000006</c:v>
                </c:pt>
                <c:pt idx="3958">
                  <c:v>372.64900000000006</c:v>
                </c:pt>
                <c:pt idx="3959">
                  <c:v>372.64900000000006</c:v>
                </c:pt>
                <c:pt idx="3960">
                  <c:v>372.64900000000006</c:v>
                </c:pt>
                <c:pt idx="3961">
                  <c:v>372.64900000000006</c:v>
                </c:pt>
                <c:pt idx="3962">
                  <c:v>372.64900000000006</c:v>
                </c:pt>
                <c:pt idx="3963">
                  <c:v>372.64900000000006</c:v>
                </c:pt>
                <c:pt idx="3964">
                  <c:v>372.64900000000006</c:v>
                </c:pt>
                <c:pt idx="3965">
                  <c:v>372.64900000000006</c:v>
                </c:pt>
                <c:pt idx="3966">
                  <c:v>372.64900000000006</c:v>
                </c:pt>
                <c:pt idx="3967">
                  <c:v>372.64900000000006</c:v>
                </c:pt>
                <c:pt idx="3968">
                  <c:v>372.64900000000006</c:v>
                </c:pt>
                <c:pt idx="3969">
                  <c:v>372.64900000000006</c:v>
                </c:pt>
                <c:pt idx="3970">
                  <c:v>372.64900000000006</c:v>
                </c:pt>
                <c:pt idx="3971">
                  <c:v>372.64900000000006</c:v>
                </c:pt>
                <c:pt idx="3972">
                  <c:v>372.64900000000006</c:v>
                </c:pt>
                <c:pt idx="3973">
                  <c:v>372.64900000000006</c:v>
                </c:pt>
                <c:pt idx="3974">
                  <c:v>372.64900000000006</c:v>
                </c:pt>
                <c:pt idx="3975">
                  <c:v>372.64900000000006</c:v>
                </c:pt>
                <c:pt idx="3976">
                  <c:v>372.64900000000006</c:v>
                </c:pt>
                <c:pt idx="3977">
                  <c:v>372.64900000000006</c:v>
                </c:pt>
                <c:pt idx="3978">
                  <c:v>372.64900000000006</c:v>
                </c:pt>
                <c:pt idx="3979">
                  <c:v>372.64900000000006</c:v>
                </c:pt>
                <c:pt idx="3980">
                  <c:v>372.64900000000006</c:v>
                </c:pt>
                <c:pt idx="3981">
                  <c:v>372.64900000000006</c:v>
                </c:pt>
                <c:pt idx="3982">
                  <c:v>372.64900000000006</c:v>
                </c:pt>
                <c:pt idx="3983">
                  <c:v>372.64900000000006</c:v>
                </c:pt>
                <c:pt idx="3984">
                  <c:v>372.64900000000006</c:v>
                </c:pt>
                <c:pt idx="3985">
                  <c:v>372.64900000000006</c:v>
                </c:pt>
                <c:pt idx="3986">
                  <c:v>372.64900000000006</c:v>
                </c:pt>
                <c:pt idx="3987">
                  <c:v>372.64900000000006</c:v>
                </c:pt>
                <c:pt idx="3988">
                  <c:v>372.64900000000006</c:v>
                </c:pt>
                <c:pt idx="3989">
                  <c:v>372.64900000000006</c:v>
                </c:pt>
                <c:pt idx="3990">
                  <c:v>372.64900000000006</c:v>
                </c:pt>
                <c:pt idx="3991">
                  <c:v>372.64900000000006</c:v>
                </c:pt>
                <c:pt idx="3992">
                  <c:v>372.64900000000006</c:v>
                </c:pt>
                <c:pt idx="3993">
                  <c:v>372.64900000000006</c:v>
                </c:pt>
                <c:pt idx="3994">
                  <c:v>372.64900000000006</c:v>
                </c:pt>
                <c:pt idx="3995">
                  <c:v>372.64900000000006</c:v>
                </c:pt>
                <c:pt idx="3996">
                  <c:v>372.64900000000006</c:v>
                </c:pt>
                <c:pt idx="3997">
                  <c:v>372.64900000000006</c:v>
                </c:pt>
                <c:pt idx="3998">
                  <c:v>372.64900000000006</c:v>
                </c:pt>
                <c:pt idx="3999">
                  <c:v>372.64900000000006</c:v>
                </c:pt>
                <c:pt idx="4000">
                  <c:v>372.64900000000006</c:v>
                </c:pt>
                <c:pt idx="4001">
                  <c:v>372.64900000000006</c:v>
                </c:pt>
                <c:pt idx="4002">
                  <c:v>372.64900000000006</c:v>
                </c:pt>
                <c:pt idx="4003">
                  <c:v>372.64900000000006</c:v>
                </c:pt>
                <c:pt idx="4004">
                  <c:v>372.64900000000006</c:v>
                </c:pt>
                <c:pt idx="4005">
                  <c:v>372.64900000000006</c:v>
                </c:pt>
                <c:pt idx="4006">
                  <c:v>372.64900000000006</c:v>
                </c:pt>
                <c:pt idx="4007">
                  <c:v>372.64900000000006</c:v>
                </c:pt>
                <c:pt idx="4008">
                  <c:v>372.64900000000006</c:v>
                </c:pt>
                <c:pt idx="4009">
                  <c:v>372.64900000000006</c:v>
                </c:pt>
                <c:pt idx="4010">
                  <c:v>372.64900000000006</c:v>
                </c:pt>
                <c:pt idx="4011">
                  <c:v>372.64900000000006</c:v>
                </c:pt>
                <c:pt idx="4012">
                  <c:v>372.64900000000006</c:v>
                </c:pt>
                <c:pt idx="4013">
                  <c:v>372.64900000000006</c:v>
                </c:pt>
                <c:pt idx="4014">
                  <c:v>372.64900000000006</c:v>
                </c:pt>
                <c:pt idx="4015">
                  <c:v>372.64899255</c:v>
                </c:pt>
                <c:pt idx="4016">
                  <c:v>372.64899255</c:v>
                </c:pt>
                <c:pt idx="4017">
                  <c:v>372.64899255</c:v>
                </c:pt>
                <c:pt idx="4018">
                  <c:v>372.64897765000001</c:v>
                </c:pt>
                <c:pt idx="4019">
                  <c:v>372.64897020000001</c:v>
                </c:pt>
                <c:pt idx="4020">
                  <c:v>372.64878395</c:v>
                </c:pt>
                <c:pt idx="4021">
                  <c:v>372.64863494999997</c:v>
                </c:pt>
                <c:pt idx="4022">
                  <c:v>372.58277694999998</c:v>
                </c:pt>
                <c:pt idx="4023">
                  <c:v>372.57510345000003</c:v>
                </c:pt>
                <c:pt idx="4024">
                  <c:v>372.57494700000001</c:v>
                </c:pt>
                <c:pt idx="4025">
                  <c:v>372.5747384</c:v>
                </c:pt>
                <c:pt idx="4026">
                  <c:v>372.57457450000004</c:v>
                </c:pt>
                <c:pt idx="4027">
                  <c:v>372.57457450000004</c:v>
                </c:pt>
                <c:pt idx="4028">
                  <c:v>372.57457450000004</c:v>
                </c:pt>
                <c:pt idx="4029">
                  <c:v>372.57457450000004</c:v>
                </c:pt>
                <c:pt idx="4030">
                  <c:v>372.57457450000004</c:v>
                </c:pt>
                <c:pt idx="4031">
                  <c:v>372.57457450000004</c:v>
                </c:pt>
                <c:pt idx="4032">
                  <c:v>372.57457450000004</c:v>
                </c:pt>
                <c:pt idx="4033">
                  <c:v>372.57457450000004</c:v>
                </c:pt>
                <c:pt idx="4034">
                  <c:v>372.57456704999998</c:v>
                </c:pt>
                <c:pt idx="4035">
                  <c:v>372.57455215000005</c:v>
                </c:pt>
                <c:pt idx="4036">
                  <c:v>372.57455215000005</c:v>
                </c:pt>
                <c:pt idx="4037">
                  <c:v>372.57454469999999</c:v>
                </c:pt>
                <c:pt idx="4038">
                  <c:v>372.57454469999999</c:v>
                </c:pt>
                <c:pt idx="4039">
                  <c:v>372.57453724999999</c:v>
                </c:pt>
                <c:pt idx="4040">
                  <c:v>372.57453724999999</c:v>
                </c:pt>
                <c:pt idx="4041">
                  <c:v>372.57452980000005</c:v>
                </c:pt>
                <c:pt idx="4042">
                  <c:v>372.57452980000005</c:v>
                </c:pt>
                <c:pt idx="4043">
                  <c:v>372.57452980000005</c:v>
                </c:pt>
                <c:pt idx="4044">
                  <c:v>372.57452235</c:v>
                </c:pt>
                <c:pt idx="4045">
                  <c:v>372.57452235</c:v>
                </c:pt>
                <c:pt idx="4046">
                  <c:v>372.57452235</c:v>
                </c:pt>
                <c:pt idx="4047">
                  <c:v>372.57452235</c:v>
                </c:pt>
                <c:pt idx="4048">
                  <c:v>372.57452235</c:v>
                </c:pt>
                <c:pt idx="4049">
                  <c:v>372.57452235</c:v>
                </c:pt>
                <c:pt idx="4050">
                  <c:v>372.57452235</c:v>
                </c:pt>
                <c:pt idx="4051">
                  <c:v>372.5745149</c:v>
                </c:pt>
                <c:pt idx="4052">
                  <c:v>372.5745149</c:v>
                </c:pt>
                <c:pt idx="4053">
                  <c:v>372.5745149</c:v>
                </c:pt>
                <c:pt idx="4054">
                  <c:v>372.5745149</c:v>
                </c:pt>
                <c:pt idx="4055">
                  <c:v>372.5745149</c:v>
                </c:pt>
                <c:pt idx="4056">
                  <c:v>372.5745149</c:v>
                </c:pt>
                <c:pt idx="4057">
                  <c:v>372.5745149</c:v>
                </c:pt>
                <c:pt idx="4058">
                  <c:v>372.57450745000006</c:v>
                </c:pt>
                <c:pt idx="4059">
                  <c:v>372.57450745000006</c:v>
                </c:pt>
                <c:pt idx="4060">
                  <c:v>372.57450745000006</c:v>
                </c:pt>
                <c:pt idx="4061">
                  <c:v>372.57450745000006</c:v>
                </c:pt>
                <c:pt idx="4062">
                  <c:v>372.57450745000006</c:v>
                </c:pt>
                <c:pt idx="4063">
                  <c:v>372.57450745000006</c:v>
                </c:pt>
                <c:pt idx="4064">
                  <c:v>372.57450745000006</c:v>
                </c:pt>
                <c:pt idx="4065">
                  <c:v>372.57450745000006</c:v>
                </c:pt>
                <c:pt idx="4066">
                  <c:v>372.57450745000006</c:v>
                </c:pt>
                <c:pt idx="4067">
                  <c:v>372.5745</c:v>
                </c:pt>
                <c:pt idx="4068">
                  <c:v>372.5745</c:v>
                </c:pt>
                <c:pt idx="4069">
                  <c:v>372.5745</c:v>
                </c:pt>
                <c:pt idx="4070">
                  <c:v>372.5745</c:v>
                </c:pt>
                <c:pt idx="4071">
                  <c:v>372.5745</c:v>
                </c:pt>
                <c:pt idx="4072">
                  <c:v>372.5745</c:v>
                </c:pt>
                <c:pt idx="4073">
                  <c:v>372.5745</c:v>
                </c:pt>
                <c:pt idx="4074">
                  <c:v>372.5745</c:v>
                </c:pt>
                <c:pt idx="4075">
                  <c:v>372.5745</c:v>
                </c:pt>
                <c:pt idx="4076">
                  <c:v>372.5745</c:v>
                </c:pt>
                <c:pt idx="4077">
                  <c:v>372.5745</c:v>
                </c:pt>
                <c:pt idx="4078">
                  <c:v>372.5745</c:v>
                </c:pt>
                <c:pt idx="4079">
                  <c:v>372.5745</c:v>
                </c:pt>
                <c:pt idx="4080">
                  <c:v>372.5745</c:v>
                </c:pt>
                <c:pt idx="4081">
                  <c:v>372.5745</c:v>
                </c:pt>
                <c:pt idx="4082">
                  <c:v>372.5745</c:v>
                </c:pt>
                <c:pt idx="4083">
                  <c:v>372.5745</c:v>
                </c:pt>
                <c:pt idx="4084">
                  <c:v>372.5745</c:v>
                </c:pt>
                <c:pt idx="4085">
                  <c:v>372.5745</c:v>
                </c:pt>
                <c:pt idx="4086">
                  <c:v>372.5745</c:v>
                </c:pt>
                <c:pt idx="4087">
                  <c:v>372.5745</c:v>
                </c:pt>
                <c:pt idx="4088">
                  <c:v>372.5745</c:v>
                </c:pt>
                <c:pt idx="4089">
                  <c:v>372.5745</c:v>
                </c:pt>
                <c:pt idx="4090">
                  <c:v>372.5745</c:v>
                </c:pt>
                <c:pt idx="4091">
                  <c:v>372.5745</c:v>
                </c:pt>
                <c:pt idx="4092">
                  <c:v>372.5745</c:v>
                </c:pt>
                <c:pt idx="4093">
                  <c:v>372.5745</c:v>
                </c:pt>
                <c:pt idx="4094">
                  <c:v>372.5745</c:v>
                </c:pt>
                <c:pt idx="4095">
                  <c:v>372.5745</c:v>
                </c:pt>
                <c:pt idx="4096">
                  <c:v>372.5745</c:v>
                </c:pt>
                <c:pt idx="4097">
                  <c:v>372.5745</c:v>
                </c:pt>
                <c:pt idx="4098">
                  <c:v>372.5745</c:v>
                </c:pt>
                <c:pt idx="4099">
                  <c:v>372.5745</c:v>
                </c:pt>
                <c:pt idx="4100">
                  <c:v>372.5745</c:v>
                </c:pt>
                <c:pt idx="4101">
                  <c:v>372.5745</c:v>
                </c:pt>
                <c:pt idx="4102">
                  <c:v>372.5745</c:v>
                </c:pt>
                <c:pt idx="4103">
                  <c:v>372.5745</c:v>
                </c:pt>
                <c:pt idx="4104">
                  <c:v>372.5745</c:v>
                </c:pt>
                <c:pt idx="4105">
                  <c:v>372.5745</c:v>
                </c:pt>
                <c:pt idx="4106">
                  <c:v>372.5745</c:v>
                </c:pt>
                <c:pt idx="4107">
                  <c:v>372.5745</c:v>
                </c:pt>
                <c:pt idx="4108">
                  <c:v>372.5745</c:v>
                </c:pt>
                <c:pt idx="4109">
                  <c:v>372.5745</c:v>
                </c:pt>
                <c:pt idx="4110">
                  <c:v>372.5745</c:v>
                </c:pt>
                <c:pt idx="4111">
                  <c:v>372.5745</c:v>
                </c:pt>
                <c:pt idx="4112">
                  <c:v>372.5745</c:v>
                </c:pt>
                <c:pt idx="4113">
                  <c:v>372.5745</c:v>
                </c:pt>
                <c:pt idx="4114">
                  <c:v>372.5745</c:v>
                </c:pt>
                <c:pt idx="4115">
                  <c:v>372.5745</c:v>
                </c:pt>
                <c:pt idx="4116">
                  <c:v>372.5745</c:v>
                </c:pt>
                <c:pt idx="4117">
                  <c:v>372.5745</c:v>
                </c:pt>
                <c:pt idx="4118">
                  <c:v>372.5745</c:v>
                </c:pt>
                <c:pt idx="4119">
                  <c:v>372.5745</c:v>
                </c:pt>
                <c:pt idx="4120">
                  <c:v>372.5745</c:v>
                </c:pt>
                <c:pt idx="4121">
                  <c:v>372.5745</c:v>
                </c:pt>
                <c:pt idx="4122">
                  <c:v>372.5745</c:v>
                </c:pt>
                <c:pt idx="4123">
                  <c:v>372.5745</c:v>
                </c:pt>
                <c:pt idx="4124">
                  <c:v>372.5745</c:v>
                </c:pt>
                <c:pt idx="4125">
                  <c:v>372.5745</c:v>
                </c:pt>
                <c:pt idx="4126">
                  <c:v>372.5745</c:v>
                </c:pt>
                <c:pt idx="4127">
                  <c:v>372.5745</c:v>
                </c:pt>
                <c:pt idx="4128">
                  <c:v>372.5745</c:v>
                </c:pt>
                <c:pt idx="4129">
                  <c:v>372.5745</c:v>
                </c:pt>
                <c:pt idx="4130">
                  <c:v>372.5745</c:v>
                </c:pt>
                <c:pt idx="4131">
                  <c:v>372.5745</c:v>
                </c:pt>
                <c:pt idx="4132">
                  <c:v>372.5745</c:v>
                </c:pt>
                <c:pt idx="4133">
                  <c:v>372.5745</c:v>
                </c:pt>
                <c:pt idx="4134">
                  <c:v>372.5745</c:v>
                </c:pt>
                <c:pt idx="4135">
                  <c:v>372.5745</c:v>
                </c:pt>
                <c:pt idx="4136">
                  <c:v>372.5745</c:v>
                </c:pt>
                <c:pt idx="4137">
                  <c:v>372.5745</c:v>
                </c:pt>
                <c:pt idx="4138">
                  <c:v>372.5745</c:v>
                </c:pt>
                <c:pt idx="4139">
                  <c:v>372.5745</c:v>
                </c:pt>
                <c:pt idx="4140">
                  <c:v>372.5745</c:v>
                </c:pt>
                <c:pt idx="4141">
                  <c:v>372.5745</c:v>
                </c:pt>
                <c:pt idx="4142">
                  <c:v>372.5745</c:v>
                </c:pt>
                <c:pt idx="4143">
                  <c:v>372.5745</c:v>
                </c:pt>
                <c:pt idx="4144">
                  <c:v>372.5745</c:v>
                </c:pt>
                <c:pt idx="4145">
                  <c:v>372.5745</c:v>
                </c:pt>
                <c:pt idx="4146">
                  <c:v>372.5745</c:v>
                </c:pt>
                <c:pt idx="4147">
                  <c:v>372.5745</c:v>
                </c:pt>
                <c:pt idx="4148">
                  <c:v>372.5745</c:v>
                </c:pt>
                <c:pt idx="4149">
                  <c:v>372.5745</c:v>
                </c:pt>
                <c:pt idx="4150">
                  <c:v>372.5745</c:v>
                </c:pt>
                <c:pt idx="4151">
                  <c:v>372.5745</c:v>
                </c:pt>
                <c:pt idx="4152">
                  <c:v>372.5745</c:v>
                </c:pt>
                <c:pt idx="4153">
                  <c:v>372.5745</c:v>
                </c:pt>
                <c:pt idx="4154">
                  <c:v>372.5745</c:v>
                </c:pt>
                <c:pt idx="4155">
                  <c:v>372.5745</c:v>
                </c:pt>
                <c:pt idx="4156">
                  <c:v>372.5745</c:v>
                </c:pt>
                <c:pt idx="4157">
                  <c:v>372.5745</c:v>
                </c:pt>
                <c:pt idx="4158">
                  <c:v>372.5745</c:v>
                </c:pt>
                <c:pt idx="4159">
                  <c:v>372.5745</c:v>
                </c:pt>
                <c:pt idx="4160">
                  <c:v>372.5745</c:v>
                </c:pt>
                <c:pt idx="4161">
                  <c:v>372.5745</c:v>
                </c:pt>
                <c:pt idx="4162">
                  <c:v>372.5745</c:v>
                </c:pt>
                <c:pt idx="4163">
                  <c:v>372.5745</c:v>
                </c:pt>
                <c:pt idx="4164">
                  <c:v>372.5745</c:v>
                </c:pt>
                <c:pt idx="4165">
                  <c:v>372.5745</c:v>
                </c:pt>
                <c:pt idx="4166">
                  <c:v>372.5745</c:v>
                </c:pt>
                <c:pt idx="4167">
                  <c:v>372.5745</c:v>
                </c:pt>
                <c:pt idx="4168">
                  <c:v>372.5745</c:v>
                </c:pt>
                <c:pt idx="4169">
                  <c:v>372.5745</c:v>
                </c:pt>
                <c:pt idx="4170">
                  <c:v>372.5745</c:v>
                </c:pt>
                <c:pt idx="4171">
                  <c:v>372.5745</c:v>
                </c:pt>
                <c:pt idx="4172">
                  <c:v>372.5745</c:v>
                </c:pt>
                <c:pt idx="4173">
                  <c:v>372.5745</c:v>
                </c:pt>
                <c:pt idx="4174">
                  <c:v>372.5745</c:v>
                </c:pt>
                <c:pt idx="4175">
                  <c:v>372.5745</c:v>
                </c:pt>
                <c:pt idx="4176">
                  <c:v>372.5745</c:v>
                </c:pt>
                <c:pt idx="4177">
                  <c:v>372.5745</c:v>
                </c:pt>
                <c:pt idx="4178">
                  <c:v>372.5745</c:v>
                </c:pt>
                <c:pt idx="4179">
                  <c:v>372.5745</c:v>
                </c:pt>
                <c:pt idx="4180">
                  <c:v>372.5745</c:v>
                </c:pt>
                <c:pt idx="4181">
                  <c:v>372.5745</c:v>
                </c:pt>
                <c:pt idx="4182">
                  <c:v>372.5745</c:v>
                </c:pt>
                <c:pt idx="4183">
                  <c:v>372.5745</c:v>
                </c:pt>
                <c:pt idx="4184">
                  <c:v>372.5745</c:v>
                </c:pt>
                <c:pt idx="4185">
                  <c:v>372.5745</c:v>
                </c:pt>
                <c:pt idx="4186">
                  <c:v>372.5745</c:v>
                </c:pt>
                <c:pt idx="4187">
                  <c:v>372.5745</c:v>
                </c:pt>
                <c:pt idx="4188">
                  <c:v>372.5745</c:v>
                </c:pt>
                <c:pt idx="4189">
                  <c:v>372.5745</c:v>
                </c:pt>
                <c:pt idx="4190">
                  <c:v>372.5745</c:v>
                </c:pt>
                <c:pt idx="4191">
                  <c:v>372.5745</c:v>
                </c:pt>
                <c:pt idx="4192">
                  <c:v>372.5745</c:v>
                </c:pt>
                <c:pt idx="4193">
                  <c:v>372.5745</c:v>
                </c:pt>
                <c:pt idx="4194">
                  <c:v>372.5745</c:v>
                </c:pt>
                <c:pt idx="4195">
                  <c:v>372.5745</c:v>
                </c:pt>
                <c:pt idx="4196">
                  <c:v>372.5745</c:v>
                </c:pt>
                <c:pt idx="4197">
                  <c:v>372.5745</c:v>
                </c:pt>
                <c:pt idx="4198">
                  <c:v>372.5745</c:v>
                </c:pt>
                <c:pt idx="4199">
                  <c:v>372.5745</c:v>
                </c:pt>
                <c:pt idx="4200">
                  <c:v>372.5745</c:v>
                </c:pt>
                <c:pt idx="4201">
                  <c:v>372.5745</c:v>
                </c:pt>
                <c:pt idx="4202">
                  <c:v>372.5745</c:v>
                </c:pt>
                <c:pt idx="4203">
                  <c:v>372.5745</c:v>
                </c:pt>
                <c:pt idx="4204">
                  <c:v>372.5745</c:v>
                </c:pt>
                <c:pt idx="4205">
                  <c:v>372.5745</c:v>
                </c:pt>
                <c:pt idx="4206">
                  <c:v>372.5745</c:v>
                </c:pt>
                <c:pt idx="4207">
                  <c:v>372.5745</c:v>
                </c:pt>
                <c:pt idx="4208">
                  <c:v>372.5745</c:v>
                </c:pt>
                <c:pt idx="4209">
                  <c:v>372.5745</c:v>
                </c:pt>
                <c:pt idx="4210">
                  <c:v>372.5745</c:v>
                </c:pt>
                <c:pt idx="4211">
                  <c:v>372.5745</c:v>
                </c:pt>
                <c:pt idx="4212">
                  <c:v>372.5745</c:v>
                </c:pt>
                <c:pt idx="4213">
                  <c:v>372.5745</c:v>
                </c:pt>
                <c:pt idx="4214">
                  <c:v>372.5745</c:v>
                </c:pt>
                <c:pt idx="4215">
                  <c:v>372.5745</c:v>
                </c:pt>
                <c:pt idx="4216">
                  <c:v>372.5745</c:v>
                </c:pt>
                <c:pt idx="4217">
                  <c:v>372.5745</c:v>
                </c:pt>
                <c:pt idx="4218">
                  <c:v>372.5745</c:v>
                </c:pt>
                <c:pt idx="4219">
                  <c:v>372.5745</c:v>
                </c:pt>
                <c:pt idx="4220">
                  <c:v>372.5745</c:v>
                </c:pt>
                <c:pt idx="4221">
                  <c:v>372.5745</c:v>
                </c:pt>
                <c:pt idx="4222">
                  <c:v>372.5745</c:v>
                </c:pt>
                <c:pt idx="4223">
                  <c:v>372.5745</c:v>
                </c:pt>
                <c:pt idx="4224">
                  <c:v>372.5745</c:v>
                </c:pt>
                <c:pt idx="4225">
                  <c:v>372.5745</c:v>
                </c:pt>
                <c:pt idx="4226">
                  <c:v>372.5745</c:v>
                </c:pt>
                <c:pt idx="4227">
                  <c:v>372.5745</c:v>
                </c:pt>
                <c:pt idx="4228">
                  <c:v>372.5745</c:v>
                </c:pt>
                <c:pt idx="4229">
                  <c:v>372.5745</c:v>
                </c:pt>
                <c:pt idx="4230">
                  <c:v>372.5745</c:v>
                </c:pt>
                <c:pt idx="4231">
                  <c:v>372.5745</c:v>
                </c:pt>
                <c:pt idx="4232">
                  <c:v>372.5745</c:v>
                </c:pt>
                <c:pt idx="4233">
                  <c:v>372.5745</c:v>
                </c:pt>
                <c:pt idx="4234">
                  <c:v>372.5745</c:v>
                </c:pt>
                <c:pt idx="4235">
                  <c:v>372.5745</c:v>
                </c:pt>
                <c:pt idx="4236">
                  <c:v>372.5745</c:v>
                </c:pt>
                <c:pt idx="4237">
                  <c:v>372.5745</c:v>
                </c:pt>
                <c:pt idx="4238">
                  <c:v>372.5745</c:v>
                </c:pt>
                <c:pt idx="4239">
                  <c:v>372.5745</c:v>
                </c:pt>
                <c:pt idx="4240">
                  <c:v>372.5745</c:v>
                </c:pt>
                <c:pt idx="4241">
                  <c:v>372.5745</c:v>
                </c:pt>
                <c:pt idx="4242">
                  <c:v>372.5745</c:v>
                </c:pt>
                <c:pt idx="4243">
                  <c:v>372.5745</c:v>
                </c:pt>
                <c:pt idx="4244">
                  <c:v>372.5745</c:v>
                </c:pt>
                <c:pt idx="4245">
                  <c:v>372.5745</c:v>
                </c:pt>
                <c:pt idx="4246">
                  <c:v>372.5745</c:v>
                </c:pt>
                <c:pt idx="4247">
                  <c:v>372.5745</c:v>
                </c:pt>
                <c:pt idx="4248">
                  <c:v>372.5745</c:v>
                </c:pt>
                <c:pt idx="4249">
                  <c:v>372.5745</c:v>
                </c:pt>
                <c:pt idx="4250">
                  <c:v>372.5745</c:v>
                </c:pt>
                <c:pt idx="4251">
                  <c:v>372.5745</c:v>
                </c:pt>
                <c:pt idx="4252">
                  <c:v>372.5745</c:v>
                </c:pt>
                <c:pt idx="4253">
                  <c:v>372.5745</c:v>
                </c:pt>
                <c:pt idx="4254">
                  <c:v>372.5745</c:v>
                </c:pt>
                <c:pt idx="4255">
                  <c:v>372.5745</c:v>
                </c:pt>
                <c:pt idx="4256">
                  <c:v>372.5745</c:v>
                </c:pt>
                <c:pt idx="4257">
                  <c:v>372.5745</c:v>
                </c:pt>
                <c:pt idx="4258">
                  <c:v>372.5745</c:v>
                </c:pt>
                <c:pt idx="4259">
                  <c:v>372.5745</c:v>
                </c:pt>
                <c:pt idx="4260">
                  <c:v>372.5745</c:v>
                </c:pt>
                <c:pt idx="4261">
                  <c:v>372.5745</c:v>
                </c:pt>
                <c:pt idx="4262">
                  <c:v>372.5745</c:v>
                </c:pt>
                <c:pt idx="4263">
                  <c:v>372.5745</c:v>
                </c:pt>
                <c:pt idx="4264">
                  <c:v>372.5745</c:v>
                </c:pt>
                <c:pt idx="4265">
                  <c:v>372.5745</c:v>
                </c:pt>
                <c:pt idx="4266">
                  <c:v>372.5745</c:v>
                </c:pt>
                <c:pt idx="4267">
                  <c:v>372.5745</c:v>
                </c:pt>
                <c:pt idx="4268">
                  <c:v>372.5745</c:v>
                </c:pt>
                <c:pt idx="4269">
                  <c:v>372.5745</c:v>
                </c:pt>
                <c:pt idx="4270">
                  <c:v>372.5745</c:v>
                </c:pt>
                <c:pt idx="4271">
                  <c:v>372.5745</c:v>
                </c:pt>
                <c:pt idx="4272">
                  <c:v>372.5745</c:v>
                </c:pt>
                <c:pt idx="4273">
                  <c:v>372.5745</c:v>
                </c:pt>
                <c:pt idx="4274">
                  <c:v>372.5745</c:v>
                </c:pt>
                <c:pt idx="4275">
                  <c:v>372.5745</c:v>
                </c:pt>
                <c:pt idx="4276">
                  <c:v>372.5745</c:v>
                </c:pt>
                <c:pt idx="4277">
                  <c:v>372.5745</c:v>
                </c:pt>
                <c:pt idx="4278">
                  <c:v>372.5745</c:v>
                </c:pt>
                <c:pt idx="4279">
                  <c:v>372.5745</c:v>
                </c:pt>
                <c:pt idx="4280">
                  <c:v>372.5745</c:v>
                </c:pt>
                <c:pt idx="4281">
                  <c:v>372.5745</c:v>
                </c:pt>
                <c:pt idx="4282">
                  <c:v>372.5745</c:v>
                </c:pt>
                <c:pt idx="4283">
                  <c:v>372.5745</c:v>
                </c:pt>
                <c:pt idx="4284">
                  <c:v>372.5745</c:v>
                </c:pt>
                <c:pt idx="4285">
                  <c:v>372.5745</c:v>
                </c:pt>
                <c:pt idx="4286">
                  <c:v>372.5745</c:v>
                </c:pt>
                <c:pt idx="4287">
                  <c:v>372.5745</c:v>
                </c:pt>
                <c:pt idx="4288">
                  <c:v>372.5745</c:v>
                </c:pt>
                <c:pt idx="4289">
                  <c:v>372.5745</c:v>
                </c:pt>
                <c:pt idx="4290">
                  <c:v>372.5745</c:v>
                </c:pt>
                <c:pt idx="4291">
                  <c:v>372.5745</c:v>
                </c:pt>
                <c:pt idx="4292">
                  <c:v>372.5745</c:v>
                </c:pt>
                <c:pt idx="4293">
                  <c:v>372.5745</c:v>
                </c:pt>
                <c:pt idx="4294">
                  <c:v>372.5745</c:v>
                </c:pt>
                <c:pt idx="4295">
                  <c:v>372.5745</c:v>
                </c:pt>
                <c:pt idx="4296">
                  <c:v>372.5745</c:v>
                </c:pt>
                <c:pt idx="4297">
                  <c:v>372.5745</c:v>
                </c:pt>
                <c:pt idx="4298">
                  <c:v>372.5745</c:v>
                </c:pt>
                <c:pt idx="4299">
                  <c:v>372.5745</c:v>
                </c:pt>
                <c:pt idx="4300">
                  <c:v>372.5745</c:v>
                </c:pt>
                <c:pt idx="4301">
                  <c:v>372.5745</c:v>
                </c:pt>
                <c:pt idx="4302">
                  <c:v>372.5745</c:v>
                </c:pt>
                <c:pt idx="4303">
                  <c:v>372.5745</c:v>
                </c:pt>
                <c:pt idx="4304">
                  <c:v>372.5745</c:v>
                </c:pt>
                <c:pt idx="4305">
                  <c:v>372.5745</c:v>
                </c:pt>
                <c:pt idx="4306">
                  <c:v>372.5745</c:v>
                </c:pt>
                <c:pt idx="4307">
                  <c:v>372.5745</c:v>
                </c:pt>
                <c:pt idx="4308">
                  <c:v>372.5745</c:v>
                </c:pt>
                <c:pt idx="4309">
                  <c:v>372.5745</c:v>
                </c:pt>
                <c:pt idx="4310">
                  <c:v>372.5745</c:v>
                </c:pt>
                <c:pt idx="4311">
                  <c:v>372.5745</c:v>
                </c:pt>
                <c:pt idx="4312">
                  <c:v>372.5745</c:v>
                </c:pt>
                <c:pt idx="4313">
                  <c:v>372.5745</c:v>
                </c:pt>
                <c:pt idx="4314">
                  <c:v>372.5745</c:v>
                </c:pt>
                <c:pt idx="4315">
                  <c:v>372.5745</c:v>
                </c:pt>
                <c:pt idx="4316">
                  <c:v>372.5745</c:v>
                </c:pt>
                <c:pt idx="4317">
                  <c:v>372.5745</c:v>
                </c:pt>
                <c:pt idx="4318">
                  <c:v>372.5745</c:v>
                </c:pt>
                <c:pt idx="4319">
                  <c:v>372.5745</c:v>
                </c:pt>
                <c:pt idx="4320">
                  <c:v>372.5745</c:v>
                </c:pt>
                <c:pt idx="4321">
                  <c:v>372.5745</c:v>
                </c:pt>
                <c:pt idx="4322">
                  <c:v>372.5745</c:v>
                </c:pt>
                <c:pt idx="4323">
                  <c:v>372.5745</c:v>
                </c:pt>
                <c:pt idx="4324">
                  <c:v>372.5745</c:v>
                </c:pt>
                <c:pt idx="4325">
                  <c:v>372.5745</c:v>
                </c:pt>
                <c:pt idx="4326">
                  <c:v>372.5745</c:v>
                </c:pt>
                <c:pt idx="4327">
                  <c:v>372.5745</c:v>
                </c:pt>
                <c:pt idx="4328">
                  <c:v>372.5745</c:v>
                </c:pt>
                <c:pt idx="4329">
                  <c:v>372.5745</c:v>
                </c:pt>
                <c:pt idx="4330">
                  <c:v>372.5745</c:v>
                </c:pt>
                <c:pt idx="4331">
                  <c:v>372.5745</c:v>
                </c:pt>
                <c:pt idx="4332">
                  <c:v>372.5745</c:v>
                </c:pt>
                <c:pt idx="4333">
                  <c:v>372.5745</c:v>
                </c:pt>
                <c:pt idx="4334">
                  <c:v>372.5745</c:v>
                </c:pt>
                <c:pt idx="4335">
                  <c:v>372.5745</c:v>
                </c:pt>
                <c:pt idx="4336">
                  <c:v>372.5745</c:v>
                </c:pt>
                <c:pt idx="4337">
                  <c:v>372.5745</c:v>
                </c:pt>
                <c:pt idx="4338">
                  <c:v>372.5745</c:v>
                </c:pt>
                <c:pt idx="4339">
                  <c:v>372.5745</c:v>
                </c:pt>
                <c:pt idx="4340">
                  <c:v>372.5745</c:v>
                </c:pt>
                <c:pt idx="4341">
                  <c:v>372.5745</c:v>
                </c:pt>
                <c:pt idx="4342">
                  <c:v>372.5745</c:v>
                </c:pt>
                <c:pt idx="4343">
                  <c:v>372.5745</c:v>
                </c:pt>
                <c:pt idx="4344">
                  <c:v>372.5745</c:v>
                </c:pt>
                <c:pt idx="4345">
                  <c:v>372.5745</c:v>
                </c:pt>
                <c:pt idx="4346">
                  <c:v>372.5745</c:v>
                </c:pt>
                <c:pt idx="4347">
                  <c:v>372.5745</c:v>
                </c:pt>
                <c:pt idx="4348">
                  <c:v>372.5745</c:v>
                </c:pt>
                <c:pt idx="4349">
                  <c:v>372.5745</c:v>
                </c:pt>
                <c:pt idx="4350">
                  <c:v>372.5745</c:v>
                </c:pt>
                <c:pt idx="4351">
                  <c:v>372.5745</c:v>
                </c:pt>
                <c:pt idx="4352">
                  <c:v>372.5745</c:v>
                </c:pt>
                <c:pt idx="4353">
                  <c:v>372.5745</c:v>
                </c:pt>
                <c:pt idx="4354">
                  <c:v>372.5745</c:v>
                </c:pt>
                <c:pt idx="4355">
                  <c:v>372.5745</c:v>
                </c:pt>
                <c:pt idx="4356">
                  <c:v>372.5745</c:v>
                </c:pt>
                <c:pt idx="4357">
                  <c:v>372.5745</c:v>
                </c:pt>
                <c:pt idx="4358">
                  <c:v>372.5745</c:v>
                </c:pt>
                <c:pt idx="4359">
                  <c:v>372.5745</c:v>
                </c:pt>
                <c:pt idx="4360">
                  <c:v>372.5745</c:v>
                </c:pt>
                <c:pt idx="4361">
                  <c:v>372.5745</c:v>
                </c:pt>
                <c:pt idx="4362">
                  <c:v>372.5745</c:v>
                </c:pt>
                <c:pt idx="4363">
                  <c:v>372.5745</c:v>
                </c:pt>
                <c:pt idx="4364">
                  <c:v>372.5745</c:v>
                </c:pt>
                <c:pt idx="4365">
                  <c:v>372.5745</c:v>
                </c:pt>
                <c:pt idx="4366">
                  <c:v>372.5745</c:v>
                </c:pt>
                <c:pt idx="4367">
                  <c:v>372.5745</c:v>
                </c:pt>
                <c:pt idx="4368">
                  <c:v>372.5745</c:v>
                </c:pt>
                <c:pt idx="4369">
                  <c:v>372.5745</c:v>
                </c:pt>
                <c:pt idx="4370">
                  <c:v>372.5745</c:v>
                </c:pt>
                <c:pt idx="4371">
                  <c:v>372.5745</c:v>
                </c:pt>
                <c:pt idx="4372">
                  <c:v>372.5745</c:v>
                </c:pt>
                <c:pt idx="4373">
                  <c:v>372.5745</c:v>
                </c:pt>
                <c:pt idx="4374">
                  <c:v>372.5745</c:v>
                </c:pt>
                <c:pt idx="4375">
                  <c:v>372.5745</c:v>
                </c:pt>
                <c:pt idx="4376">
                  <c:v>372.5745</c:v>
                </c:pt>
                <c:pt idx="4377">
                  <c:v>372.5745</c:v>
                </c:pt>
                <c:pt idx="4378">
                  <c:v>372.5745</c:v>
                </c:pt>
                <c:pt idx="4379">
                  <c:v>372.5745</c:v>
                </c:pt>
                <c:pt idx="4380">
                  <c:v>372.5745</c:v>
                </c:pt>
                <c:pt idx="4381">
                  <c:v>372.5745</c:v>
                </c:pt>
                <c:pt idx="4382">
                  <c:v>372.5745</c:v>
                </c:pt>
                <c:pt idx="4383">
                  <c:v>372.5745</c:v>
                </c:pt>
                <c:pt idx="4384">
                  <c:v>372.5745</c:v>
                </c:pt>
                <c:pt idx="4385">
                  <c:v>372.5745</c:v>
                </c:pt>
                <c:pt idx="4386">
                  <c:v>372.5745</c:v>
                </c:pt>
                <c:pt idx="4387">
                  <c:v>372.5745</c:v>
                </c:pt>
                <c:pt idx="4388">
                  <c:v>372.5745</c:v>
                </c:pt>
                <c:pt idx="4389">
                  <c:v>372.5745</c:v>
                </c:pt>
                <c:pt idx="4390">
                  <c:v>372.5745</c:v>
                </c:pt>
                <c:pt idx="4391">
                  <c:v>372.5745</c:v>
                </c:pt>
                <c:pt idx="4392">
                  <c:v>372.5745</c:v>
                </c:pt>
                <c:pt idx="4393">
                  <c:v>372.5745</c:v>
                </c:pt>
                <c:pt idx="4394">
                  <c:v>372.5745</c:v>
                </c:pt>
                <c:pt idx="4395">
                  <c:v>372.5745</c:v>
                </c:pt>
                <c:pt idx="4396">
                  <c:v>372.5745</c:v>
                </c:pt>
                <c:pt idx="4397">
                  <c:v>372.5745</c:v>
                </c:pt>
                <c:pt idx="4398">
                  <c:v>372.5745</c:v>
                </c:pt>
                <c:pt idx="4399">
                  <c:v>372.5745</c:v>
                </c:pt>
                <c:pt idx="4400">
                  <c:v>372.5745</c:v>
                </c:pt>
                <c:pt idx="4401">
                  <c:v>372.5745</c:v>
                </c:pt>
                <c:pt idx="4402">
                  <c:v>372.5745</c:v>
                </c:pt>
                <c:pt idx="4403">
                  <c:v>372.5745</c:v>
                </c:pt>
                <c:pt idx="4404">
                  <c:v>372.5745</c:v>
                </c:pt>
                <c:pt idx="4405">
                  <c:v>372.5745</c:v>
                </c:pt>
                <c:pt idx="4406">
                  <c:v>372.5745</c:v>
                </c:pt>
                <c:pt idx="4407">
                  <c:v>372.5745</c:v>
                </c:pt>
                <c:pt idx="4408">
                  <c:v>372.5745</c:v>
                </c:pt>
                <c:pt idx="4409">
                  <c:v>372.5745</c:v>
                </c:pt>
                <c:pt idx="4410">
                  <c:v>372.5745</c:v>
                </c:pt>
                <c:pt idx="4411">
                  <c:v>372.5745</c:v>
                </c:pt>
                <c:pt idx="4412">
                  <c:v>372.5745</c:v>
                </c:pt>
                <c:pt idx="4413">
                  <c:v>372.5745</c:v>
                </c:pt>
                <c:pt idx="4414">
                  <c:v>372.5745</c:v>
                </c:pt>
                <c:pt idx="4415">
                  <c:v>372.5745</c:v>
                </c:pt>
                <c:pt idx="4416">
                  <c:v>372.5745</c:v>
                </c:pt>
                <c:pt idx="4417">
                  <c:v>372.5745</c:v>
                </c:pt>
                <c:pt idx="4418">
                  <c:v>372.5745</c:v>
                </c:pt>
                <c:pt idx="4419">
                  <c:v>372.5745</c:v>
                </c:pt>
                <c:pt idx="4420">
                  <c:v>372.5745</c:v>
                </c:pt>
                <c:pt idx="4421">
                  <c:v>372.5745</c:v>
                </c:pt>
                <c:pt idx="4422">
                  <c:v>372.5745</c:v>
                </c:pt>
                <c:pt idx="4423">
                  <c:v>372.5745</c:v>
                </c:pt>
                <c:pt idx="4424">
                  <c:v>372.5745</c:v>
                </c:pt>
                <c:pt idx="4425">
                  <c:v>372.5745</c:v>
                </c:pt>
                <c:pt idx="4426">
                  <c:v>372.5745</c:v>
                </c:pt>
                <c:pt idx="4427">
                  <c:v>372.5745</c:v>
                </c:pt>
                <c:pt idx="4428">
                  <c:v>372.5745</c:v>
                </c:pt>
                <c:pt idx="4429">
                  <c:v>372.5745</c:v>
                </c:pt>
                <c:pt idx="4430">
                  <c:v>372.5745</c:v>
                </c:pt>
                <c:pt idx="4431">
                  <c:v>372.5745</c:v>
                </c:pt>
                <c:pt idx="4432">
                  <c:v>372.5745</c:v>
                </c:pt>
                <c:pt idx="4433">
                  <c:v>372.5745</c:v>
                </c:pt>
                <c:pt idx="4434">
                  <c:v>372.5745</c:v>
                </c:pt>
                <c:pt idx="4435">
                  <c:v>372.5745</c:v>
                </c:pt>
                <c:pt idx="4436">
                  <c:v>372.5745</c:v>
                </c:pt>
                <c:pt idx="4437">
                  <c:v>372.5745</c:v>
                </c:pt>
                <c:pt idx="4438">
                  <c:v>372.5745</c:v>
                </c:pt>
                <c:pt idx="4439">
                  <c:v>372.5745</c:v>
                </c:pt>
                <c:pt idx="4440">
                  <c:v>372.5745</c:v>
                </c:pt>
                <c:pt idx="4441">
                  <c:v>372.5745</c:v>
                </c:pt>
                <c:pt idx="4442">
                  <c:v>372.5745</c:v>
                </c:pt>
                <c:pt idx="4443">
                  <c:v>372.5745</c:v>
                </c:pt>
                <c:pt idx="4444">
                  <c:v>372.5745</c:v>
                </c:pt>
                <c:pt idx="4445">
                  <c:v>372.5745</c:v>
                </c:pt>
                <c:pt idx="4446">
                  <c:v>372.5745</c:v>
                </c:pt>
                <c:pt idx="4447">
                  <c:v>372.5745</c:v>
                </c:pt>
                <c:pt idx="4448">
                  <c:v>372.5745</c:v>
                </c:pt>
                <c:pt idx="4449">
                  <c:v>372.5745</c:v>
                </c:pt>
                <c:pt idx="4450">
                  <c:v>372.5745</c:v>
                </c:pt>
                <c:pt idx="4451">
                  <c:v>372.5745</c:v>
                </c:pt>
                <c:pt idx="4452">
                  <c:v>372.5745</c:v>
                </c:pt>
                <c:pt idx="4453">
                  <c:v>372.5745</c:v>
                </c:pt>
                <c:pt idx="4454">
                  <c:v>372.5745</c:v>
                </c:pt>
                <c:pt idx="4455">
                  <c:v>372.5745</c:v>
                </c:pt>
                <c:pt idx="4456">
                  <c:v>372.57449255</c:v>
                </c:pt>
                <c:pt idx="4457">
                  <c:v>372.57449255</c:v>
                </c:pt>
                <c:pt idx="4458">
                  <c:v>372.57449255</c:v>
                </c:pt>
                <c:pt idx="4459">
                  <c:v>372.57449255</c:v>
                </c:pt>
                <c:pt idx="4460">
                  <c:v>372.5744851</c:v>
                </c:pt>
                <c:pt idx="4461">
                  <c:v>372.5744851</c:v>
                </c:pt>
                <c:pt idx="4462">
                  <c:v>372.5744851</c:v>
                </c:pt>
                <c:pt idx="4463">
                  <c:v>372.5744851</c:v>
                </c:pt>
                <c:pt idx="4464">
                  <c:v>372.5744851</c:v>
                </c:pt>
                <c:pt idx="4465">
                  <c:v>372.5744851</c:v>
                </c:pt>
                <c:pt idx="4466">
                  <c:v>372.5744851</c:v>
                </c:pt>
                <c:pt idx="4467">
                  <c:v>372.57447765000001</c:v>
                </c:pt>
                <c:pt idx="4468">
                  <c:v>372.57447765000001</c:v>
                </c:pt>
                <c:pt idx="4469">
                  <c:v>372.57447020000001</c:v>
                </c:pt>
                <c:pt idx="4470">
                  <c:v>372.57447020000001</c:v>
                </c:pt>
                <c:pt idx="4471">
                  <c:v>372.57447020000001</c:v>
                </c:pt>
                <c:pt idx="4472">
                  <c:v>372.57446275000001</c:v>
                </c:pt>
                <c:pt idx="4473">
                  <c:v>372.57446275000001</c:v>
                </c:pt>
                <c:pt idx="4474">
                  <c:v>372.57446275000001</c:v>
                </c:pt>
                <c:pt idx="4475">
                  <c:v>372.57446275000001</c:v>
                </c:pt>
                <c:pt idx="4476">
                  <c:v>372.57446275000001</c:v>
                </c:pt>
                <c:pt idx="4477">
                  <c:v>372.57445530000001</c:v>
                </c:pt>
                <c:pt idx="4478">
                  <c:v>372.57445530000001</c:v>
                </c:pt>
                <c:pt idx="4479">
                  <c:v>372.57445530000001</c:v>
                </c:pt>
                <c:pt idx="4480">
                  <c:v>372.57442550000002</c:v>
                </c:pt>
                <c:pt idx="4481">
                  <c:v>372.53725000000003</c:v>
                </c:pt>
                <c:pt idx="4482">
                  <c:v>372.53725000000003</c:v>
                </c:pt>
                <c:pt idx="4483">
                  <c:v>372.50039485000002</c:v>
                </c:pt>
                <c:pt idx="4484">
                  <c:v>372.50014900000002</c:v>
                </c:pt>
                <c:pt idx="4485">
                  <c:v>372.50005960000004</c:v>
                </c:pt>
                <c:pt idx="4486">
                  <c:v>372.50003725000005</c:v>
                </c:pt>
                <c:pt idx="4487">
                  <c:v>372.50002979999999</c:v>
                </c:pt>
                <c:pt idx="4488">
                  <c:v>372.50002979999999</c:v>
                </c:pt>
                <c:pt idx="4489">
                  <c:v>372.50002979999999</c:v>
                </c:pt>
                <c:pt idx="4490">
                  <c:v>372.50002234999999</c:v>
                </c:pt>
                <c:pt idx="4491">
                  <c:v>372.50002234999999</c:v>
                </c:pt>
                <c:pt idx="4492">
                  <c:v>372.50002234999999</c:v>
                </c:pt>
                <c:pt idx="4493">
                  <c:v>372.50002234999999</c:v>
                </c:pt>
                <c:pt idx="4494">
                  <c:v>372.50002234999999</c:v>
                </c:pt>
                <c:pt idx="4495">
                  <c:v>372.50002234999999</c:v>
                </c:pt>
                <c:pt idx="4496">
                  <c:v>372.5000149</c:v>
                </c:pt>
                <c:pt idx="4497">
                  <c:v>372.5000149</c:v>
                </c:pt>
                <c:pt idx="4498">
                  <c:v>372.5000149</c:v>
                </c:pt>
                <c:pt idx="4499">
                  <c:v>372.5000149</c:v>
                </c:pt>
                <c:pt idx="4500">
                  <c:v>372.50000745</c:v>
                </c:pt>
                <c:pt idx="4501">
                  <c:v>372.50000745</c:v>
                </c:pt>
                <c:pt idx="4502">
                  <c:v>372.50000745</c:v>
                </c:pt>
                <c:pt idx="4503">
                  <c:v>372.50000745</c:v>
                </c:pt>
                <c:pt idx="4504">
                  <c:v>372.50000745</c:v>
                </c:pt>
                <c:pt idx="4505">
                  <c:v>372.5</c:v>
                </c:pt>
                <c:pt idx="4506">
                  <c:v>372.5</c:v>
                </c:pt>
                <c:pt idx="4507">
                  <c:v>372.5</c:v>
                </c:pt>
                <c:pt idx="4508">
                  <c:v>372.5</c:v>
                </c:pt>
                <c:pt idx="4509">
                  <c:v>372.5</c:v>
                </c:pt>
                <c:pt idx="4510">
                  <c:v>372.5</c:v>
                </c:pt>
                <c:pt idx="4511">
                  <c:v>372.5</c:v>
                </c:pt>
                <c:pt idx="4512">
                  <c:v>372.5</c:v>
                </c:pt>
                <c:pt idx="4513">
                  <c:v>372.5</c:v>
                </c:pt>
                <c:pt idx="4514">
                  <c:v>372.5</c:v>
                </c:pt>
                <c:pt idx="4515">
                  <c:v>372.5</c:v>
                </c:pt>
                <c:pt idx="4516">
                  <c:v>372.5</c:v>
                </c:pt>
                <c:pt idx="4517">
                  <c:v>372.5</c:v>
                </c:pt>
                <c:pt idx="4518">
                  <c:v>372.5</c:v>
                </c:pt>
                <c:pt idx="4519">
                  <c:v>372.5</c:v>
                </c:pt>
                <c:pt idx="4520">
                  <c:v>372.5</c:v>
                </c:pt>
                <c:pt idx="4521">
                  <c:v>372.5</c:v>
                </c:pt>
                <c:pt idx="4522">
                  <c:v>372.5</c:v>
                </c:pt>
                <c:pt idx="4523">
                  <c:v>372.5</c:v>
                </c:pt>
                <c:pt idx="4524">
                  <c:v>372.5</c:v>
                </c:pt>
                <c:pt idx="4525">
                  <c:v>372.5</c:v>
                </c:pt>
                <c:pt idx="4526">
                  <c:v>372.5</c:v>
                </c:pt>
                <c:pt idx="4527">
                  <c:v>372.5</c:v>
                </c:pt>
                <c:pt idx="4528">
                  <c:v>372.5</c:v>
                </c:pt>
                <c:pt idx="4529">
                  <c:v>372.5</c:v>
                </c:pt>
                <c:pt idx="4530">
                  <c:v>372.5</c:v>
                </c:pt>
                <c:pt idx="4531">
                  <c:v>372.5</c:v>
                </c:pt>
                <c:pt idx="4532">
                  <c:v>372.5</c:v>
                </c:pt>
                <c:pt idx="4533">
                  <c:v>372.5</c:v>
                </c:pt>
                <c:pt idx="4534">
                  <c:v>372.5</c:v>
                </c:pt>
                <c:pt idx="4535">
                  <c:v>372.5</c:v>
                </c:pt>
                <c:pt idx="4536">
                  <c:v>372.5</c:v>
                </c:pt>
                <c:pt idx="4537">
                  <c:v>372.5</c:v>
                </c:pt>
                <c:pt idx="4538">
                  <c:v>372.5</c:v>
                </c:pt>
                <c:pt idx="4539">
                  <c:v>372.5</c:v>
                </c:pt>
                <c:pt idx="4540">
                  <c:v>372.5</c:v>
                </c:pt>
                <c:pt idx="4541">
                  <c:v>372.5</c:v>
                </c:pt>
                <c:pt idx="4542">
                  <c:v>372.5</c:v>
                </c:pt>
                <c:pt idx="4543">
                  <c:v>372.5</c:v>
                </c:pt>
                <c:pt idx="4544">
                  <c:v>372.5</c:v>
                </c:pt>
                <c:pt idx="4545">
                  <c:v>372.5</c:v>
                </c:pt>
                <c:pt idx="4546">
                  <c:v>372.5</c:v>
                </c:pt>
                <c:pt idx="4547">
                  <c:v>372.5</c:v>
                </c:pt>
                <c:pt idx="4548">
                  <c:v>372.5</c:v>
                </c:pt>
                <c:pt idx="4549">
                  <c:v>372.5</c:v>
                </c:pt>
                <c:pt idx="4550">
                  <c:v>372.5</c:v>
                </c:pt>
                <c:pt idx="4551">
                  <c:v>372.5</c:v>
                </c:pt>
                <c:pt idx="4552">
                  <c:v>372.5</c:v>
                </c:pt>
                <c:pt idx="4553">
                  <c:v>372.5</c:v>
                </c:pt>
                <c:pt idx="4554">
                  <c:v>372.5</c:v>
                </c:pt>
                <c:pt idx="4555">
                  <c:v>372.5</c:v>
                </c:pt>
                <c:pt idx="4556">
                  <c:v>372.5</c:v>
                </c:pt>
                <c:pt idx="4557">
                  <c:v>372.5</c:v>
                </c:pt>
                <c:pt idx="4558">
                  <c:v>372.5</c:v>
                </c:pt>
                <c:pt idx="4559">
                  <c:v>372.5</c:v>
                </c:pt>
                <c:pt idx="4560">
                  <c:v>372.5</c:v>
                </c:pt>
                <c:pt idx="4561">
                  <c:v>372.5</c:v>
                </c:pt>
                <c:pt idx="4562">
                  <c:v>372.5</c:v>
                </c:pt>
                <c:pt idx="4563">
                  <c:v>372.5</c:v>
                </c:pt>
                <c:pt idx="4564">
                  <c:v>372.5</c:v>
                </c:pt>
                <c:pt idx="4565">
                  <c:v>372.5</c:v>
                </c:pt>
                <c:pt idx="4566">
                  <c:v>372.5</c:v>
                </c:pt>
                <c:pt idx="4567">
                  <c:v>372.5</c:v>
                </c:pt>
                <c:pt idx="4568">
                  <c:v>372.5</c:v>
                </c:pt>
                <c:pt idx="4569">
                  <c:v>372.5</c:v>
                </c:pt>
                <c:pt idx="4570">
                  <c:v>372.5</c:v>
                </c:pt>
                <c:pt idx="4571">
                  <c:v>372.5</c:v>
                </c:pt>
                <c:pt idx="4572">
                  <c:v>372.5</c:v>
                </c:pt>
                <c:pt idx="4573">
                  <c:v>372.5</c:v>
                </c:pt>
                <c:pt idx="4574">
                  <c:v>372.5</c:v>
                </c:pt>
                <c:pt idx="4575">
                  <c:v>372.5</c:v>
                </c:pt>
                <c:pt idx="4576">
                  <c:v>372.5</c:v>
                </c:pt>
                <c:pt idx="4577">
                  <c:v>372.5</c:v>
                </c:pt>
                <c:pt idx="4578">
                  <c:v>372.5</c:v>
                </c:pt>
                <c:pt idx="4579">
                  <c:v>372.5</c:v>
                </c:pt>
                <c:pt idx="4580">
                  <c:v>372.5</c:v>
                </c:pt>
                <c:pt idx="4581">
                  <c:v>372.5</c:v>
                </c:pt>
                <c:pt idx="4582">
                  <c:v>372.5</c:v>
                </c:pt>
                <c:pt idx="4583">
                  <c:v>372.5</c:v>
                </c:pt>
                <c:pt idx="4584">
                  <c:v>372.5</c:v>
                </c:pt>
                <c:pt idx="4585">
                  <c:v>372.5</c:v>
                </c:pt>
                <c:pt idx="4586">
                  <c:v>372.5</c:v>
                </c:pt>
                <c:pt idx="4587">
                  <c:v>372.5</c:v>
                </c:pt>
                <c:pt idx="4588">
                  <c:v>372.5</c:v>
                </c:pt>
                <c:pt idx="4589">
                  <c:v>372.5</c:v>
                </c:pt>
                <c:pt idx="4590">
                  <c:v>372.5</c:v>
                </c:pt>
                <c:pt idx="4591">
                  <c:v>372.5</c:v>
                </c:pt>
                <c:pt idx="4592">
                  <c:v>372.5</c:v>
                </c:pt>
                <c:pt idx="4593">
                  <c:v>372.5</c:v>
                </c:pt>
                <c:pt idx="4594">
                  <c:v>372.5</c:v>
                </c:pt>
                <c:pt idx="4595">
                  <c:v>372.5</c:v>
                </c:pt>
                <c:pt idx="4596">
                  <c:v>372.5</c:v>
                </c:pt>
                <c:pt idx="4597">
                  <c:v>372.5</c:v>
                </c:pt>
                <c:pt idx="4598">
                  <c:v>372.5</c:v>
                </c:pt>
                <c:pt idx="4599">
                  <c:v>372.5</c:v>
                </c:pt>
                <c:pt idx="4600">
                  <c:v>372.5</c:v>
                </c:pt>
                <c:pt idx="4601">
                  <c:v>372.5</c:v>
                </c:pt>
                <c:pt idx="4602">
                  <c:v>372.5</c:v>
                </c:pt>
                <c:pt idx="4603">
                  <c:v>372.5</c:v>
                </c:pt>
                <c:pt idx="4604">
                  <c:v>372.5</c:v>
                </c:pt>
                <c:pt idx="4605">
                  <c:v>372.5</c:v>
                </c:pt>
                <c:pt idx="4606">
                  <c:v>372.5</c:v>
                </c:pt>
                <c:pt idx="4607">
                  <c:v>372.5</c:v>
                </c:pt>
                <c:pt idx="4608">
                  <c:v>372.5</c:v>
                </c:pt>
                <c:pt idx="4609">
                  <c:v>372.5</c:v>
                </c:pt>
                <c:pt idx="4610">
                  <c:v>372.5</c:v>
                </c:pt>
                <c:pt idx="4611">
                  <c:v>372.5</c:v>
                </c:pt>
                <c:pt idx="4612">
                  <c:v>372.5</c:v>
                </c:pt>
                <c:pt idx="4613">
                  <c:v>372.5</c:v>
                </c:pt>
                <c:pt idx="4614">
                  <c:v>372.5</c:v>
                </c:pt>
                <c:pt idx="4615">
                  <c:v>372.5</c:v>
                </c:pt>
                <c:pt idx="4616">
                  <c:v>372.5</c:v>
                </c:pt>
                <c:pt idx="4617">
                  <c:v>372.5</c:v>
                </c:pt>
                <c:pt idx="4618">
                  <c:v>372.5</c:v>
                </c:pt>
                <c:pt idx="4619">
                  <c:v>372.5</c:v>
                </c:pt>
                <c:pt idx="4620">
                  <c:v>372.5</c:v>
                </c:pt>
                <c:pt idx="4621">
                  <c:v>372.5</c:v>
                </c:pt>
                <c:pt idx="4622">
                  <c:v>372.5</c:v>
                </c:pt>
                <c:pt idx="4623">
                  <c:v>372.5</c:v>
                </c:pt>
                <c:pt idx="4624">
                  <c:v>372.5</c:v>
                </c:pt>
                <c:pt idx="4625">
                  <c:v>372.5</c:v>
                </c:pt>
                <c:pt idx="4626">
                  <c:v>372.5</c:v>
                </c:pt>
                <c:pt idx="4627">
                  <c:v>372.5</c:v>
                </c:pt>
                <c:pt idx="4628">
                  <c:v>372.5</c:v>
                </c:pt>
                <c:pt idx="4629">
                  <c:v>372.5</c:v>
                </c:pt>
                <c:pt idx="4630">
                  <c:v>372.5</c:v>
                </c:pt>
                <c:pt idx="4631">
                  <c:v>372.5</c:v>
                </c:pt>
                <c:pt idx="4632">
                  <c:v>372.5</c:v>
                </c:pt>
                <c:pt idx="4633">
                  <c:v>372.5</c:v>
                </c:pt>
                <c:pt idx="4634">
                  <c:v>372.5</c:v>
                </c:pt>
                <c:pt idx="4635">
                  <c:v>372.5</c:v>
                </c:pt>
                <c:pt idx="4636">
                  <c:v>372.5</c:v>
                </c:pt>
                <c:pt idx="4637">
                  <c:v>372.5</c:v>
                </c:pt>
                <c:pt idx="4638">
                  <c:v>372.5</c:v>
                </c:pt>
                <c:pt idx="4639">
                  <c:v>372.5</c:v>
                </c:pt>
                <c:pt idx="4640">
                  <c:v>372.5</c:v>
                </c:pt>
                <c:pt idx="4641">
                  <c:v>372.5</c:v>
                </c:pt>
                <c:pt idx="4642">
                  <c:v>372.5</c:v>
                </c:pt>
                <c:pt idx="4643">
                  <c:v>372.5</c:v>
                </c:pt>
                <c:pt idx="4644">
                  <c:v>372.5</c:v>
                </c:pt>
                <c:pt idx="4645">
                  <c:v>372.5</c:v>
                </c:pt>
                <c:pt idx="4646">
                  <c:v>372.5</c:v>
                </c:pt>
                <c:pt idx="4647">
                  <c:v>372.5</c:v>
                </c:pt>
                <c:pt idx="4648">
                  <c:v>372.5</c:v>
                </c:pt>
                <c:pt idx="4649">
                  <c:v>372.5</c:v>
                </c:pt>
                <c:pt idx="4650">
                  <c:v>372.5</c:v>
                </c:pt>
                <c:pt idx="4651">
                  <c:v>372.5</c:v>
                </c:pt>
                <c:pt idx="4652">
                  <c:v>372.5</c:v>
                </c:pt>
                <c:pt idx="4653">
                  <c:v>372.5</c:v>
                </c:pt>
                <c:pt idx="4654">
                  <c:v>372.5</c:v>
                </c:pt>
                <c:pt idx="4655">
                  <c:v>372.5</c:v>
                </c:pt>
                <c:pt idx="4656">
                  <c:v>372.5</c:v>
                </c:pt>
                <c:pt idx="4657">
                  <c:v>372.5</c:v>
                </c:pt>
                <c:pt idx="4658">
                  <c:v>372.5</c:v>
                </c:pt>
                <c:pt idx="4659">
                  <c:v>372.5</c:v>
                </c:pt>
                <c:pt idx="4660">
                  <c:v>372.5</c:v>
                </c:pt>
                <c:pt idx="4661">
                  <c:v>372.5</c:v>
                </c:pt>
                <c:pt idx="4662">
                  <c:v>372.5</c:v>
                </c:pt>
                <c:pt idx="4663">
                  <c:v>372.5</c:v>
                </c:pt>
                <c:pt idx="4664">
                  <c:v>372.5</c:v>
                </c:pt>
                <c:pt idx="4665">
                  <c:v>372.5</c:v>
                </c:pt>
                <c:pt idx="4666">
                  <c:v>372.5</c:v>
                </c:pt>
                <c:pt idx="4667">
                  <c:v>372.5</c:v>
                </c:pt>
                <c:pt idx="4668">
                  <c:v>372.5</c:v>
                </c:pt>
                <c:pt idx="4669">
                  <c:v>372.5</c:v>
                </c:pt>
                <c:pt idx="4670">
                  <c:v>372.5</c:v>
                </c:pt>
                <c:pt idx="4671">
                  <c:v>372.5</c:v>
                </c:pt>
                <c:pt idx="4672">
                  <c:v>372.5</c:v>
                </c:pt>
                <c:pt idx="4673">
                  <c:v>372.5</c:v>
                </c:pt>
                <c:pt idx="4674">
                  <c:v>372.5</c:v>
                </c:pt>
                <c:pt idx="4675">
                  <c:v>372.5</c:v>
                </c:pt>
                <c:pt idx="4676">
                  <c:v>372.5</c:v>
                </c:pt>
                <c:pt idx="4677">
                  <c:v>372.5</c:v>
                </c:pt>
                <c:pt idx="4678">
                  <c:v>372.5</c:v>
                </c:pt>
                <c:pt idx="4679">
                  <c:v>372.5</c:v>
                </c:pt>
                <c:pt idx="4680">
                  <c:v>372.5</c:v>
                </c:pt>
                <c:pt idx="4681">
                  <c:v>372.5</c:v>
                </c:pt>
                <c:pt idx="4682">
                  <c:v>372.5</c:v>
                </c:pt>
                <c:pt idx="4683">
                  <c:v>372.5</c:v>
                </c:pt>
                <c:pt idx="4684">
                  <c:v>372.5</c:v>
                </c:pt>
                <c:pt idx="4685">
                  <c:v>372.5</c:v>
                </c:pt>
                <c:pt idx="4686">
                  <c:v>372.5</c:v>
                </c:pt>
                <c:pt idx="4687">
                  <c:v>372.5</c:v>
                </c:pt>
                <c:pt idx="4688">
                  <c:v>372.5</c:v>
                </c:pt>
                <c:pt idx="4689">
                  <c:v>372.5</c:v>
                </c:pt>
                <c:pt idx="4690">
                  <c:v>372.5</c:v>
                </c:pt>
                <c:pt idx="4691">
                  <c:v>372.5</c:v>
                </c:pt>
                <c:pt idx="4692">
                  <c:v>372.5</c:v>
                </c:pt>
                <c:pt idx="4693">
                  <c:v>372.5</c:v>
                </c:pt>
                <c:pt idx="4694">
                  <c:v>372.5</c:v>
                </c:pt>
                <c:pt idx="4695">
                  <c:v>372.5</c:v>
                </c:pt>
                <c:pt idx="4696">
                  <c:v>372.5</c:v>
                </c:pt>
                <c:pt idx="4697">
                  <c:v>372.5</c:v>
                </c:pt>
                <c:pt idx="4698">
                  <c:v>372.5</c:v>
                </c:pt>
                <c:pt idx="4699">
                  <c:v>372.5</c:v>
                </c:pt>
                <c:pt idx="4700">
                  <c:v>372.5</c:v>
                </c:pt>
                <c:pt idx="4701">
                  <c:v>372.5</c:v>
                </c:pt>
                <c:pt idx="4702">
                  <c:v>372.5</c:v>
                </c:pt>
                <c:pt idx="4703">
                  <c:v>372.5</c:v>
                </c:pt>
                <c:pt idx="4704">
                  <c:v>372.5</c:v>
                </c:pt>
                <c:pt idx="4705">
                  <c:v>372.5</c:v>
                </c:pt>
                <c:pt idx="4706">
                  <c:v>372.5</c:v>
                </c:pt>
                <c:pt idx="4707">
                  <c:v>372.5</c:v>
                </c:pt>
                <c:pt idx="4708">
                  <c:v>372.5</c:v>
                </c:pt>
                <c:pt idx="4709">
                  <c:v>372.5</c:v>
                </c:pt>
                <c:pt idx="4710">
                  <c:v>372.5</c:v>
                </c:pt>
                <c:pt idx="4711">
                  <c:v>372.5</c:v>
                </c:pt>
                <c:pt idx="4712">
                  <c:v>372.5</c:v>
                </c:pt>
                <c:pt idx="4713">
                  <c:v>372.5</c:v>
                </c:pt>
                <c:pt idx="4714">
                  <c:v>372.5</c:v>
                </c:pt>
                <c:pt idx="4715">
                  <c:v>372.5</c:v>
                </c:pt>
                <c:pt idx="4716">
                  <c:v>372.5</c:v>
                </c:pt>
                <c:pt idx="4717">
                  <c:v>372.5</c:v>
                </c:pt>
                <c:pt idx="4718">
                  <c:v>372.5</c:v>
                </c:pt>
                <c:pt idx="4719">
                  <c:v>372.5</c:v>
                </c:pt>
                <c:pt idx="4720">
                  <c:v>372.5</c:v>
                </c:pt>
                <c:pt idx="4721">
                  <c:v>372.5</c:v>
                </c:pt>
                <c:pt idx="4722">
                  <c:v>372.5</c:v>
                </c:pt>
                <c:pt idx="4723">
                  <c:v>372.5</c:v>
                </c:pt>
                <c:pt idx="4724">
                  <c:v>372.5</c:v>
                </c:pt>
                <c:pt idx="4725">
                  <c:v>372.5</c:v>
                </c:pt>
                <c:pt idx="4726">
                  <c:v>372.5</c:v>
                </c:pt>
                <c:pt idx="4727">
                  <c:v>372.5</c:v>
                </c:pt>
                <c:pt idx="4728">
                  <c:v>372.5</c:v>
                </c:pt>
                <c:pt idx="4729">
                  <c:v>372.5</c:v>
                </c:pt>
                <c:pt idx="4730">
                  <c:v>372.5</c:v>
                </c:pt>
                <c:pt idx="4731">
                  <c:v>372.5</c:v>
                </c:pt>
                <c:pt idx="4732">
                  <c:v>372.5</c:v>
                </c:pt>
                <c:pt idx="4733">
                  <c:v>372.5</c:v>
                </c:pt>
                <c:pt idx="4734">
                  <c:v>372.5</c:v>
                </c:pt>
                <c:pt idx="4735">
                  <c:v>372.5</c:v>
                </c:pt>
                <c:pt idx="4736">
                  <c:v>372.5</c:v>
                </c:pt>
                <c:pt idx="4737">
                  <c:v>372.5</c:v>
                </c:pt>
                <c:pt idx="4738">
                  <c:v>372.5</c:v>
                </c:pt>
                <c:pt idx="4739">
                  <c:v>372.5</c:v>
                </c:pt>
                <c:pt idx="4740">
                  <c:v>372.5</c:v>
                </c:pt>
                <c:pt idx="4741">
                  <c:v>372.5</c:v>
                </c:pt>
                <c:pt idx="4742">
                  <c:v>372.5</c:v>
                </c:pt>
                <c:pt idx="4743">
                  <c:v>372.5</c:v>
                </c:pt>
                <c:pt idx="4744">
                  <c:v>372.5</c:v>
                </c:pt>
                <c:pt idx="4745">
                  <c:v>372.5</c:v>
                </c:pt>
                <c:pt idx="4746">
                  <c:v>372.5</c:v>
                </c:pt>
                <c:pt idx="4747">
                  <c:v>372.5</c:v>
                </c:pt>
                <c:pt idx="4748">
                  <c:v>372.5</c:v>
                </c:pt>
                <c:pt idx="4749">
                  <c:v>372.5</c:v>
                </c:pt>
                <c:pt idx="4750">
                  <c:v>372.5</c:v>
                </c:pt>
                <c:pt idx="4751">
                  <c:v>372.5</c:v>
                </c:pt>
                <c:pt idx="4752">
                  <c:v>372.5</c:v>
                </c:pt>
                <c:pt idx="4753">
                  <c:v>372.5</c:v>
                </c:pt>
                <c:pt idx="4754">
                  <c:v>372.5</c:v>
                </c:pt>
                <c:pt idx="4755">
                  <c:v>372.5</c:v>
                </c:pt>
                <c:pt idx="4756">
                  <c:v>372.5</c:v>
                </c:pt>
                <c:pt idx="4757">
                  <c:v>372.5</c:v>
                </c:pt>
                <c:pt idx="4758">
                  <c:v>372.5</c:v>
                </c:pt>
                <c:pt idx="4759">
                  <c:v>372.5</c:v>
                </c:pt>
                <c:pt idx="4760">
                  <c:v>372.5</c:v>
                </c:pt>
                <c:pt idx="4761">
                  <c:v>372.5</c:v>
                </c:pt>
                <c:pt idx="4762">
                  <c:v>372.5</c:v>
                </c:pt>
                <c:pt idx="4763">
                  <c:v>372.5</c:v>
                </c:pt>
                <c:pt idx="4764">
                  <c:v>372.5</c:v>
                </c:pt>
                <c:pt idx="4765">
                  <c:v>372.5</c:v>
                </c:pt>
                <c:pt idx="4766">
                  <c:v>372.5</c:v>
                </c:pt>
                <c:pt idx="4767">
                  <c:v>372.5</c:v>
                </c:pt>
                <c:pt idx="4768">
                  <c:v>372.5</c:v>
                </c:pt>
                <c:pt idx="4769">
                  <c:v>372.5</c:v>
                </c:pt>
                <c:pt idx="4770">
                  <c:v>372.5</c:v>
                </c:pt>
                <c:pt idx="4771">
                  <c:v>372.5</c:v>
                </c:pt>
                <c:pt idx="4772">
                  <c:v>372.5</c:v>
                </c:pt>
                <c:pt idx="4773">
                  <c:v>372.5</c:v>
                </c:pt>
                <c:pt idx="4774">
                  <c:v>372.5</c:v>
                </c:pt>
                <c:pt idx="4775">
                  <c:v>372.5</c:v>
                </c:pt>
                <c:pt idx="4776">
                  <c:v>372.5</c:v>
                </c:pt>
                <c:pt idx="4777">
                  <c:v>372.5</c:v>
                </c:pt>
                <c:pt idx="4778">
                  <c:v>372.5</c:v>
                </c:pt>
                <c:pt idx="4779">
                  <c:v>372.5</c:v>
                </c:pt>
                <c:pt idx="4780">
                  <c:v>372.5</c:v>
                </c:pt>
                <c:pt idx="4781">
                  <c:v>372.5</c:v>
                </c:pt>
                <c:pt idx="4782">
                  <c:v>372.5</c:v>
                </c:pt>
                <c:pt idx="4783">
                  <c:v>372.5</c:v>
                </c:pt>
                <c:pt idx="4784">
                  <c:v>372.5</c:v>
                </c:pt>
                <c:pt idx="4785">
                  <c:v>372.5</c:v>
                </c:pt>
                <c:pt idx="4786">
                  <c:v>372.5</c:v>
                </c:pt>
                <c:pt idx="4787">
                  <c:v>372.5</c:v>
                </c:pt>
                <c:pt idx="4788">
                  <c:v>372.5</c:v>
                </c:pt>
                <c:pt idx="4789">
                  <c:v>372.5</c:v>
                </c:pt>
                <c:pt idx="4790">
                  <c:v>372.5</c:v>
                </c:pt>
                <c:pt idx="4791">
                  <c:v>372.5</c:v>
                </c:pt>
                <c:pt idx="4792">
                  <c:v>372.5</c:v>
                </c:pt>
                <c:pt idx="4793">
                  <c:v>372.5</c:v>
                </c:pt>
                <c:pt idx="4794">
                  <c:v>372.5</c:v>
                </c:pt>
                <c:pt idx="4795">
                  <c:v>372.5</c:v>
                </c:pt>
                <c:pt idx="4796">
                  <c:v>372.5</c:v>
                </c:pt>
                <c:pt idx="4797">
                  <c:v>372.5</c:v>
                </c:pt>
                <c:pt idx="4798">
                  <c:v>372.5</c:v>
                </c:pt>
                <c:pt idx="4799">
                  <c:v>372.5</c:v>
                </c:pt>
                <c:pt idx="4800">
                  <c:v>372.5</c:v>
                </c:pt>
                <c:pt idx="4801">
                  <c:v>372.5</c:v>
                </c:pt>
                <c:pt idx="4802">
                  <c:v>372.5</c:v>
                </c:pt>
                <c:pt idx="4803">
                  <c:v>372.5</c:v>
                </c:pt>
                <c:pt idx="4804">
                  <c:v>372.5</c:v>
                </c:pt>
                <c:pt idx="4805">
                  <c:v>372.5</c:v>
                </c:pt>
                <c:pt idx="4806">
                  <c:v>372.5</c:v>
                </c:pt>
                <c:pt idx="4807">
                  <c:v>372.5</c:v>
                </c:pt>
                <c:pt idx="4808">
                  <c:v>372.5</c:v>
                </c:pt>
                <c:pt idx="4809">
                  <c:v>372.5</c:v>
                </c:pt>
                <c:pt idx="4810">
                  <c:v>372.5</c:v>
                </c:pt>
                <c:pt idx="4811">
                  <c:v>372.5</c:v>
                </c:pt>
                <c:pt idx="4812">
                  <c:v>372.5</c:v>
                </c:pt>
                <c:pt idx="4813">
                  <c:v>372.5</c:v>
                </c:pt>
                <c:pt idx="4814">
                  <c:v>372.5</c:v>
                </c:pt>
                <c:pt idx="4815">
                  <c:v>372.5</c:v>
                </c:pt>
                <c:pt idx="4816">
                  <c:v>372.5</c:v>
                </c:pt>
                <c:pt idx="4817">
                  <c:v>372.5</c:v>
                </c:pt>
                <c:pt idx="4818">
                  <c:v>372.5</c:v>
                </c:pt>
                <c:pt idx="4819">
                  <c:v>372.5</c:v>
                </c:pt>
                <c:pt idx="4820">
                  <c:v>372.5</c:v>
                </c:pt>
                <c:pt idx="4821">
                  <c:v>372.5</c:v>
                </c:pt>
                <c:pt idx="4822">
                  <c:v>372.5</c:v>
                </c:pt>
                <c:pt idx="4823">
                  <c:v>372.5</c:v>
                </c:pt>
                <c:pt idx="4824">
                  <c:v>372.5</c:v>
                </c:pt>
                <c:pt idx="4825">
                  <c:v>372.5</c:v>
                </c:pt>
                <c:pt idx="4826">
                  <c:v>372.5</c:v>
                </c:pt>
                <c:pt idx="4827">
                  <c:v>372.5</c:v>
                </c:pt>
                <c:pt idx="4828">
                  <c:v>372.5</c:v>
                </c:pt>
                <c:pt idx="4829">
                  <c:v>372.5</c:v>
                </c:pt>
                <c:pt idx="4830">
                  <c:v>372.5</c:v>
                </c:pt>
                <c:pt idx="4831">
                  <c:v>372.5</c:v>
                </c:pt>
                <c:pt idx="4832">
                  <c:v>372.5</c:v>
                </c:pt>
                <c:pt idx="4833">
                  <c:v>372.5</c:v>
                </c:pt>
                <c:pt idx="4834">
                  <c:v>372.5</c:v>
                </c:pt>
                <c:pt idx="4835">
                  <c:v>372.5</c:v>
                </c:pt>
                <c:pt idx="4836">
                  <c:v>372.5</c:v>
                </c:pt>
                <c:pt idx="4837">
                  <c:v>372.5</c:v>
                </c:pt>
                <c:pt idx="4838">
                  <c:v>372.5</c:v>
                </c:pt>
                <c:pt idx="4839">
                  <c:v>372.5</c:v>
                </c:pt>
                <c:pt idx="4840">
                  <c:v>372.5</c:v>
                </c:pt>
                <c:pt idx="4841">
                  <c:v>372.5</c:v>
                </c:pt>
                <c:pt idx="4842">
                  <c:v>372.5</c:v>
                </c:pt>
                <c:pt idx="4843">
                  <c:v>372.5</c:v>
                </c:pt>
                <c:pt idx="4844">
                  <c:v>372.5</c:v>
                </c:pt>
                <c:pt idx="4845">
                  <c:v>372.5</c:v>
                </c:pt>
                <c:pt idx="4846">
                  <c:v>372.5</c:v>
                </c:pt>
                <c:pt idx="4847">
                  <c:v>372.5</c:v>
                </c:pt>
                <c:pt idx="4848">
                  <c:v>372.5</c:v>
                </c:pt>
                <c:pt idx="4849">
                  <c:v>372.5</c:v>
                </c:pt>
                <c:pt idx="4850">
                  <c:v>372.5</c:v>
                </c:pt>
                <c:pt idx="4851">
                  <c:v>372.5</c:v>
                </c:pt>
                <c:pt idx="4852">
                  <c:v>372.5</c:v>
                </c:pt>
                <c:pt idx="4853">
                  <c:v>372.5</c:v>
                </c:pt>
                <c:pt idx="4854">
                  <c:v>372.5</c:v>
                </c:pt>
                <c:pt idx="4855">
                  <c:v>372.5</c:v>
                </c:pt>
                <c:pt idx="4856">
                  <c:v>372.5</c:v>
                </c:pt>
                <c:pt idx="4857">
                  <c:v>372.5</c:v>
                </c:pt>
                <c:pt idx="4858">
                  <c:v>372.5</c:v>
                </c:pt>
                <c:pt idx="4859">
                  <c:v>372.5</c:v>
                </c:pt>
                <c:pt idx="4860">
                  <c:v>372.5</c:v>
                </c:pt>
                <c:pt idx="4861">
                  <c:v>372.5</c:v>
                </c:pt>
                <c:pt idx="4862">
                  <c:v>372.5</c:v>
                </c:pt>
                <c:pt idx="4863">
                  <c:v>372.5</c:v>
                </c:pt>
                <c:pt idx="4864">
                  <c:v>372.5</c:v>
                </c:pt>
                <c:pt idx="4865">
                  <c:v>372.5</c:v>
                </c:pt>
                <c:pt idx="4866">
                  <c:v>372.5</c:v>
                </c:pt>
                <c:pt idx="4867">
                  <c:v>372.5</c:v>
                </c:pt>
                <c:pt idx="4868">
                  <c:v>372.5</c:v>
                </c:pt>
                <c:pt idx="4869">
                  <c:v>372.5</c:v>
                </c:pt>
                <c:pt idx="4870">
                  <c:v>372.5</c:v>
                </c:pt>
                <c:pt idx="4871">
                  <c:v>372.5</c:v>
                </c:pt>
                <c:pt idx="4872">
                  <c:v>372.5</c:v>
                </c:pt>
                <c:pt idx="4873">
                  <c:v>372.5</c:v>
                </c:pt>
                <c:pt idx="4874">
                  <c:v>372.5</c:v>
                </c:pt>
                <c:pt idx="4875">
                  <c:v>372.5</c:v>
                </c:pt>
                <c:pt idx="4876">
                  <c:v>372.5</c:v>
                </c:pt>
                <c:pt idx="4877">
                  <c:v>372.5</c:v>
                </c:pt>
                <c:pt idx="4878">
                  <c:v>372.5</c:v>
                </c:pt>
                <c:pt idx="4879">
                  <c:v>372.5</c:v>
                </c:pt>
                <c:pt idx="4880">
                  <c:v>372.5</c:v>
                </c:pt>
                <c:pt idx="4881">
                  <c:v>372.5</c:v>
                </c:pt>
                <c:pt idx="4882">
                  <c:v>372.5</c:v>
                </c:pt>
                <c:pt idx="4883">
                  <c:v>372.5</c:v>
                </c:pt>
                <c:pt idx="4884">
                  <c:v>372.5</c:v>
                </c:pt>
                <c:pt idx="4885">
                  <c:v>372.5</c:v>
                </c:pt>
                <c:pt idx="4886">
                  <c:v>372.5</c:v>
                </c:pt>
                <c:pt idx="4887">
                  <c:v>372.5</c:v>
                </c:pt>
                <c:pt idx="4888">
                  <c:v>372.5</c:v>
                </c:pt>
                <c:pt idx="4889">
                  <c:v>372.5</c:v>
                </c:pt>
                <c:pt idx="4890">
                  <c:v>372.5</c:v>
                </c:pt>
                <c:pt idx="4891">
                  <c:v>372.5</c:v>
                </c:pt>
                <c:pt idx="4892">
                  <c:v>372.5</c:v>
                </c:pt>
                <c:pt idx="4893">
                  <c:v>372.5</c:v>
                </c:pt>
                <c:pt idx="4894">
                  <c:v>372.5</c:v>
                </c:pt>
                <c:pt idx="4895">
                  <c:v>372.5</c:v>
                </c:pt>
                <c:pt idx="4896">
                  <c:v>372.5</c:v>
                </c:pt>
                <c:pt idx="4897">
                  <c:v>372.5</c:v>
                </c:pt>
                <c:pt idx="4898">
                  <c:v>372.5</c:v>
                </c:pt>
                <c:pt idx="4899">
                  <c:v>372.5</c:v>
                </c:pt>
                <c:pt idx="4900">
                  <c:v>372.5</c:v>
                </c:pt>
                <c:pt idx="4901">
                  <c:v>372.5</c:v>
                </c:pt>
                <c:pt idx="4902">
                  <c:v>372.5</c:v>
                </c:pt>
                <c:pt idx="4903">
                  <c:v>372.5</c:v>
                </c:pt>
                <c:pt idx="4904">
                  <c:v>372.5</c:v>
                </c:pt>
                <c:pt idx="4905">
                  <c:v>372.5</c:v>
                </c:pt>
                <c:pt idx="4906">
                  <c:v>372.5</c:v>
                </c:pt>
                <c:pt idx="4907">
                  <c:v>372.5</c:v>
                </c:pt>
                <c:pt idx="4908">
                  <c:v>372.5</c:v>
                </c:pt>
                <c:pt idx="4909">
                  <c:v>372.5</c:v>
                </c:pt>
                <c:pt idx="4910">
                  <c:v>372.5</c:v>
                </c:pt>
                <c:pt idx="4911">
                  <c:v>372.5</c:v>
                </c:pt>
                <c:pt idx="4912">
                  <c:v>372.5</c:v>
                </c:pt>
                <c:pt idx="4913">
                  <c:v>372.5</c:v>
                </c:pt>
                <c:pt idx="4914">
                  <c:v>372.5</c:v>
                </c:pt>
                <c:pt idx="4915">
                  <c:v>372.5</c:v>
                </c:pt>
                <c:pt idx="4916">
                  <c:v>372.5</c:v>
                </c:pt>
                <c:pt idx="4917">
                  <c:v>372.5</c:v>
                </c:pt>
                <c:pt idx="4918">
                  <c:v>372.5</c:v>
                </c:pt>
                <c:pt idx="4919">
                  <c:v>372.5</c:v>
                </c:pt>
                <c:pt idx="4920">
                  <c:v>372.5</c:v>
                </c:pt>
                <c:pt idx="4921">
                  <c:v>372.5</c:v>
                </c:pt>
                <c:pt idx="4922">
                  <c:v>372.5</c:v>
                </c:pt>
                <c:pt idx="4923">
                  <c:v>372.5</c:v>
                </c:pt>
                <c:pt idx="4924">
                  <c:v>372.5</c:v>
                </c:pt>
                <c:pt idx="4925">
                  <c:v>372.5</c:v>
                </c:pt>
                <c:pt idx="4926">
                  <c:v>372.5</c:v>
                </c:pt>
                <c:pt idx="4927">
                  <c:v>372.5</c:v>
                </c:pt>
                <c:pt idx="4928">
                  <c:v>372.5</c:v>
                </c:pt>
                <c:pt idx="4929">
                  <c:v>372.5</c:v>
                </c:pt>
                <c:pt idx="4930">
                  <c:v>372.5</c:v>
                </c:pt>
                <c:pt idx="4931">
                  <c:v>372.5</c:v>
                </c:pt>
                <c:pt idx="4932">
                  <c:v>372.5</c:v>
                </c:pt>
                <c:pt idx="4933">
                  <c:v>372.5</c:v>
                </c:pt>
                <c:pt idx="4934">
                  <c:v>372.5</c:v>
                </c:pt>
                <c:pt idx="4935">
                  <c:v>372.5</c:v>
                </c:pt>
                <c:pt idx="4936">
                  <c:v>372.5</c:v>
                </c:pt>
                <c:pt idx="4937">
                  <c:v>372.5</c:v>
                </c:pt>
                <c:pt idx="4938">
                  <c:v>372.5</c:v>
                </c:pt>
                <c:pt idx="4939">
                  <c:v>372.5</c:v>
                </c:pt>
                <c:pt idx="4940">
                  <c:v>372.5</c:v>
                </c:pt>
                <c:pt idx="4941">
                  <c:v>372.5</c:v>
                </c:pt>
                <c:pt idx="4942">
                  <c:v>372.5</c:v>
                </c:pt>
                <c:pt idx="4943">
                  <c:v>372.5</c:v>
                </c:pt>
                <c:pt idx="4944">
                  <c:v>372.5</c:v>
                </c:pt>
                <c:pt idx="4945">
                  <c:v>372.5</c:v>
                </c:pt>
                <c:pt idx="4946">
                  <c:v>372.5</c:v>
                </c:pt>
                <c:pt idx="4947">
                  <c:v>372.5</c:v>
                </c:pt>
                <c:pt idx="4948">
                  <c:v>372.5</c:v>
                </c:pt>
                <c:pt idx="4949">
                  <c:v>372.5</c:v>
                </c:pt>
                <c:pt idx="4950">
                  <c:v>372.5</c:v>
                </c:pt>
                <c:pt idx="4951">
                  <c:v>372.5</c:v>
                </c:pt>
                <c:pt idx="4952">
                  <c:v>372.5</c:v>
                </c:pt>
                <c:pt idx="4953">
                  <c:v>372.5</c:v>
                </c:pt>
                <c:pt idx="4954">
                  <c:v>372.5</c:v>
                </c:pt>
                <c:pt idx="4955">
                  <c:v>372.5</c:v>
                </c:pt>
                <c:pt idx="4956">
                  <c:v>372.5</c:v>
                </c:pt>
                <c:pt idx="4957">
                  <c:v>372.5</c:v>
                </c:pt>
                <c:pt idx="4958">
                  <c:v>372.5</c:v>
                </c:pt>
                <c:pt idx="4959">
                  <c:v>372.5</c:v>
                </c:pt>
                <c:pt idx="4960">
                  <c:v>372.5</c:v>
                </c:pt>
                <c:pt idx="4961">
                  <c:v>372.5</c:v>
                </c:pt>
                <c:pt idx="4962">
                  <c:v>372.5</c:v>
                </c:pt>
                <c:pt idx="4963">
                  <c:v>372.5</c:v>
                </c:pt>
                <c:pt idx="4964">
                  <c:v>372.5</c:v>
                </c:pt>
                <c:pt idx="4965">
                  <c:v>372.5</c:v>
                </c:pt>
                <c:pt idx="4966">
                  <c:v>372.5</c:v>
                </c:pt>
                <c:pt idx="4967">
                  <c:v>372.5</c:v>
                </c:pt>
                <c:pt idx="4968">
                  <c:v>372.5</c:v>
                </c:pt>
                <c:pt idx="4969">
                  <c:v>372.5</c:v>
                </c:pt>
                <c:pt idx="4970">
                  <c:v>372.5</c:v>
                </c:pt>
                <c:pt idx="4971">
                  <c:v>372.5</c:v>
                </c:pt>
                <c:pt idx="4972">
                  <c:v>372.5</c:v>
                </c:pt>
                <c:pt idx="4973">
                  <c:v>372.5</c:v>
                </c:pt>
                <c:pt idx="4974">
                  <c:v>372.5</c:v>
                </c:pt>
                <c:pt idx="4975">
                  <c:v>372.5</c:v>
                </c:pt>
                <c:pt idx="4976">
                  <c:v>372.5</c:v>
                </c:pt>
                <c:pt idx="4977">
                  <c:v>372.5</c:v>
                </c:pt>
                <c:pt idx="4978">
                  <c:v>372.5</c:v>
                </c:pt>
                <c:pt idx="4979">
                  <c:v>372.5</c:v>
                </c:pt>
                <c:pt idx="4980">
                  <c:v>372.5</c:v>
                </c:pt>
                <c:pt idx="4981">
                  <c:v>372.5</c:v>
                </c:pt>
                <c:pt idx="4982">
                  <c:v>372.5</c:v>
                </c:pt>
                <c:pt idx="4983">
                  <c:v>372.5</c:v>
                </c:pt>
                <c:pt idx="4984">
                  <c:v>372.5</c:v>
                </c:pt>
                <c:pt idx="4985">
                  <c:v>372.5</c:v>
                </c:pt>
                <c:pt idx="4986">
                  <c:v>372.5</c:v>
                </c:pt>
                <c:pt idx="4987">
                  <c:v>372.5</c:v>
                </c:pt>
                <c:pt idx="4988">
                  <c:v>372.5</c:v>
                </c:pt>
                <c:pt idx="4989">
                  <c:v>372.5</c:v>
                </c:pt>
                <c:pt idx="4990">
                  <c:v>372.5</c:v>
                </c:pt>
                <c:pt idx="4991">
                  <c:v>372.5</c:v>
                </c:pt>
                <c:pt idx="4992">
                  <c:v>372.5</c:v>
                </c:pt>
                <c:pt idx="4993">
                  <c:v>372.5</c:v>
                </c:pt>
                <c:pt idx="4994">
                  <c:v>372.5</c:v>
                </c:pt>
                <c:pt idx="4995">
                  <c:v>372.5</c:v>
                </c:pt>
                <c:pt idx="4996">
                  <c:v>372.5</c:v>
                </c:pt>
                <c:pt idx="4997">
                  <c:v>372.5</c:v>
                </c:pt>
                <c:pt idx="4998">
                  <c:v>372.5</c:v>
                </c:pt>
                <c:pt idx="4999">
                  <c:v>372.5</c:v>
                </c:pt>
                <c:pt idx="5000">
                  <c:v>372.5</c:v>
                </c:pt>
                <c:pt idx="5001">
                  <c:v>372.5</c:v>
                </c:pt>
                <c:pt idx="5002">
                  <c:v>372.5</c:v>
                </c:pt>
                <c:pt idx="5003">
                  <c:v>372.5</c:v>
                </c:pt>
                <c:pt idx="5004">
                  <c:v>372.5</c:v>
                </c:pt>
                <c:pt idx="5005">
                  <c:v>372.5</c:v>
                </c:pt>
                <c:pt idx="5006">
                  <c:v>372.5</c:v>
                </c:pt>
                <c:pt idx="5007">
                  <c:v>372.5</c:v>
                </c:pt>
                <c:pt idx="5008">
                  <c:v>372.5</c:v>
                </c:pt>
                <c:pt idx="5009">
                  <c:v>372.49999255</c:v>
                </c:pt>
                <c:pt idx="5010">
                  <c:v>372.49999255</c:v>
                </c:pt>
                <c:pt idx="5011">
                  <c:v>372.49999255</c:v>
                </c:pt>
                <c:pt idx="5012">
                  <c:v>372.49999255</c:v>
                </c:pt>
                <c:pt idx="5013">
                  <c:v>372.49999255</c:v>
                </c:pt>
                <c:pt idx="5014">
                  <c:v>372.4999851</c:v>
                </c:pt>
                <c:pt idx="5015">
                  <c:v>372.4999851</c:v>
                </c:pt>
                <c:pt idx="5016">
                  <c:v>372.4999851</c:v>
                </c:pt>
                <c:pt idx="5017">
                  <c:v>372.4999851</c:v>
                </c:pt>
                <c:pt idx="5018">
                  <c:v>372.4999851</c:v>
                </c:pt>
                <c:pt idx="5019">
                  <c:v>372.4999851</c:v>
                </c:pt>
                <c:pt idx="5020">
                  <c:v>372.49997765000001</c:v>
                </c:pt>
                <c:pt idx="5021">
                  <c:v>372.49997765000001</c:v>
                </c:pt>
                <c:pt idx="5022">
                  <c:v>372.49997020000001</c:v>
                </c:pt>
                <c:pt idx="5023">
                  <c:v>372.49997020000001</c:v>
                </c:pt>
                <c:pt idx="5024">
                  <c:v>372.49997020000001</c:v>
                </c:pt>
                <c:pt idx="5025">
                  <c:v>372.49996275000001</c:v>
                </c:pt>
                <c:pt idx="5026">
                  <c:v>372.49996275000001</c:v>
                </c:pt>
                <c:pt idx="5027">
                  <c:v>372.49995530000001</c:v>
                </c:pt>
                <c:pt idx="5028">
                  <c:v>372.49995530000001</c:v>
                </c:pt>
                <c:pt idx="5029">
                  <c:v>372.49995530000001</c:v>
                </c:pt>
                <c:pt idx="5030">
                  <c:v>372.49988079999997</c:v>
                </c:pt>
                <c:pt idx="5031">
                  <c:v>372.49985100000004</c:v>
                </c:pt>
                <c:pt idx="5032">
                  <c:v>372.4997765</c:v>
                </c:pt>
                <c:pt idx="5033">
                  <c:v>372.4997765</c:v>
                </c:pt>
                <c:pt idx="5034">
                  <c:v>372.4997765</c:v>
                </c:pt>
                <c:pt idx="5035">
                  <c:v>372.4997765</c:v>
                </c:pt>
                <c:pt idx="5036">
                  <c:v>372.49967219999996</c:v>
                </c:pt>
                <c:pt idx="5037">
                  <c:v>372.48137500000001</c:v>
                </c:pt>
                <c:pt idx="5038">
                  <c:v>372.48137500000001</c:v>
                </c:pt>
                <c:pt idx="5039">
                  <c:v>372.48137500000001</c:v>
                </c:pt>
                <c:pt idx="5040">
                  <c:v>372.48130049999997</c:v>
                </c:pt>
                <c:pt idx="5041">
                  <c:v>372.46319700000004</c:v>
                </c:pt>
                <c:pt idx="5042">
                  <c:v>372.46319700000004</c:v>
                </c:pt>
                <c:pt idx="5043">
                  <c:v>372.46274999999997</c:v>
                </c:pt>
                <c:pt idx="5044">
                  <c:v>372.46274999999997</c:v>
                </c:pt>
                <c:pt idx="5045">
                  <c:v>372.43295000000001</c:v>
                </c:pt>
                <c:pt idx="5046">
                  <c:v>372.43295000000001</c:v>
                </c:pt>
                <c:pt idx="5047">
                  <c:v>372.4257235</c:v>
                </c:pt>
                <c:pt idx="5048">
                  <c:v>372.4257235</c:v>
                </c:pt>
                <c:pt idx="5049">
                  <c:v>372.42554469999999</c:v>
                </c:pt>
                <c:pt idx="5050">
                  <c:v>372.42553724999999</c:v>
                </c:pt>
                <c:pt idx="5051">
                  <c:v>372.42553724999999</c:v>
                </c:pt>
                <c:pt idx="5052">
                  <c:v>372.42552979999999</c:v>
                </c:pt>
                <c:pt idx="5053">
                  <c:v>372.42552979999999</c:v>
                </c:pt>
                <c:pt idx="5054">
                  <c:v>372.42552979999999</c:v>
                </c:pt>
                <c:pt idx="5055">
                  <c:v>372.42552234999999</c:v>
                </c:pt>
                <c:pt idx="5056">
                  <c:v>372.42552234999999</c:v>
                </c:pt>
                <c:pt idx="5057">
                  <c:v>372.4255149</c:v>
                </c:pt>
                <c:pt idx="5058">
                  <c:v>372.4255149</c:v>
                </c:pt>
                <c:pt idx="5059">
                  <c:v>372.42550745</c:v>
                </c:pt>
                <c:pt idx="5060">
                  <c:v>372.42550745</c:v>
                </c:pt>
                <c:pt idx="5061">
                  <c:v>372.42550745</c:v>
                </c:pt>
                <c:pt idx="5062">
                  <c:v>372.42550745</c:v>
                </c:pt>
                <c:pt idx="5063">
                  <c:v>372.42550745</c:v>
                </c:pt>
                <c:pt idx="5064">
                  <c:v>372.42550745</c:v>
                </c:pt>
                <c:pt idx="5065">
                  <c:v>372.42550745</c:v>
                </c:pt>
                <c:pt idx="5066">
                  <c:v>372.42550745</c:v>
                </c:pt>
                <c:pt idx="5067">
                  <c:v>372.4255</c:v>
                </c:pt>
                <c:pt idx="5068">
                  <c:v>372.4255</c:v>
                </c:pt>
                <c:pt idx="5069">
                  <c:v>372.4255</c:v>
                </c:pt>
                <c:pt idx="5070">
                  <c:v>372.4255</c:v>
                </c:pt>
                <c:pt idx="5071">
                  <c:v>372.4255</c:v>
                </c:pt>
                <c:pt idx="5072">
                  <c:v>372.4255</c:v>
                </c:pt>
                <c:pt idx="5073">
                  <c:v>372.4255</c:v>
                </c:pt>
                <c:pt idx="5074">
                  <c:v>372.4255</c:v>
                </c:pt>
                <c:pt idx="5075">
                  <c:v>372.4255</c:v>
                </c:pt>
                <c:pt idx="5076">
                  <c:v>372.4255</c:v>
                </c:pt>
                <c:pt idx="5077">
                  <c:v>372.4255</c:v>
                </c:pt>
                <c:pt idx="5078">
                  <c:v>372.4255</c:v>
                </c:pt>
                <c:pt idx="5079">
                  <c:v>372.4255</c:v>
                </c:pt>
                <c:pt idx="5080">
                  <c:v>372.4255</c:v>
                </c:pt>
                <c:pt idx="5081">
                  <c:v>372.4255</c:v>
                </c:pt>
                <c:pt idx="5082">
                  <c:v>372.4255</c:v>
                </c:pt>
                <c:pt idx="5083">
                  <c:v>372.4255</c:v>
                </c:pt>
                <c:pt idx="5084">
                  <c:v>372.4255</c:v>
                </c:pt>
                <c:pt idx="5085">
                  <c:v>372.4255</c:v>
                </c:pt>
                <c:pt idx="5086">
                  <c:v>372.4255</c:v>
                </c:pt>
                <c:pt idx="5087">
                  <c:v>372.4255</c:v>
                </c:pt>
                <c:pt idx="5088">
                  <c:v>372.4255</c:v>
                </c:pt>
                <c:pt idx="5089">
                  <c:v>372.4255</c:v>
                </c:pt>
                <c:pt idx="5090">
                  <c:v>372.4255</c:v>
                </c:pt>
                <c:pt idx="5091">
                  <c:v>372.4255</c:v>
                </c:pt>
                <c:pt idx="5092">
                  <c:v>372.4255</c:v>
                </c:pt>
                <c:pt idx="5093">
                  <c:v>372.4255</c:v>
                </c:pt>
                <c:pt idx="5094">
                  <c:v>372.4255</c:v>
                </c:pt>
                <c:pt idx="5095">
                  <c:v>372.4255</c:v>
                </c:pt>
                <c:pt idx="5096">
                  <c:v>372.4255</c:v>
                </c:pt>
                <c:pt idx="5097">
                  <c:v>372.4255</c:v>
                </c:pt>
                <c:pt idx="5098">
                  <c:v>372.4255</c:v>
                </c:pt>
                <c:pt idx="5099">
                  <c:v>372.4255</c:v>
                </c:pt>
                <c:pt idx="5100">
                  <c:v>372.4255</c:v>
                </c:pt>
                <c:pt idx="5101">
                  <c:v>372.4255</c:v>
                </c:pt>
                <c:pt idx="5102">
                  <c:v>372.4255</c:v>
                </c:pt>
                <c:pt idx="5103">
                  <c:v>372.4255</c:v>
                </c:pt>
                <c:pt idx="5104">
                  <c:v>372.4255</c:v>
                </c:pt>
                <c:pt idx="5105">
                  <c:v>372.4255</c:v>
                </c:pt>
                <c:pt idx="5106">
                  <c:v>372.4255</c:v>
                </c:pt>
                <c:pt idx="5107">
                  <c:v>372.4255</c:v>
                </c:pt>
                <c:pt idx="5108">
                  <c:v>372.4255</c:v>
                </c:pt>
                <c:pt idx="5109">
                  <c:v>372.4255</c:v>
                </c:pt>
                <c:pt idx="5110">
                  <c:v>372.4255</c:v>
                </c:pt>
                <c:pt idx="5111">
                  <c:v>372.4255</c:v>
                </c:pt>
                <c:pt idx="5112">
                  <c:v>372.4255</c:v>
                </c:pt>
                <c:pt idx="5113">
                  <c:v>372.4255</c:v>
                </c:pt>
                <c:pt idx="5114">
                  <c:v>372.4255</c:v>
                </c:pt>
                <c:pt idx="5115">
                  <c:v>372.4255</c:v>
                </c:pt>
                <c:pt idx="5116">
                  <c:v>372.4255</c:v>
                </c:pt>
                <c:pt idx="5117">
                  <c:v>372.4255</c:v>
                </c:pt>
                <c:pt idx="5118">
                  <c:v>372.4255</c:v>
                </c:pt>
                <c:pt idx="5119">
                  <c:v>372.4255</c:v>
                </c:pt>
                <c:pt idx="5120">
                  <c:v>372.4255</c:v>
                </c:pt>
                <c:pt idx="5121">
                  <c:v>372.4255</c:v>
                </c:pt>
                <c:pt idx="5122">
                  <c:v>372.4255</c:v>
                </c:pt>
                <c:pt idx="5123">
                  <c:v>372.4255</c:v>
                </c:pt>
                <c:pt idx="5124">
                  <c:v>372.4255</c:v>
                </c:pt>
                <c:pt idx="5125">
                  <c:v>372.4255</c:v>
                </c:pt>
                <c:pt idx="5126">
                  <c:v>372.4255</c:v>
                </c:pt>
                <c:pt idx="5127">
                  <c:v>372.4255</c:v>
                </c:pt>
                <c:pt idx="5128">
                  <c:v>372.4255</c:v>
                </c:pt>
                <c:pt idx="5129">
                  <c:v>372.4255</c:v>
                </c:pt>
                <c:pt idx="5130">
                  <c:v>372.4255</c:v>
                </c:pt>
                <c:pt idx="5131">
                  <c:v>372.4255</c:v>
                </c:pt>
                <c:pt idx="5132">
                  <c:v>372.4255</c:v>
                </c:pt>
                <c:pt idx="5133">
                  <c:v>372.4255</c:v>
                </c:pt>
                <c:pt idx="5134">
                  <c:v>372.4255</c:v>
                </c:pt>
                <c:pt idx="5135">
                  <c:v>372.4255</c:v>
                </c:pt>
                <c:pt idx="5136">
                  <c:v>372.4255</c:v>
                </c:pt>
                <c:pt idx="5137">
                  <c:v>372.4255</c:v>
                </c:pt>
                <c:pt idx="5138">
                  <c:v>372.4255</c:v>
                </c:pt>
                <c:pt idx="5139">
                  <c:v>372.4255</c:v>
                </c:pt>
                <c:pt idx="5140">
                  <c:v>372.4255</c:v>
                </c:pt>
                <c:pt idx="5141">
                  <c:v>372.4255</c:v>
                </c:pt>
                <c:pt idx="5142">
                  <c:v>372.4255</c:v>
                </c:pt>
                <c:pt idx="5143">
                  <c:v>372.4255</c:v>
                </c:pt>
                <c:pt idx="5144">
                  <c:v>372.4255</c:v>
                </c:pt>
                <c:pt idx="5145">
                  <c:v>372.4255</c:v>
                </c:pt>
                <c:pt idx="5146">
                  <c:v>372.4255</c:v>
                </c:pt>
                <c:pt idx="5147">
                  <c:v>372.4255</c:v>
                </c:pt>
                <c:pt idx="5148">
                  <c:v>372.4255</c:v>
                </c:pt>
                <c:pt idx="5149">
                  <c:v>372.4255</c:v>
                </c:pt>
                <c:pt idx="5150">
                  <c:v>372.4255</c:v>
                </c:pt>
                <c:pt idx="5151">
                  <c:v>372.4255</c:v>
                </c:pt>
                <c:pt idx="5152">
                  <c:v>372.4255</c:v>
                </c:pt>
                <c:pt idx="5153">
                  <c:v>372.4255</c:v>
                </c:pt>
                <c:pt idx="5154">
                  <c:v>372.4255</c:v>
                </c:pt>
                <c:pt idx="5155">
                  <c:v>372.4255</c:v>
                </c:pt>
                <c:pt idx="5156">
                  <c:v>372.4255</c:v>
                </c:pt>
                <c:pt idx="5157">
                  <c:v>372.4255</c:v>
                </c:pt>
                <c:pt idx="5158">
                  <c:v>372.4255</c:v>
                </c:pt>
                <c:pt idx="5159">
                  <c:v>372.4255</c:v>
                </c:pt>
                <c:pt idx="5160">
                  <c:v>372.4255</c:v>
                </c:pt>
                <c:pt idx="5161">
                  <c:v>372.4255</c:v>
                </c:pt>
                <c:pt idx="5162">
                  <c:v>372.4255</c:v>
                </c:pt>
                <c:pt idx="5163">
                  <c:v>372.4255</c:v>
                </c:pt>
                <c:pt idx="5164">
                  <c:v>372.4255</c:v>
                </c:pt>
                <c:pt idx="5165">
                  <c:v>372.4255</c:v>
                </c:pt>
                <c:pt idx="5166">
                  <c:v>372.4255</c:v>
                </c:pt>
                <c:pt idx="5167">
                  <c:v>372.4255</c:v>
                </c:pt>
                <c:pt idx="5168">
                  <c:v>372.4255</c:v>
                </c:pt>
                <c:pt idx="5169">
                  <c:v>372.4255</c:v>
                </c:pt>
                <c:pt idx="5170">
                  <c:v>372.4255</c:v>
                </c:pt>
                <c:pt idx="5171">
                  <c:v>372.4255</c:v>
                </c:pt>
                <c:pt idx="5172">
                  <c:v>372.4255</c:v>
                </c:pt>
                <c:pt idx="5173">
                  <c:v>372.4255</c:v>
                </c:pt>
                <c:pt idx="5174">
                  <c:v>372.4255</c:v>
                </c:pt>
                <c:pt idx="5175">
                  <c:v>372.4255</c:v>
                </c:pt>
                <c:pt idx="5176">
                  <c:v>372.4255</c:v>
                </c:pt>
                <c:pt idx="5177">
                  <c:v>372.4255</c:v>
                </c:pt>
                <c:pt idx="5178">
                  <c:v>372.4255</c:v>
                </c:pt>
                <c:pt idx="5179">
                  <c:v>372.4255</c:v>
                </c:pt>
                <c:pt idx="5180">
                  <c:v>372.4255</c:v>
                </c:pt>
                <c:pt idx="5181">
                  <c:v>372.4255</c:v>
                </c:pt>
                <c:pt idx="5182">
                  <c:v>372.4255</c:v>
                </c:pt>
                <c:pt idx="5183">
                  <c:v>372.4255</c:v>
                </c:pt>
                <c:pt idx="5184">
                  <c:v>372.4255</c:v>
                </c:pt>
                <c:pt idx="5185">
                  <c:v>372.4255</c:v>
                </c:pt>
                <c:pt idx="5186">
                  <c:v>372.4255</c:v>
                </c:pt>
                <c:pt idx="5187">
                  <c:v>372.4255</c:v>
                </c:pt>
                <c:pt idx="5188">
                  <c:v>372.4255</c:v>
                </c:pt>
                <c:pt idx="5189">
                  <c:v>372.4255</c:v>
                </c:pt>
                <c:pt idx="5190">
                  <c:v>372.4255</c:v>
                </c:pt>
                <c:pt idx="5191">
                  <c:v>372.4255</c:v>
                </c:pt>
                <c:pt idx="5192">
                  <c:v>372.4255</c:v>
                </c:pt>
                <c:pt idx="5193">
                  <c:v>372.4255</c:v>
                </c:pt>
                <c:pt idx="5194">
                  <c:v>372.4255</c:v>
                </c:pt>
                <c:pt idx="5195">
                  <c:v>372.4255</c:v>
                </c:pt>
                <c:pt idx="5196">
                  <c:v>372.4255</c:v>
                </c:pt>
                <c:pt idx="5197">
                  <c:v>372.4255</c:v>
                </c:pt>
                <c:pt idx="5198">
                  <c:v>372.4255</c:v>
                </c:pt>
                <c:pt idx="5199">
                  <c:v>372.4255</c:v>
                </c:pt>
                <c:pt idx="5200">
                  <c:v>372.4255</c:v>
                </c:pt>
                <c:pt idx="5201">
                  <c:v>372.4255</c:v>
                </c:pt>
                <c:pt idx="5202">
                  <c:v>372.4255</c:v>
                </c:pt>
                <c:pt idx="5203">
                  <c:v>372.4255</c:v>
                </c:pt>
                <c:pt idx="5204">
                  <c:v>372.4255</c:v>
                </c:pt>
                <c:pt idx="5205">
                  <c:v>372.4255</c:v>
                </c:pt>
                <c:pt idx="5206">
                  <c:v>372.4255</c:v>
                </c:pt>
                <c:pt idx="5207">
                  <c:v>372.4255</c:v>
                </c:pt>
                <c:pt idx="5208">
                  <c:v>372.4255</c:v>
                </c:pt>
                <c:pt idx="5209">
                  <c:v>372.4255</c:v>
                </c:pt>
                <c:pt idx="5210">
                  <c:v>372.4255</c:v>
                </c:pt>
                <c:pt idx="5211">
                  <c:v>372.4255</c:v>
                </c:pt>
                <c:pt idx="5212">
                  <c:v>372.4255</c:v>
                </c:pt>
                <c:pt idx="5213">
                  <c:v>372.4255</c:v>
                </c:pt>
                <c:pt idx="5214">
                  <c:v>372.4255</c:v>
                </c:pt>
                <c:pt idx="5215">
                  <c:v>372.4255</c:v>
                </c:pt>
                <c:pt idx="5216">
                  <c:v>372.4255</c:v>
                </c:pt>
                <c:pt idx="5217">
                  <c:v>372.4255</c:v>
                </c:pt>
                <c:pt idx="5218">
                  <c:v>372.4255</c:v>
                </c:pt>
                <c:pt idx="5219">
                  <c:v>372.4255</c:v>
                </c:pt>
                <c:pt idx="5220">
                  <c:v>372.4255</c:v>
                </c:pt>
                <c:pt idx="5221">
                  <c:v>372.4255</c:v>
                </c:pt>
                <c:pt idx="5222">
                  <c:v>372.4255</c:v>
                </c:pt>
                <c:pt idx="5223">
                  <c:v>372.4255</c:v>
                </c:pt>
                <c:pt idx="5224">
                  <c:v>372.4255</c:v>
                </c:pt>
                <c:pt idx="5225">
                  <c:v>372.4255</c:v>
                </c:pt>
                <c:pt idx="5226">
                  <c:v>372.4255</c:v>
                </c:pt>
                <c:pt idx="5227">
                  <c:v>372.4255</c:v>
                </c:pt>
                <c:pt idx="5228">
                  <c:v>372.4255</c:v>
                </c:pt>
                <c:pt idx="5229">
                  <c:v>372.4255</c:v>
                </c:pt>
                <c:pt idx="5230">
                  <c:v>372.4255</c:v>
                </c:pt>
                <c:pt idx="5231">
                  <c:v>372.4255</c:v>
                </c:pt>
                <c:pt idx="5232">
                  <c:v>372.4255</c:v>
                </c:pt>
                <c:pt idx="5233">
                  <c:v>372.4255</c:v>
                </c:pt>
                <c:pt idx="5234">
                  <c:v>372.4255</c:v>
                </c:pt>
                <c:pt idx="5235">
                  <c:v>372.4255</c:v>
                </c:pt>
                <c:pt idx="5236">
                  <c:v>372.4255</c:v>
                </c:pt>
                <c:pt idx="5237">
                  <c:v>372.4255</c:v>
                </c:pt>
                <c:pt idx="5238">
                  <c:v>372.4255</c:v>
                </c:pt>
                <c:pt idx="5239">
                  <c:v>372.4255</c:v>
                </c:pt>
                <c:pt idx="5240">
                  <c:v>372.4255</c:v>
                </c:pt>
                <c:pt idx="5241">
                  <c:v>372.4255</c:v>
                </c:pt>
                <c:pt idx="5242">
                  <c:v>372.4255</c:v>
                </c:pt>
                <c:pt idx="5243">
                  <c:v>372.4255</c:v>
                </c:pt>
                <c:pt idx="5244">
                  <c:v>372.4255</c:v>
                </c:pt>
                <c:pt idx="5245">
                  <c:v>372.4255</c:v>
                </c:pt>
                <c:pt idx="5246">
                  <c:v>372.4255</c:v>
                </c:pt>
                <c:pt idx="5247">
                  <c:v>372.4255</c:v>
                </c:pt>
                <c:pt idx="5248">
                  <c:v>372.4255</c:v>
                </c:pt>
                <c:pt idx="5249">
                  <c:v>372.4255</c:v>
                </c:pt>
                <c:pt idx="5250">
                  <c:v>372.4255</c:v>
                </c:pt>
                <c:pt idx="5251">
                  <c:v>372.4255</c:v>
                </c:pt>
                <c:pt idx="5252">
                  <c:v>372.4255</c:v>
                </c:pt>
                <c:pt idx="5253">
                  <c:v>372.4255</c:v>
                </c:pt>
                <c:pt idx="5254">
                  <c:v>372.4255</c:v>
                </c:pt>
                <c:pt idx="5255">
                  <c:v>372.4255</c:v>
                </c:pt>
                <c:pt idx="5256">
                  <c:v>372.4255</c:v>
                </c:pt>
                <c:pt idx="5257">
                  <c:v>372.4255</c:v>
                </c:pt>
                <c:pt idx="5258">
                  <c:v>372.4255</c:v>
                </c:pt>
                <c:pt idx="5259">
                  <c:v>372.4255</c:v>
                </c:pt>
                <c:pt idx="5260">
                  <c:v>372.4255</c:v>
                </c:pt>
                <c:pt idx="5261">
                  <c:v>372.4255</c:v>
                </c:pt>
                <c:pt idx="5262">
                  <c:v>372.4255</c:v>
                </c:pt>
                <c:pt idx="5263">
                  <c:v>372.4255</c:v>
                </c:pt>
                <c:pt idx="5264">
                  <c:v>372.4255</c:v>
                </c:pt>
                <c:pt idx="5265">
                  <c:v>372.4255</c:v>
                </c:pt>
                <c:pt idx="5266">
                  <c:v>372.4255</c:v>
                </c:pt>
                <c:pt idx="5267">
                  <c:v>372.4255</c:v>
                </c:pt>
                <c:pt idx="5268">
                  <c:v>372.4255</c:v>
                </c:pt>
                <c:pt idx="5269">
                  <c:v>372.4255</c:v>
                </c:pt>
                <c:pt idx="5270">
                  <c:v>372.4255</c:v>
                </c:pt>
                <c:pt idx="5271">
                  <c:v>372.4255</c:v>
                </c:pt>
                <c:pt idx="5272">
                  <c:v>372.4255</c:v>
                </c:pt>
                <c:pt idx="5273">
                  <c:v>372.4255</c:v>
                </c:pt>
                <c:pt idx="5274">
                  <c:v>372.4255</c:v>
                </c:pt>
                <c:pt idx="5275">
                  <c:v>372.4255</c:v>
                </c:pt>
                <c:pt idx="5276">
                  <c:v>372.4255</c:v>
                </c:pt>
                <c:pt idx="5277">
                  <c:v>372.4255</c:v>
                </c:pt>
                <c:pt idx="5278">
                  <c:v>372.4255</c:v>
                </c:pt>
                <c:pt idx="5279">
                  <c:v>372.4255</c:v>
                </c:pt>
                <c:pt idx="5280">
                  <c:v>372.4255</c:v>
                </c:pt>
                <c:pt idx="5281">
                  <c:v>372.4255</c:v>
                </c:pt>
                <c:pt idx="5282">
                  <c:v>372.4255</c:v>
                </c:pt>
                <c:pt idx="5283">
                  <c:v>372.4255</c:v>
                </c:pt>
                <c:pt idx="5284">
                  <c:v>372.4255</c:v>
                </c:pt>
                <c:pt idx="5285">
                  <c:v>372.4255</c:v>
                </c:pt>
                <c:pt idx="5286">
                  <c:v>372.4255</c:v>
                </c:pt>
                <c:pt idx="5287">
                  <c:v>372.4255</c:v>
                </c:pt>
                <c:pt idx="5288">
                  <c:v>372.4255</c:v>
                </c:pt>
                <c:pt idx="5289">
                  <c:v>372.4255</c:v>
                </c:pt>
                <c:pt idx="5290">
                  <c:v>372.4255</c:v>
                </c:pt>
                <c:pt idx="5291">
                  <c:v>372.4255</c:v>
                </c:pt>
                <c:pt idx="5292">
                  <c:v>372.4255</c:v>
                </c:pt>
                <c:pt idx="5293">
                  <c:v>372.4255</c:v>
                </c:pt>
                <c:pt idx="5294">
                  <c:v>372.4255</c:v>
                </c:pt>
                <c:pt idx="5295">
                  <c:v>372.4255</c:v>
                </c:pt>
                <c:pt idx="5296">
                  <c:v>372.4255</c:v>
                </c:pt>
                <c:pt idx="5297">
                  <c:v>372.4255</c:v>
                </c:pt>
                <c:pt idx="5298">
                  <c:v>372.4255</c:v>
                </c:pt>
                <c:pt idx="5299">
                  <c:v>372.4255</c:v>
                </c:pt>
                <c:pt idx="5300">
                  <c:v>372.4255</c:v>
                </c:pt>
                <c:pt idx="5301">
                  <c:v>372.4255</c:v>
                </c:pt>
                <c:pt idx="5302">
                  <c:v>372.4255</c:v>
                </c:pt>
                <c:pt idx="5303">
                  <c:v>372.4255</c:v>
                </c:pt>
                <c:pt idx="5304">
                  <c:v>372.4255</c:v>
                </c:pt>
                <c:pt idx="5305">
                  <c:v>372.4255</c:v>
                </c:pt>
                <c:pt idx="5306">
                  <c:v>372.4255</c:v>
                </c:pt>
                <c:pt idx="5307">
                  <c:v>372.4255</c:v>
                </c:pt>
                <c:pt idx="5308">
                  <c:v>372.4255</c:v>
                </c:pt>
                <c:pt idx="5309">
                  <c:v>372.4255</c:v>
                </c:pt>
                <c:pt idx="5310">
                  <c:v>372.4255</c:v>
                </c:pt>
                <c:pt idx="5311">
                  <c:v>372.4255</c:v>
                </c:pt>
                <c:pt idx="5312">
                  <c:v>372.4255</c:v>
                </c:pt>
                <c:pt idx="5313">
                  <c:v>372.4255</c:v>
                </c:pt>
                <c:pt idx="5314">
                  <c:v>372.4255</c:v>
                </c:pt>
                <c:pt idx="5315">
                  <c:v>372.4255</c:v>
                </c:pt>
                <c:pt idx="5316">
                  <c:v>372.4255</c:v>
                </c:pt>
                <c:pt idx="5317">
                  <c:v>372.4255</c:v>
                </c:pt>
                <c:pt idx="5318">
                  <c:v>372.4255</c:v>
                </c:pt>
                <c:pt idx="5319">
                  <c:v>372.4255</c:v>
                </c:pt>
                <c:pt idx="5320">
                  <c:v>372.4255</c:v>
                </c:pt>
                <c:pt idx="5321">
                  <c:v>372.4255</c:v>
                </c:pt>
                <c:pt idx="5322">
                  <c:v>372.4255</c:v>
                </c:pt>
                <c:pt idx="5323">
                  <c:v>372.4255</c:v>
                </c:pt>
                <c:pt idx="5324">
                  <c:v>372.4255</c:v>
                </c:pt>
                <c:pt idx="5325">
                  <c:v>372.4255</c:v>
                </c:pt>
                <c:pt idx="5326">
                  <c:v>372.4255</c:v>
                </c:pt>
                <c:pt idx="5327">
                  <c:v>372.4255</c:v>
                </c:pt>
                <c:pt idx="5328">
                  <c:v>372.4255</c:v>
                </c:pt>
                <c:pt idx="5329">
                  <c:v>372.4255</c:v>
                </c:pt>
                <c:pt idx="5330">
                  <c:v>372.4255</c:v>
                </c:pt>
                <c:pt idx="5331">
                  <c:v>372.4255</c:v>
                </c:pt>
                <c:pt idx="5332">
                  <c:v>372.4255</c:v>
                </c:pt>
                <c:pt idx="5333">
                  <c:v>372.4255</c:v>
                </c:pt>
                <c:pt idx="5334">
                  <c:v>372.4255</c:v>
                </c:pt>
                <c:pt idx="5335">
                  <c:v>372.4255</c:v>
                </c:pt>
                <c:pt idx="5336">
                  <c:v>372.4255</c:v>
                </c:pt>
                <c:pt idx="5337">
                  <c:v>372.4255</c:v>
                </c:pt>
                <c:pt idx="5338">
                  <c:v>372.4255</c:v>
                </c:pt>
                <c:pt idx="5339">
                  <c:v>372.4255</c:v>
                </c:pt>
                <c:pt idx="5340">
                  <c:v>372.4255</c:v>
                </c:pt>
                <c:pt idx="5341">
                  <c:v>372.4255</c:v>
                </c:pt>
                <c:pt idx="5342">
                  <c:v>372.4255</c:v>
                </c:pt>
                <c:pt idx="5343">
                  <c:v>372.4255</c:v>
                </c:pt>
                <c:pt idx="5344">
                  <c:v>372.4255</c:v>
                </c:pt>
                <c:pt idx="5345">
                  <c:v>372.4255</c:v>
                </c:pt>
                <c:pt idx="5346">
                  <c:v>372.4255</c:v>
                </c:pt>
                <c:pt idx="5347">
                  <c:v>372.4255</c:v>
                </c:pt>
                <c:pt idx="5348">
                  <c:v>372.4255</c:v>
                </c:pt>
                <c:pt idx="5349">
                  <c:v>372.4255</c:v>
                </c:pt>
                <c:pt idx="5350">
                  <c:v>372.4255</c:v>
                </c:pt>
                <c:pt idx="5351">
                  <c:v>372.4255</c:v>
                </c:pt>
                <c:pt idx="5352">
                  <c:v>372.4255</c:v>
                </c:pt>
                <c:pt idx="5353">
                  <c:v>372.4255</c:v>
                </c:pt>
                <c:pt idx="5354">
                  <c:v>372.4255</c:v>
                </c:pt>
                <c:pt idx="5355">
                  <c:v>372.4255</c:v>
                </c:pt>
                <c:pt idx="5356">
                  <c:v>372.4255</c:v>
                </c:pt>
                <c:pt idx="5357">
                  <c:v>372.4255</c:v>
                </c:pt>
                <c:pt idx="5358">
                  <c:v>372.4255</c:v>
                </c:pt>
                <c:pt idx="5359">
                  <c:v>372.4255</c:v>
                </c:pt>
                <c:pt idx="5360">
                  <c:v>372.4255</c:v>
                </c:pt>
                <c:pt idx="5361">
                  <c:v>372.4255</c:v>
                </c:pt>
                <c:pt idx="5362">
                  <c:v>372.4255</c:v>
                </c:pt>
                <c:pt idx="5363">
                  <c:v>372.4255</c:v>
                </c:pt>
                <c:pt idx="5364">
                  <c:v>372.4255</c:v>
                </c:pt>
                <c:pt idx="5365">
                  <c:v>372.4255</c:v>
                </c:pt>
                <c:pt idx="5366">
                  <c:v>372.4255</c:v>
                </c:pt>
                <c:pt idx="5367">
                  <c:v>372.4255</c:v>
                </c:pt>
                <c:pt idx="5368">
                  <c:v>372.4255</c:v>
                </c:pt>
                <c:pt idx="5369">
                  <c:v>372.4255</c:v>
                </c:pt>
                <c:pt idx="5370">
                  <c:v>372.4255</c:v>
                </c:pt>
                <c:pt idx="5371">
                  <c:v>372.4255</c:v>
                </c:pt>
                <c:pt idx="5372">
                  <c:v>372.4255</c:v>
                </c:pt>
                <c:pt idx="5373">
                  <c:v>372.4255</c:v>
                </c:pt>
                <c:pt idx="5374">
                  <c:v>372.4255</c:v>
                </c:pt>
                <c:pt idx="5375">
                  <c:v>372.4255</c:v>
                </c:pt>
                <c:pt idx="5376">
                  <c:v>372.4255</c:v>
                </c:pt>
                <c:pt idx="5377">
                  <c:v>372.4255</c:v>
                </c:pt>
                <c:pt idx="5378">
                  <c:v>372.4255</c:v>
                </c:pt>
                <c:pt idx="5379">
                  <c:v>372.4255</c:v>
                </c:pt>
                <c:pt idx="5380">
                  <c:v>372.4255</c:v>
                </c:pt>
                <c:pt idx="5381">
                  <c:v>372.4255</c:v>
                </c:pt>
                <c:pt idx="5382">
                  <c:v>372.4255</c:v>
                </c:pt>
                <c:pt idx="5383">
                  <c:v>372.4255</c:v>
                </c:pt>
                <c:pt idx="5384">
                  <c:v>372.4255</c:v>
                </c:pt>
                <c:pt idx="5385">
                  <c:v>372.4255</c:v>
                </c:pt>
                <c:pt idx="5386">
                  <c:v>372.4255</c:v>
                </c:pt>
                <c:pt idx="5387">
                  <c:v>372.4255</c:v>
                </c:pt>
                <c:pt idx="5388">
                  <c:v>372.4255</c:v>
                </c:pt>
                <c:pt idx="5389">
                  <c:v>372.4255</c:v>
                </c:pt>
                <c:pt idx="5390">
                  <c:v>372.4255</c:v>
                </c:pt>
                <c:pt idx="5391">
                  <c:v>372.4255</c:v>
                </c:pt>
                <c:pt idx="5392">
                  <c:v>372.4255</c:v>
                </c:pt>
                <c:pt idx="5393">
                  <c:v>372.4255</c:v>
                </c:pt>
                <c:pt idx="5394">
                  <c:v>372.4255</c:v>
                </c:pt>
                <c:pt idx="5395">
                  <c:v>372.4255</c:v>
                </c:pt>
                <c:pt idx="5396">
                  <c:v>372.4255</c:v>
                </c:pt>
                <c:pt idx="5397">
                  <c:v>372.4255</c:v>
                </c:pt>
                <c:pt idx="5398">
                  <c:v>372.4255</c:v>
                </c:pt>
                <c:pt idx="5399">
                  <c:v>372.4255</c:v>
                </c:pt>
                <c:pt idx="5400">
                  <c:v>372.4255</c:v>
                </c:pt>
                <c:pt idx="5401">
                  <c:v>372.4255</c:v>
                </c:pt>
                <c:pt idx="5402">
                  <c:v>372.4255</c:v>
                </c:pt>
                <c:pt idx="5403">
                  <c:v>372.4255</c:v>
                </c:pt>
                <c:pt idx="5404">
                  <c:v>372.4255</c:v>
                </c:pt>
                <c:pt idx="5405">
                  <c:v>372.4255</c:v>
                </c:pt>
                <c:pt idx="5406">
                  <c:v>372.4255</c:v>
                </c:pt>
                <c:pt idx="5407">
                  <c:v>372.4255</c:v>
                </c:pt>
                <c:pt idx="5408">
                  <c:v>372.4255</c:v>
                </c:pt>
                <c:pt idx="5409">
                  <c:v>372.4255</c:v>
                </c:pt>
                <c:pt idx="5410">
                  <c:v>372.4255</c:v>
                </c:pt>
                <c:pt idx="5411">
                  <c:v>372.4255</c:v>
                </c:pt>
                <c:pt idx="5412">
                  <c:v>372.4255</c:v>
                </c:pt>
                <c:pt idx="5413">
                  <c:v>372.4255</c:v>
                </c:pt>
                <c:pt idx="5414">
                  <c:v>372.4255</c:v>
                </c:pt>
                <c:pt idx="5415">
                  <c:v>372.4255</c:v>
                </c:pt>
                <c:pt idx="5416">
                  <c:v>372.4255</c:v>
                </c:pt>
                <c:pt idx="5417">
                  <c:v>372.4255</c:v>
                </c:pt>
                <c:pt idx="5418">
                  <c:v>372.4255</c:v>
                </c:pt>
                <c:pt idx="5419">
                  <c:v>372.4255</c:v>
                </c:pt>
                <c:pt idx="5420">
                  <c:v>372.4255</c:v>
                </c:pt>
                <c:pt idx="5421">
                  <c:v>372.4255</c:v>
                </c:pt>
                <c:pt idx="5422">
                  <c:v>372.4255</c:v>
                </c:pt>
                <c:pt idx="5423">
                  <c:v>372.4255</c:v>
                </c:pt>
                <c:pt idx="5424">
                  <c:v>372.4255</c:v>
                </c:pt>
                <c:pt idx="5425">
                  <c:v>372.4255</c:v>
                </c:pt>
                <c:pt idx="5426">
                  <c:v>372.4255</c:v>
                </c:pt>
                <c:pt idx="5427">
                  <c:v>372.4255</c:v>
                </c:pt>
                <c:pt idx="5428">
                  <c:v>372.4255</c:v>
                </c:pt>
                <c:pt idx="5429">
                  <c:v>372.4255</c:v>
                </c:pt>
                <c:pt idx="5430">
                  <c:v>372.4255</c:v>
                </c:pt>
                <c:pt idx="5431">
                  <c:v>372.4255</c:v>
                </c:pt>
                <c:pt idx="5432">
                  <c:v>372.4255</c:v>
                </c:pt>
                <c:pt idx="5433">
                  <c:v>372.4255</c:v>
                </c:pt>
                <c:pt idx="5434">
                  <c:v>372.4255</c:v>
                </c:pt>
                <c:pt idx="5435">
                  <c:v>372.4255</c:v>
                </c:pt>
                <c:pt idx="5436">
                  <c:v>372.4255</c:v>
                </c:pt>
                <c:pt idx="5437">
                  <c:v>372.4255</c:v>
                </c:pt>
                <c:pt idx="5438">
                  <c:v>372.4255</c:v>
                </c:pt>
                <c:pt idx="5439">
                  <c:v>372.4255</c:v>
                </c:pt>
                <c:pt idx="5440">
                  <c:v>372.4255</c:v>
                </c:pt>
                <c:pt idx="5441">
                  <c:v>372.4255</c:v>
                </c:pt>
                <c:pt idx="5442">
                  <c:v>372.4255</c:v>
                </c:pt>
                <c:pt idx="5443">
                  <c:v>372.4255</c:v>
                </c:pt>
                <c:pt idx="5444">
                  <c:v>372.4255</c:v>
                </c:pt>
                <c:pt idx="5445">
                  <c:v>372.4255</c:v>
                </c:pt>
                <c:pt idx="5446">
                  <c:v>372.4255</c:v>
                </c:pt>
                <c:pt idx="5447">
                  <c:v>372.4255</c:v>
                </c:pt>
                <c:pt idx="5448">
                  <c:v>372.4255</c:v>
                </c:pt>
                <c:pt idx="5449">
                  <c:v>372.4255</c:v>
                </c:pt>
                <c:pt idx="5450">
                  <c:v>372.4255</c:v>
                </c:pt>
                <c:pt idx="5451">
                  <c:v>372.4255</c:v>
                </c:pt>
                <c:pt idx="5452">
                  <c:v>372.4255</c:v>
                </c:pt>
                <c:pt idx="5453">
                  <c:v>372.4255</c:v>
                </c:pt>
                <c:pt idx="5454">
                  <c:v>372.4255</c:v>
                </c:pt>
                <c:pt idx="5455">
                  <c:v>372.4255</c:v>
                </c:pt>
                <c:pt idx="5456">
                  <c:v>372.4255</c:v>
                </c:pt>
                <c:pt idx="5457">
                  <c:v>372.4255</c:v>
                </c:pt>
                <c:pt idx="5458">
                  <c:v>372.4255</c:v>
                </c:pt>
                <c:pt idx="5459">
                  <c:v>372.4255</c:v>
                </c:pt>
                <c:pt idx="5460">
                  <c:v>372.4255</c:v>
                </c:pt>
                <c:pt idx="5461">
                  <c:v>372.4255</c:v>
                </c:pt>
                <c:pt idx="5462">
                  <c:v>372.4255</c:v>
                </c:pt>
                <c:pt idx="5463">
                  <c:v>372.4255</c:v>
                </c:pt>
                <c:pt idx="5464">
                  <c:v>372.4255</c:v>
                </c:pt>
                <c:pt idx="5465">
                  <c:v>372.4255</c:v>
                </c:pt>
                <c:pt idx="5466">
                  <c:v>372.4255</c:v>
                </c:pt>
                <c:pt idx="5467">
                  <c:v>372.4255</c:v>
                </c:pt>
                <c:pt idx="5468">
                  <c:v>372.4255</c:v>
                </c:pt>
                <c:pt idx="5469">
                  <c:v>372.4255</c:v>
                </c:pt>
                <c:pt idx="5470">
                  <c:v>372.4255</c:v>
                </c:pt>
                <c:pt idx="5471">
                  <c:v>372.4255</c:v>
                </c:pt>
                <c:pt idx="5472">
                  <c:v>372.4255</c:v>
                </c:pt>
                <c:pt idx="5473">
                  <c:v>372.4255</c:v>
                </c:pt>
                <c:pt idx="5474">
                  <c:v>372.4255</c:v>
                </c:pt>
                <c:pt idx="5475">
                  <c:v>372.4255</c:v>
                </c:pt>
                <c:pt idx="5476">
                  <c:v>372.4255</c:v>
                </c:pt>
                <c:pt idx="5477">
                  <c:v>372.4255</c:v>
                </c:pt>
                <c:pt idx="5478">
                  <c:v>372.4255</c:v>
                </c:pt>
                <c:pt idx="5479">
                  <c:v>372.4255</c:v>
                </c:pt>
                <c:pt idx="5480">
                  <c:v>372.4255</c:v>
                </c:pt>
                <c:pt idx="5481">
                  <c:v>372.4255</c:v>
                </c:pt>
                <c:pt idx="5482">
                  <c:v>372.4255</c:v>
                </c:pt>
                <c:pt idx="5483">
                  <c:v>372.4255</c:v>
                </c:pt>
                <c:pt idx="5484">
                  <c:v>372.4255</c:v>
                </c:pt>
                <c:pt idx="5485">
                  <c:v>372.4255</c:v>
                </c:pt>
                <c:pt idx="5486">
                  <c:v>372.4255</c:v>
                </c:pt>
                <c:pt idx="5487">
                  <c:v>372.4255</c:v>
                </c:pt>
                <c:pt idx="5488">
                  <c:v>372.4255</c:v>
                </c:pt>
                <c:pt idx="5489">
                  <c:v>372.4255</c:v>
                </c:pt>
                <c:pt idx="5490">
                  <c:v>372.4255</c:v>
                </c:pt>
                <c:pt idx="5491">
                  <c:v>372.4255</c:v>
                </c:pt>
                <c:pt idx="5492">
                  <c:v>372.4255</c:v>
                </c:pt>
                <c:pt idx="5493">
                  <c:v>372.4255</c:v>
                </c:pt>
                <c:pt idx="5494">
                  <c:v>372.4255</c:v>
                </c:pt>
                <c:pt idx="5495">
                  <c:v>372.4255</c:v>
                </c:pt>
                <c:pt idx="5496">
                  <c:v>372.4255</c:v>
                </c:pt>
                <c:pt idx="5497">
                  <c:v>372.4255</c:v>
                </c:pt>
                <c:pt idx="5498">
                  <c:v>372.4255</c:v>
                </c:pt>
                <c:pt idx="5499">
                  <c:v>372.4255</c:v>
                </c:pt>
                <c:pt idx="5500">
                  <c:v>372.4255</c:v>
                </c:pt>
                <c:pt idx="5501">
                  <c:v>372.4255</c:v>
                </c:pt>
                <c:pt idx="5502">
                  <c:v>372.4255</c:v>
                </c:pt>
                <c:pt idx="5503">
                  <c:v>372.4255</c:v>
                </c:pt>
                <c:pt idx="5504">
                  <c:v>372.4255</c:v>
                </c:pt>
                <c:pt idx="5505">
                  <c:v>372.4255</c:v>
                </c:pt>
                <c:pt idx="5506">
                  <c:v>372.4255</c:v>
                </c:pt>
                <c:pt idx="5507">
                  <c:v>372.4255</c:v>
                </c:pt>
                <c:pt idx="5508">
                  <c:v>372.4255</c:v>
                </c:pt>
                <c:pt idx="5509">
                  <c:v>372.4255</c:v>
                </c:pt>
                <c:pt idx="5510">
                  <c:v>372.4255</c:v>
                </c:pt>
                <c:pt idx="5511">
                  <c:v>372.4255</c:v>
                </c:pt>
                <c:pt idx="5512">
                  <c:v>372.4255</c:v>
                </c:pt>
                <c:pt idx="5513">
                  <c:v>372.4255</c:v>
                </c:pt>
                <c:pt idx="5514">
                  <c:v>372.4255</c:v>
                </c:pt>
                <c:pt idx="5515">
                  <c:v>372.4255</c:v>
                </c:pt>
                <c:pt idx="5516">
                  <c:v>372.4255</c:v>
                </c:pt>
                <c:pt idx="5517">
                  <c:v>372.4255</c:v>
                </c:pt>
                <c:pt idx="5518">
                  <c:v>372.4255</c:v>
                </c:pt>
                <c:pt idx="5519">
                  <c:v>372.4255</c:v>
                </c:pt>
                <c:pt idx="5520">
                  <c:v>372.4255</c:v>
                </c:pt>
                <c:pt idx="5521">
                  <c:v>372.4255</c:v>
                </c:pt>
                <c:pt idx="5522">
                  <c:v>372.4255</c:v>
                </c:pt>
                <c:pt idx="5523">
                  <c:v>372.4255</c:v>
                </c:pt>
                <c:pt idx="5524">
                  <c:v>372.4255</c:v>
                </c:pt>
                <c:pt idx="5525">
                  <c:v>372.4255</c:v>
                </c:pt>
                <c:pt idx="5526">
                  <c:v>372.4255</c:v>
                </c:pt>
                <c:pt idx="5527">
                  <c:v>372.4255</c:v>
                </c:pt>
                <c:pt idx="5528">
                  <c:v>372.4255</c:v>
                </c:pt>
                <c:pt idx="5529">
                  <c:v>372.4255</c:v>
                </c:pt>
                <c:pt idx="5530">
                  <c:v>372.4255</c:v>
                </c:pt>
                <c:pt idx="5531">
                  <c:v>372.4255</c:v>
                </c:pt>
                <c:pt idx="5532">
                  <c:v>372.4255</c:v>
                </c:pt>
                <c:pt idx="5533">
                  <c:v>372.4255</c:v>
                </c:pt>
                <c:pt idx="5534">
                  <c:v>372.4255</c:v>
                </c:pt>
                <c:pt idx="5535">
                  <c:v>372.4255</c:v>
                </c:pt>
                <c:pt idx="5536">
                  <c:v>372.4255</c:v>
                </c:pt>
                <c:pt idx="5537">
                  <c:v>372.4255</c:v>
                </c:pt>
                <c:pt idx="5538">
                  <c:v>372.4255</c:v>
                </c:pt>
                <c:pt idx="5539">
                  <c:v>372.4255</c:v>
                </c:pt>
                <c:pt idx="5540">
                  <c:v>372.4255</c:v>
                </c:pt>
                <c:pt idx="5541">
                  <c:v>372.4255</c:v>
                </c:pt>
                <c:pt idx="5542">
                  <c:v>372.4255</c:v>
                </c:pt>
                <c:pt idx="5543">
                  <c:v>372.4255</c:v>
                </c:pt>
                <c:pt idx="5544">
                  <c:v>372.4255</c:v>
                </c:pt>
                <c:pt idx="5545">
                  <c:v>372.4255</c:v>
                </c:pt>
                <c:pt idx="5546">
                  <c:v>372.4255</c:v>
                </c:pt>
                <c:pt idx="5547">
                  <c:v>372.4255</c:v>
                </c:pt>
                <c:pt idx="5548">
                  <c:v>372.4255</c:v>
                </c:pt>
                <c:pt idx="5549">
                  <c:v>372.4255</c:v>
                </c:pt>
                <c:pt idx="5550">
                  <c:v>372.4255</c:v>
                </c:pt>
                <c:pt idx="5551">
                  <c:v>372.4255</c:v>
                </c:pt>
                <c:pt idx="5552">
                  <c:v>372.4255</c:v>
                </c:pt>
                <c:pt idx="5553">
                  <c:v>372.4255</c:v>
                </c:pt>
                <c:pt idx="5554">
                  <c:v>372.4255</c:v>
                </c:pt>
                <c:pt idx="5555">
                  <c:v>372.4255</c:v>
                </c:pt>
                <c:pt idx="5556">
                  <c:v>372.4255</c:v>
                </c:pt>
                <c:pt idx="5557">
                  <c:v>372.4255</c:v>
                </c:pt>
                <c:pt idx="5558">
                  <c:v>372.4255</c:v>
                </c:pt>
                <c:pt idx="5559">
                  <c:v>372.4255</c:v>
                </c:pt>
                <c:pt idx="5560">
                  <c:v>372.4255</c:v>
                </c:pt>
                <c:pt idx="5561">
                  <c:v>372.4255</c:v>
                </c:pt>
                <c:pt idx="5562">
                  <c:v>372.4255</c:v>
                </c:pt>
                <c:pt idx="5563">
                  <c:v>372.4255</c:v>
                </c:pt>
                <c:pt idx="5564">
                  <c:v>372.4255</c:v>
                </c:pt>
                <c:pt idx="5565">
                  <c:v>372.4255</c:v>
                </c:pt>
                <c:pt idx="5566">
                  <c:v>372.4255</c:v>
                </c:pt>
                <c:pt idx="5567">
                  <c:v>372.4255</c:v>
                </c:pt>
                <c:pt idx="5568">
                  <c:v>372.4255</c:v>
                </c:pt>
                <c:pt idx="5569">
                  <c:v>372.4255</c:v>
                </c:pt>
                <c:pt idx="5570">
                  <c:v>372.4255</c:v>
                </c:pt>
                <c:pt idx="5571">
                  <c:v>372.4255</c:v>
                </c:pt>
                <c:pt idx="5572">
                  <c:v>372.4255</c:v>
                </c:pt>
                <c:pt idx="5573">
                  <c:v>372.4255</c:v>
                </c:pt>
                <c:pt idx="5574">
                  <c:v>372.4255</c:v>
                </c:pt>
                <c:pt idx="5575">
                  <c:v>372.4255</c:v>
                </c:pt>
                <c:pt idx="5576">
                  <c:v>372.4255</c:v>
                </c:pt>
                <c:pt idx="5577">
                  <c:v>372.4255</c:v>
                </c:pt>
                <c:pt idx="5578">
                  <c:v>372.4255</c:v>
                </c:pt>
                <c:pt idx="5579">
                  <c:v>372.4255</c:v>
                </c:pt>
                <c:pt idx="5580">
                  <c:v>372.4255</c:v>
                </c:pt>
                <c:pt idx="5581">
                  <c:v>372.4255</c:v>
                </c:pt>
                <c:pt idx="5582">
                  <c:v>372.4255</c:v>
                </c:pt>
                <c:pt idx="5583">
                  <c:v>372.4255</c:v>
                </c:pt>
                <c:pt idx="5584">
                  <c:v>372.4255</c:v>
                </c:pt>
                <c:pt idx="5585">
                  <c:v>372.4255</c:v>
                </c:pt>
                <c:pt idx="5586">
                  <c:v>372.4255</c:v>
                </c:pt>
                <c:pt idx="5587">
                  <c:v>372.4255</c:v>
                </c:pt>
                <c:pt idx="5588">
                  <c:v>372.4255</c:v>
                </c:pt>
                <c:pt idx="5589">
                  <c:v>372.4255</c:v>
                </c:pt>
                <c:pt idx="5590">
                  <c:v>372.4255</c:v>
                </c:pt>
                <c:pt idx="5591">
                  <c:v>372.4255</c:v>
                </c:pt>
                <c:pt idx="5592">
                  <c:v>372.4255</c:v>
                </c:pt>
                <c:pt idx="5593">
                  <c:v>372.4255</c:v>
                </c:pt>
                <c:pt idx="5594">
                  <c:v>372.4255</c:v>
                </c:pt>
                <c:pt idx="5595">
                  <c:v>372.4255</c:v>
                </c:pt>
                <c:pt idx="5596">
                  <c:v>372.4255</c:v>
                </c:pt>
                <c:pt idx="5597">
                  <c:v>372.4255</c:v>
                </c:pt>
                <c:pt idx="5598">
                  <c:v>372.4255</c:v>
                </c:pt>
                <c:pt idx="5599">
                  <c:v>372.4255</c:v>
                </c:pt>
                <c:pt idx="5600">
                  <c:v>372.4255</c:v>
                </c:pt>
                <c:pt idx="5601">
                  <c:v>372.4255</c:v>
                </c:pt>
                <c:pt idx="5602">
                  <c:v>372.4255</c:v>
                </c:pt>
                <c:pt idx="5603">
                  <c:v>372.4255</c:v>
                </c:pt>
                <c:pt idx="5604">
                  <c:v>372.4255</c:v>
                </c:pt>
                <c:pt idx="5605">
                  <c:v>372.4255</c:v>
                </c:pt>
                <c:pt idx="5606">
                  <c:v>372.4255</c:v>
                </c:pt>
                <c:pt idx="5607">
                  <c:v>372.4255</c:v>
                </c:pt>
                <c:pt idx="5608">
                  <c:v>372.4255</c:v>
                </c:pt>
                <c:pt idx="5609">
                  <c:v>372.4255</c:v>
                </c:pt>
                <c:pt idx="5610">
                  <c:v>372.4255</c:v>
                </c:pt>
                <c:pt idx="5611">
                  <c:v>372.4255</c:v>
                </c:pt>
                <c:pt idx="5612">
                  <c:v>372.4255</c:v>
                </c:pt>
                <c:pt idx="5613">
                  <c:v>372.4255</c:v>
                </c:pt>
                <c:pt idx="5614">
                  <c:v>372.4255</c:v>
                </c:pt>
                <c:pt idx="5615">
                  <c:v>372.4255</c:v>
                </c:pt>
                <c:pt idx="5616">
                  <c:v>372.4255</c:v>
                </c:pt>
                <c:pt idx="5617">
                  <c:v>372.4255</c:v>
                </c:pt>
                <c:pt idx="5618">
                  <c:v>372.4255</c:v>
                </c:pt>
                <c:pt idx="5619">
                  <c:v>372.4255</c:v>
                </c:pt>
                <c:pt idx="5620">
                  <c:v>372.4255</c:v>
                </c:pt>
                <c:pt idx="5621">
                  <c:v>372.4255</c:v>
                </c:pt>
                <c:pt idx="5622">
                  <c:v>372.4255</c:v>
                </c:pt>
                <c:pt idx="5623">
                  <c:v>372.4255</c:v>
                </c:pt>
                <c:pt idx="5624">
                  <c:v>372.4255</c:v>
                </c:pt>
                <c:pt idx="5625">
                  <c:v>372.4255</c:v>
                </c:pt>
                <c:pt idx="5626">
                  <c:v>372.4255</c:v>
                </c:pt>
                <c:pt idx="5627">
                  <c:v>372.4255</c:v>
                </c:pt>
                <c:pt idx="5628">
                  <c:v>372.4255</c:v>
                </c:pt>
                <c:pt idx="5629">
                  <c:v>372.4255</c:v>
                </c:pt>
                <c:pt idx="5630">
                  <c:v>372.4255</c:v>
                </c:pt>
                <c:pt idx="5631">
                  <c:v>372.4255</c:v>
                </c:pt>
                <c:pt idx="5632">
                  <c:v>372.4255</c:v>
                </c:pt>
                <c:pt idx="5633">
                  <c:v>372.4255</c:v>
                </c:pt>
                <c:pt idx="5634">
                  <c:v>372.4255</c:v>
                </c:pt>
                <c:pt idx="5635">
                  <c:v>372.4255</c:v>
                </c:pt>
                <c:pt idx="5636">
                  <c:v>372.4255</c:v>
                </c:pt>
                <c:pt idx="5637">
                  <c:v>372.4255</c:v>
                </c:pt>
                <c:pt idx="5638">
                  <c:v>372.4255</c:v>
                </c:pt>
                <c:pt idx="5639">
                  <c:v>372.4255</c:v>
                </c:pt>
                <c:pt idx="5640">
                  <c:v>372.4255</c:v>
                </c:pt>
                <c:pt idx="5641">
                  <c:v>372.4255</c:v>
                </c:pt>
                <c:pt idx="5642">
                  <c:v>372.4255</c:v>
                </c:pt>
                <c:pt idx="5643">
                  <c:v>372.4255</c:v>
                </c:pt>
                <c:pt idx="5644">
                  <c:v>372.4255</c:v>
                </c:pt>
                <c:pt idx="5645">
                  <c:v>372.4255</c:v>
                </c:pt>
                <c:pt idx="5646">
                  <c:v>372.4255</c:v>
                </c:pt>
                <c:pt idx="5647">
                  <c:v>372.4255</c:v>
                </c:pt>
                <c:pt idx="5648">
                  <c:v>372.4255</c:v>
                </c:pt>
                <c:pt idx="5649">
                  <c:v>372.4255</c:v>
                </c:pt>
                <c:pt idx="5650">
                  <c:v>372.4255</c:v>
                </c:pt>
                <c:pt idx="5651">
                  <c:v>372.4255</c:v>
                </c:pt>
                <c:pt idx="5652">
                  <c:v>372.4255</c:v>
                </c:pt>
                <c:pt idx="5653">
                  <c:v>372.4255</c:v>
                </c:pt>
                <c:pt idx="5654">
                  <c:v>372.4255</c:v>
                </c:pt>
                <c:pt idx="5655">
                  <c:v>372.4255</c:v>
                </c:pt>
                <c:pt idx="5656">
                  <c:v>372.4255</c:v>
                </c:pt>
                <c:pt idx="5657">
                  <c:v>372.4255</c:v>
                </c:pt>
                <c:pt idx="5658">
                  <c:v>372.4255</c:v>
                </c:pt>
                <c:pt idx="5659">
                  <c:v>372.4255</c:v>
                </c:pt>
                <c:pt idx="5660">
                  <c:v>372.4255</c:v>
                </c:pt>
                <c:pt idx="5661">
                  <c:v>372.4255</c:v>
                </c:pt>
                <c:pt idx="5662">
                  <c:v>372.4255</c:v>
                </c:pt>
                <c:pt idx="5663">
                  <c:v>372.4255</c:v>
                </c:pt>
                <c:pt idx="5664">
                  <c:v>372.4255</c:v>
                </c:pt>
                <c:pt idx="5665">
                  <c:v>372.4255</c:v>
                </c:pt>
                <c:pt idx="5666">
                  <c:v>372.4255</c:v>
                </c:pt>
                <c:pt idx="5667">
                  <c:v>372.4255</c:v>
                </c:pt>
                <c:pt idx="5668">
                  <c:v>372.4255</c:v>
                </c:pt>
                <c:pt idx="5669">
                  <c:v>372.4255</c:v>
                </c:pt>
                <c:pt idx="5670">
                  <c:v>372.4255</c:v>
                </c:pt>
                <c:pt idx="5671">
                  <c:v>372.4255</c:v>
                </c:pt>
                <c:pt idx="5672">
                  <c:v>372.4255</c:v>
                </c:pt>
                <c:pt idx="5673">
                  <c:v>372.4255</c:v>
                </c:pt>
                <c:pt idx="5674">
                  <c:v>372.4255</c:v>
                </c:pt>
                <c:pt idx="5675">
                  <c:v>372.4255</c:v>
                </c:pt>
                <c:pt idx="5676">
                  <c:v>372.4255</c:v>
                </c:pt>
                <c:pt idx="5677">
                  <c:v>372.4255</c:v>
                </c:pt>
                <c:pt idx="5678">
                  <c:v>372.4255</c:v>
                </c:pt>
                <c:pt idx="5679">
                  <c:v>372.4255</c:v>
                </c:pt>
                <c:pt idx="5680">
                  <c:v>372.4255</c:v>
                </c:pt>
                <c:pt idx="5681">
                  <c:v>372.4255</c:v>
                </c:pt>
                <c:pt idx="5682">
                  <c:v>372.4255</c:v>
                </c:pt>
                <c:pt idx="5683">
                  <c:v>372.4255</c:v>
                </c:pt>
                <c:pt idx="5684">
                  <c:v>372.4255</c:v>
                </c:pt>
                <c:pt idx="5685">
                  <c:v>372.4255</c:v>
                </c:pt>
                <c:pt idx="5686">
                  <c:v>372.4255</c:v>
                </c:pt>
                <c:pt idx="5687">
                  <c:v>372.4255</c:v>
                </c:pt>
                <c:pt idx="5688">
                  <c:v>372.4255</c:v>
                </c:pt>
                <c:pt idx="5689">
                  <c:v>372.4255</c:v>
                </c:pt>
                <c:pt idx="5690">
                  <c:v>372.4255</c:v>
                </c:pt>
                <c:pt idx="5691">
                  <c:v>372.4255</c:v>
                </c:pt>
                <c:pt idx="5692">
                  <c:v>372.4255</c:v>
                </c:pt>
                <c:pt idx="5693">
                  <c:v>372.4255</c:v>
                </c:pt>
                <c:pt idx="5694">
                  <c:v>372.4255</c:v>
                </c:pt>
                <c:pt idx="5695">
                  <c:v>372.4255</c:v>
                </c:pt>
                <c:pt idx="5696">
                  <c:v>372.4255</c:v>
                </c:pt>
                <c:pt idx="5697">
                  <c:v>372.4255</c:v>
                </c:pt>
                <c:pt idx="5698">
                  <c:v>372.4255</c:v>
                </c:pt>
                <c:pt idx="5699">
                  <c:v>372.4255</c:v>
                </c:pt>
                <c:pt idx="5700">
                  <c:v>372.4255</c:v>
                </c:pt>
                <c:pt idx="5701">
                  <c:v>372.4255</c:v>
                </c:pt>
                <c:pt idx="5702">
                  <c:v>372.4255</c:v>
                </c:pt>
                <c:pt idx="5703">
                  <c:v>372.4255</c:v>
                </c:pt>
                <c:pt idx="5704">
                  <c:v>372.4255</c:v>
                </c:pt>
                <c:pt idx="5705">
                  <c:v>372.4255</c:v>
                </c:pt>
                <c:pt idx="5706">
                  <c:v>372.4255</c:v>
                </c:pt>
                <c:pt idx="5707">
                  <c:v>372.4255</c:v>
                </c:pt>
                <c:pt idx="5708">
                  <c:v>372.4255</c:v>
                </c:pt>
                <c:pt idx="5709">
                  <c:v>372.4255</c:v>
                </c:pt>
                <c:pt idx="5710">
                  <c:v>372.4255</c:v>
                </c:pt>
                <c:pt idx="5711">
                  <c:v>372.4255</c:v>
                </c:pt>
                <c:pt idx="5712">
                  <c:v>372.4255</c:v>
                </c:pt>
                <c:pt idx="5713">
                  <c:v>372.4255</c:v>
                </c:pt>
                <c:pt idx="5714">
                  <c:v>372.4255</c:v>
                </c:pt>
                <c:pt idx="5715">
                  <c:v>372.4255</c:v>
                </c:pt>
                <c:pt idx="5716">
                  <c:v>372.4255</c:v>
                </c:pt>
                <c:pt idx="5717">
                  <c:v>372.4255</c:v>
                </c:pt>
                <c:pt idx="5718">
                  <c:v>372.4255</c:v>
                </c:pt>
                <c:pt idx="5719">
                  <c:v>372.4255</c:v>
                </c:pt>
                <c:pt idx="5720">
                  <c:v>372.4255</c:v>
                </c:pt>
                <c:pt idx="5721">
                  <c:v>372.4255</c:v>
                </c:pt>
                <c:pt idx="5722">
                  <c:v>372.4255</c:v>
                </c:pt>
                <c:pt idx="5723">
                  <c:v>372.4255</c:v>
                </c:pt>
                <c:pt idx="5724">
                  <c:v>372.4255</c:v>
                </c:pt>
                <c:pt idx="5725">
                  <c:v>372.4255</c:v>
                </c:pt>
                <c:pt idx="5726">
                  <c:v>372.4255</c:v>
                </c:pt>
                <c:pt idx="5727">
                  <c:v>372.4255</c:v>
                </c:pt>
                <c:pt idx="5728">
                  <c:v>372.4255</c:v>
                </c:pt>
                <c:pt idx="5729">
                  <c:v>372.4255</c:v>
                </c:pt>
                <c:pt idx="5730">
                  <c:v>372.4255</c:v>
                </c:pt>
                <c:pt idx="5731">
                  <c:v>372.4255</c:v>
                </c:pt>
                <c:pt idx="5732">
                  <c:v>372.4255</c:v>
                </c:pt>
                <c:pt idx="5733">
                  <c:v>372.4255</c:v>
                </c:pt>
                <c:pt idx="5734">
                  <c:v>372.4255</c:v>
                </c:pt>
                <c:pt idx="5735">
                  <c:v>372.4255</c:v>
                </c:pt>
                <c:pt idx="5736">
                  <c:v>372.4255</c:v>
                </c:pt>
                <c:pt idx="5737">
                  <c:v>372.4255</c:v>
                </c:pt>
                <c:pt idx="5738">
                  <c:v>372.4255</c:v>
                </c:pt>
                <c:pt idx="5739">
                  <c:v>372.4255</c:v>
                </c:pt>
                <c:pt idx="5740">
                  <c:v>372.4255</c:v>
                </c:pt>
                <c:pt idx="5741">
                  <c:v>372.4255</c:v>
                </c:pt>
                <c:pt idx="5742">
                  <c:v>372.4255</c:v>
                </c:pt>
                <c:pt idx="5743">
                  <c:v>372.4255</c:v>
                </c:pt>
                <c:pt idx="5744">
                  <c:v>372.4255</c:v>
                </c:pt>
                <c:pt idx="5745">
                  <c:v>372.4255</c:v>
                </c:pt>
                <c:pt idx="5746">
                  <c:v>372.4255</c:v>
                </c:pt>
                <c:pt idx="5747">
                  <c:v>372.4255</c:v>
                </c:pt>
                <c:pt idx="5748">
                  <c:v>372.4255</c:v>
                </c:pt>
                <c:pt idx="5749">
                  <c:v>372.4255</c:v>
                </c:pt>
                <c:pt idx="5750">
                  <c:v>372.4255</c:v>
                </c:pt>
                <c:pt idx="5751">
                  <c:v>372.4255</c:v>
                </c:pt>
                <c:pt idx="5752">
                  <c:v>372.4255</c:v>
                </c:pt>
                <c:pt idx="5753">
                  <c:v>372.4255</c:v>
                </c:pt>
                <c:pt idx="5754">
                  <c:v>372.4255</c:v>
                </c:pt>
                <c:pt idx="5755">
                  <c:v>372.4255</c:v>
                </c:pt>
                <c:pt idx="5756">
                  <c:v>372.4255</c:v>
                </c:pt>
                <c:pt idx="5757">
                  <c:v>372.4255</c:v>
                </c:pt>
                <c:pt idx="5758">
                  <c:v>372.4255</c:v>
                </c:pt>
                <c:pt idx="5759">
                  <c:v>372.4255</c:v>
                </c:pt>
                <c:pt idx="5760">
                  <c:v>372.4255</c:v>
                </c:pt>
                <c:pt idx="5761">
                  <c:v>372.4255</c:v>
                </c:pt>
                <c:pt idx="5762">
                  <c:v>372.4255</c:v>
                </c:pt>
                <c:pt idx="5763">
                  <c:v>372.4255</c:v>
                </c:pt>
                <c:pt idx="5764">
                  <c:v>372.4255</c:v>
                </c:pt>
                <c:pt idx="5765">
                  <c:v>372.4255</c:v>
                </c:pt>
                <c:pt idx="5766">
                  <c:v>372.4255</c:v>
                </c:pt>
                <c:pt idx="5767">
                  <c:v>372.4255</c:v>
                </c:pt>
                <c:pt idx="5768">
                  <c:v>372.4255</c:v>
                </c:pt>
                <c:pt idx="5769">
                  <c:v>372.4255</c:v>
                </c:pt>
                <c:pt idx="5770">
                  <c:v>372.4255</c:v>
                </c:pt>
                <c:pt idx="5771">
                  <c:v>372.4255</c:v>
                </c:pt>
                <c:pt idx="5772">
                  <c:v>372.4255</c:v>
                </c:pt>
                <c:pt idx="5773">
                  <c:v>372.4255</c:v>
                </c:pt>
                <c:pt idx="5774">
                  <c:v>372.4255</c:v>
                </c:pt>
                <c:pt idx="5775">
                  <c:v>372.4255</c:v>
                </c:pt>
                <c:pt idx="5776">
                  <c:v>372.4255</c:v>
                </c:pt>
                <c:pt idx="5777">
                  <c:v>372.4255</c:v>
                </c:pt>
                <c:pt idx="5778">
                  <c:v>372.4255</c:v>
                </c:pt>
                <c:pt idx="5779">
                  <c:v>372.4255</c:v>
                </c:pt>
                <c:pt idx="5780">
                  <c:v>372.4255</c:v>
                </c:pt>
                <c:pt idx="5781">
                  <c:v>372.4255</c:v>
                </c:pt>
                <c:pt idx="5782">
                  <c:v>372.4255</c:v>
                </c:pt>
                <c:pt idx="5783">
                  <c:v>372.4255</c:v>
                </c:pt>
                <c:pt idx="5784">
                  <c:v>372.4255</c:v>
                </c:pt>
                <c:pt idx="5785">
                  <c:v>372.4255</c:v>
                </c:pt>
                <c:pt idx="5786">
                  <c:v>372.4255</c:v>
                </c:pt>
                <c:pt idx="5787">
                  <c:v>372.4255</c:v>
                </c:pt>
                <c:pt idx="5788">
                  <c:v>372.4255</c:v>
                </c:pt>
                <c:pt idx="5789">
                  <c:v>372.4255</c:v>
                </c:pt>
                <c:pt idx="5790">
                  <c:v>372.4255</c:v>
                </c:pt>
                <c:pt idx="5791">
                  <c:v>372.4255</c:v>
                </c:pt>
                <c:pt idx="5792">
                  <c:v>372.4255</c:v>
                </c:pt>
                <c:pt idx="5793">
                  <c:v>372.4255</c:v>
                </c:pt>
                <c:pt idx="5794">
                  <c:v>372.4255</c:v>
                </c:pt>
                <c:pt idx="5795">
                  <c:v>372.4255</c:v>
                </c:pt>
                <c:pt idx="5796">
                  <c:v>372.4255</c:v>
                </c:pt>
                <c:pt idx="5797">
                  <c:v>372.4255</c:v>
                </c:pt>
                <c:pt idx="5798">
                  <c:v>372.4255</c:v>
                </c:pt>
                <c:pt idx="5799">
                  <c:v>372.42549255</c:v>
                </c:pt>
                <c:pt idx="5800">
                  <c:v>372.42549255</c:v>
                </c:pt>
                <c:pt idx="5801">
                  <c:v>372.42549255</c:v>
                </c:pt>
                <c:pt idx="5802">
                  <c:v>372.4254851</c:v>
                </c:pt>
                <c:pt idx="5803">
                  <c:v>372.4254851</c:v>
                </c:pt>
                <c:pt idx="5804">
                  <c:v>372.42547765</c:v>
                </c:pt>
                <c:pt idx="5805">
                  <c:v>372.42547765</c:v>
                </c:pt>
                <c:pt idx="5806">
                  <c:v>372.42547765</c:v>
                </c:pt>
                <c:pt idx="5807">
                  <c:v>372.42547020000001</c:v>
                </c:pt>
                <c:pt idx="5808">
                  <c:v>372.42546275000001</c:v>
                </c:pt>
                <c:pt idx="5809">
                  <c:v>372.40687500000001</c:v>
                </c:pt>
                <c:pt idx="5810">
                  <c:v>372.40687500000001</c:v>
                </c:pt>
                <c:pt idx="5811">
                  <c:v>372.36962500000004</c:v>
                </c:pt>
                <c:pt idx="5812">
                  <c:v>372.36962500000004</c:v>
                </c:pt>
                <c:pt idx="5813">
                  <c:v>372.36962500000004</c:v>
                </c:pt>
                <c:pt idx="5814">
                  <c:v>372.36962500000004</c:v>
                </c:pt>
                <c:pt idx="5815">
                  <c:v>372.36962500000004</c:v>
                </c:pt>
                <c:pt idx="5816">
                  <c:v>372.36962500000004</c:v>
                </c:pt>
                <c:pt idx="5817">
                  <c:v>372.3512235</c:v>
                </c:pt>
                <c:pt idx="5818">
                  <c:v>372.35105214999999</c:v>
                </c:pt>
                <c:pt idx="5819">
                  <c:v>372.35102979999999</c:v>
                </c:pt>
                <c:pt idx="5820">
                  <c:v>372.3510149</c:v>
                </c:pt>
                <c:pt idx="5821">
                  <c:v>372.351</c:v>
                </c:pt>
                <c:pt idx="5822">
                  <c:v>372.351</c:v>
                </c:pt>
                <c:pt idx="5823">
                  <c:v>372.351</c:v>
                </c:pt>
                <c:pt idx="5824">
                  <c:v>372.351</c:v>
                </c:pt>
                <c:pt idx="5825">
                  <c:v>372.351</c:v>
                </c:pt>
                <c:pt idx="5826">
                  <c:v>372.351</c:v>
                </c:pt>
                <c:pt idx="5827">
                  <c:v>372.351</c:v>
                </c:pt>
                <c:pt idx="5828">
                  <c:v>372.351</c:v>
                </c:pt>
                <c:pt idx="5829">
                  <c:v>372.351</c:v>
                </c:pt>
                <c:pt idx="5830">
                  <c:v>372.351</c:v>
                </c:pt>
                <c:pt idx="5831">
                  <c:v>372.351</c:v>
                </c:pt>
                <c:pt idx="5832">
                  <c:v>372.351</c:v>
                </c:pt>
                <c:pt idx="5833">
                  <c:v>372.351</c:v>
                </c:pt>
                <c:pt idx="5834">
                  <c:v>372.351</c:v>
                </c:pt>
                <c:pt idx="5835">
                  <c:v>372.351</c:v>
                </c:pt>
                <c:pt idx="5836">
                  <c:v>372.351</c:v>
                </c:pt>
                <c:pt idx="5837">
                  <c:v>372.351</c:v>
                </c:pt>
                <c:pt idx="5838">
                  <c:v>372.351</c:v>
                </c:pt>
                <c:pt idx="5839">
                  <c:v>372.351</c:v>
                </c:pt>
                <c:pt idx="5840">
                  <c:v>372.351</c:v>
                </c:pt>
                <c:pt idx="5841">
                  <c:v>372.351</c:v>
                </c:pt>
                <c:pt idx="5842">
                  <c:v>372.351</c:v>
                </c:pt>
                <c:pt idx="5843">
                  <c:v>372.351</c:v>
                </c:pt>
                <c:pt idx="5844">
                  <c:v>372.351</c:v>
                </c:pt>
                <c:pt idx="5845">
                  <c:v>372.351</c:v>
                </c:pt>
                <c:pt idx="5846">
                  <c:v>372.351</c:v>
                </c:pt>
                <c:pt idx="5847">
                  <c:v>372.351</c:v>
                </c:pt>
                <c:pt idx="5848">
                  <c:v>372.351</c:v>
                </c:pt>
                <c:pt idx="5849">
                  <c:v>372.351</c:v>
                </c:pt>
                <c:pt idx="5850">
                  <c:v>372.351</c:v>
                </c:pt>
                <c:pt idx="5851">
                  <c:v>372.351</c:v>
                </c:pt>
                <c:pt idx="5852">
                  <c:v>372.351</c:v>
                </c:pt>
                <c:pt idx="5853">
                  <c:v>372.351</c:v>
                </c:pt>
                <c:pt idx="5854">
                  <c:v>372.351</c:v>
                </c:pt>
                <c:pt idx="5855">
                  <c:v>372.351</c:v>
                </c:pt>
                <c:pt idx="5856">
                  <c:v>372.351</c:v>
                </c:pt>
                <c:pt idx="5857">
                  <c:v>372.351</c:v>
                </c:pt>
                <c:pt idx="5858">
                  <c:v>372.351</c:v>
                </c:pt>
                <c:pt idx="5859">
                  <c:v>372.351</c:v>
                </c:pt>
                <c:pt idx="5860">
                  <c:v>372.351</c:v>
                </c:pt>
                <c:pt idx="5861">
                  <c:v>372.351</c:v>
                </c:pt>
                <c:pt idx="5862">
                  <c:v>372.351</c:v>
                </c:pt>
                <c:pt idx="5863">
                  <c:v>372.351</c:v>
                </c:pt>
                <c:pt idx="5864">
                  <c:v>372.351</c:v>
                </c:pt>
                <c:pt idx="5865">
                  <c:v>372.351</c:v>
                </c:pt>
                <c:pt idx="5866">
                  <c:v>372.351</c:v>
                </c:pt>
                <c:pt idx="5867">
                  <c:v>372.351</c:v>
                </c:pt>
                <c:pt idx="5868">
                  <c:v>372.351</c:v>
                </c:pt>
                <c:pt idx="5869">
                  <c:v>372.351</c:v>
                </c:pt>
                <c:pt idx="5870">
                  <c:v>372.351</c:v>
                </c:pt>
                <c:pt idx="5871">
                  <c:v>372.351</c:v>
                </c:pt>
                <c:pt idx="5872">
                  <c:v>372.351</c:v>
                </c:pt>
                <c:pt idx="5873">
                  <c:v>372.351</c:v>
                </c:pt>
                <c:pt idx="5874">
                  <c:v>372.351</c:v>
                </c:pt>
                <c:pt idx="5875">
                  <c:v>372.351</c:v>
                </c:pt>
                <c:pt idx="5876">
                  <c:v>372.351</c:v>
                </c:pt>
                <c:pt idx="5877">
                  <c:v>372.351</c:v>
                </c:pt>
                <c:pt idx="5878">
                  <c:v>372.351</c:v>
                </c:pt>
                <c:pt idx="5879">
                  <c:v>372.351</c:v>
                </c:pt>
                <c:pt idx="5880">
                  <c:v>372.351</c:v>
                </c:pt>
                <c:pt idx="5881">
                  <c:v>372.351</c:v>
                </c:pt>
                <c:pt idx="5882">
                  <c:v>372.351</c:v>
                </c:pt>
                <c:pt idx="5883">
                  <c:v>372.351</c:v>
                </c:pt>
                <c:pt idx="5884">
                  <c:v>372.351</c:v>
                </c:pt>
                <c:pt idx="5885">
                  <c:v>372.351</c:v>
                </c:pt>
                <c:pt idx="5886">
                  <c:v>372.351</c:v>
                </c:pt>
                <c:pt idx="5887">
                  <c:v>372.351</c:v>
                </c:pt>
                <c:pt idx="5888">
                  <c:v>372.351</c:v>
                </c:pt>
                <c:pt idx="5889">
                  <c:v>372.351</c:v>
                </c:pt>
                <c:pt idx="5890">
                  <c:v>372.351</c:v>
                </c:pt>
                <c:pt idx="5891">
                  <c:v>372.351</c:v>
                </c:pt>
                <c:pt idx="5892">
                  <c:v>372.351</c:v>
                </c:pt>
                <c:pt idx="5893">
                  <c:v>372.351</c:v>
                </c:pt>
                <c:pt idx="5894">
                  <c:v>372.351</c:v>
                </c:pt>
                <c:pt idx="5895">
                  <c:v>372.351</c:v>
                </c:pt>
                <c:pt idx="5896">
                  <c:v>372.351</c:v>
                </c:pt>
                <c:pt idx="5897">
                  <c:v>372.351</c:v>
                </c:pt>
                <c:pt idx="5898">
                  <c:v>372.351</c:v>
                </c:pt>
                <c:pt idx="5899">
                  <c:v>372.351</c:v>
                </c:pt>
                <c:pt idx="5900">
                  <c:v>372.351</c:v>
                </c:pt>
                <c:pt idx="5901">
                  <c:v>372.351</c:v>
                </c:pt>
                <c:pt idx="5902">
                  <c:v>372.351</c:v>
                </c:pt>
                <c:pt idx="5903">
                  <c:v>372.351</c:v>
                </c:pt>
                <c:pt idx="5904">
                  <c:v>372.351</c:v>
                </c:pt>
                <c:pt idx="5905">
                  <c:v>372.351</c:v>
                </c:pt>
                <c:pt idx="5906">
                  <c:v>372.351</c:v>
                </c:pt>
                <c:pt idx="5907">
                  <c:v>372.351</c:v>
                </c:pt>
                <c:pt idx="5908">
                  <c:v>372.351</c:v>
                </c:pt>
                <c:pt idx="5909">
                  <c:v>372.351</c:v>
                </c:pt>
                <c:pt idx="5910">
                  <c:v>372.351</c:v>
                </c:pt>
                <c:pt idx="5911">
                  <c:v>372.351</c:v>
                </c:pt>
                <c:pt idx="5912">
                  <c:v>372.351</c:v>
                </c:pt>
                <c:pt idx="5913">
                  <c:v>372.351</c:v>
                </c:pt>
                <c:pt idx="5914">
                  <c:v>372.351</c:v>
                </c:pt>
                <c:pt idx="5915">
                  <c:v>372.351</c:v>
                </c:pt>
                <c:pt idx="5916">
                  <c:v>372.351</c:v>
                </c:pt>
                <c:pt idx="5917">
                  <c:v>372.351</c:v>
                </c:pt>
                <c:pt idx="5918">
                  <c:v>372.351</c:v>
                </c:pt>
                <c:pt idx="5919">
                  <c:v>372.351</c:v>
                </c:pt>
                <c:pt idx="5920">
                  <c:v>372.351</c:v>
                </c:pt>
                <c:pt idx="5921">
                  <c:v>372.351</c:v>
                </c:pt>
                <c:pt idx="5922">
                  <c:v>372.351</c:v>
                </c:pt>
                <c:pt idx="5923">
                  <c:v>372.351</c:v>
                </c:pt>
                <c:pt idx="5924">
                  <c:v>372.351</c:v>
                </c:pt>
                <c:pt idx="5925">
                  <c:v>372.351</c:v>
                </c:pt>
                <c:pt idx="5926">
                  <c:v>372.351</c:v>
                </c:pt>
                <c:pt idx="5927">
                  <c:v>372.351</c:v>
                </c:pt>
                <c:pt idx="5928">
                  <c:v>372.351</c:v>
                </c:pt>
                <c:pt idx="5929">
                  <c:v>372.351</c:v>
                </c:pt>
                <c:pt idx="5930">
                  <c:v>372.351</c:v>
                </c:pt>
                <c:pt idx="5931">
                  <c:v>372.351</c:v>
                </c:pt>
                <c:pt idx="5932">
                  <c:v>372.351</c:v>
                </c:pt>
                <c:pt idx="5933">
                  <c:v>372.351</c:v>
                </c:pt>
                <c:pt idx="5934">
                  <c:v>372.351</c:v>
                </c:pt>
                <c:pt idx="5935">
                  <c:v>372.351</c:v>
                </c:pt>
                <c:pt idx="5936">
                  <c:v>372.351</c:v>
                </c:pt>
                <c:pt idx="5937">
                  <c:v>372.351</c:v>
                </c:pt>
                <c:pt idx="5938">
                  <c:v>372.351</c:v>
                </c:pt>
                <c:pt idx="5939">
                  <c:v>372.351</c:v>
                </c:pt>
                <c:pt idx="5940">
                  <c:v>372.351</c:v>
                </c:pt>
                <c:pt idx="5941">
                  <c:v>372.351</c:v>
                </c:pt>
                <c:pt idx="5942">
                  <c:v>372.351</c:v>
                </c:pt>
                <c:pt idx="5943">
                  <c:v>372.351</c:v>
                </c:pt>
                <c:pt idx="5944">
                  <c:v>372.351</c:v>
                </c:pt>
                <c:pt idx="5945">
                  <c:v>372.351</c:v>
                </c:pt>
                <c:pt idx="5946">
                  <c:v>372.351</c:v>
                </c:pt>
                <c:pt idx="5947">
                  <c:v>372.351</c:v>
                </c:pt>
                <c:pt idx="5948">
                  <c:v>372.351</c:v>
                </c:pt>
                <c:pt idx="5949">
                  <c:v>372.351</c:v>
                </c:pt>
                <c:pt idx="5950">
                  <c:v>372.351</c:v>
                </c:pt>
                <c:pt idx="5951">
                  <c:v>372.351</c:v>
                </c:pt>
                <c:pt idx="5952">
                  <c:v>372.351</c:v>
                </c:pt>
                <c:pt idx="5953">
                  <c:v>372.351</c:v>
                </c:pt>
                <c:pt idx="5954">
                  <c:v>372.351</c:v>
                </c:pt>
                <c:pt idx="5955">
                  <c:v>372.351</c:v>
                </c:pt>
                <c:pt idx="5956">
                  <c:v>372.351</c:v>
                </c:pt>
                <c:pt idx="5957">
                  <c:v>372.351</c:v>
                </c:pt>
                <c:pt idx="5958">
                  <c:v>372.351</c:v>
                </c:pt>
                <c:pt idx="5959">
                  <c:v>372.351</c:v>
                </c:pt>
                <c:pt idx="5960">
                  <c:v>372.351</c:v>
                </c:pt>
                <c:pt idx="5961">
                  <c:v>372.351</c:v>
                </c:pt>
                <c:pt idx="5962">
                  <c:v>372.351</c:v>
                </c:pt>
                <c:pt idx="5963">
                  <c:v>372.351</c:v>
                </c:pt>
                <c:pt idx="5964">
                  <c:v>372.351</c:v>
                </c:pt>
                <c:pt idx="5965">
                  <c:v>372.351</c:v>
                </c:pt>
                <c:pt idx="5966">
                  <c:v>372.351</c:v>
                </c:pt>
                <c:pt idx="5967">
                  <c:v>372.351</c:v>
                </c:pt>
                <c:pt idx="5968">
                  <c:v>372.351</c:v>
                </c:pt>
                <c:pt idx="5969">
                  <c:v>372.351</c:v>
                </c:pt>
                <c:pt idx="5970">
                  <c:v>372.351</c:v>
                </c:pt>
                <c:pt idx="5971">
                  <c:v>372.351</c:v>
                </c:pt>
                <c:pt idx="5972">
                  <c:v>372.351</c:v>
                </c:pt>
                <c:pt idx="5973">
                  <c:v>372.351</c:v>
                </c:pt>
                <c:pt idx="5974">
                  <c:v>372.351</c:v>
                </c:pt>
                <c:pt idx="5975">
                  <c:v>372.351</c:v>
                </c:pt>
                <c:pt idx="5976">
                  <c:v>372.351</c:v>
                </c:pt>
                <c:pt idx="5977">
                  <c:v>372.351</c:v>
                </c:pt>
                <c:pt idx="5978">
                  <c:v>372.351</c:v>
                </c:pt>
                <c:pt idx="5979">
                  <c:v>372.351</c:v>
                </c:pt>
                <c:pt idx="5980">
                  <c:v>372.351</c:v>
                </c:pt>
                <c:pt idx="5981">
                  <c:v>372.351</c:v>
                </c:pt>
                <c:pt idx="5982">
                  <c:v>372.351</c:v>
                </c:pt>
                <c:pt idx="5983">
                  <c:v>372.351</c:v>
                </c:pt>
                <c:pt idx="5984">
                  <c:v>372.351</c:v>
                </c:pt>
                <c:pt idx="5985">
                  <c:v>372.351</c:v>
                </c:pt>
                <c:pt idx="5986">
                  <c:v>372.351</c:v>
                </c:pt>
                <c:pt idx="5987">
                  <c:v>372.351</c:v>
                </c:pt>
                <c:pt idx="5988">
                  <c:v>372.351</c:v>
                </c:pt>
                <c:pt idx="5989">
                  <c:v>372.351</c:v>
                </c:pt>
                <c:pt idx="5990">
                  <c:v>372.351</c:v>
                </c:pt>
                <c:pt idx="5991">
                  <c:v>372.351</c:v>
                </c:pt>
                <c:pt idx="5992">
                  <c:v>372.351</c:v>
                </c:pt>
                <c:pt idx="5993">
                  <c:v>372.351</c:v>
                </c:pt>
                <c:pt idx="5994">
                  <c:v>372.351</c:v>
                </c:pt>
                <c:pt idx="5995">
                  <c:v>372.351</c:v>
                </c:pt>
                <c:pt idx="5996">
                  <c:v>372.351</c:v>
                </c:pt>
                <c:pt idx="5997">
                  <c:v>372.351</c:v>
                </c:pt>
                <c:pt idx="5998">
                  <c:v>372.351</c:v>
                </c:pt>
                <c:pt idx="5999">
                  <c:v>372.351</c:v>
                </c:pt>
                <c:pt idx="6000">
                  <c:v>372.351</c:v>
                </c:pt>
                <c:pt idx="6001">
                  <c:v>372.351</c:v>
                </c:pt>
                <c:pt idx="6002">
                  <c:v>372.351</c:v>
                </c:pt>
                <c:pt idx="6003">
                  <c:v>372.351</c:v>
                </c:pt>
                <c:pt idx="6004">
                  <c:v>372.351</c:v>
                </c:pt>
                <c:pt idx="6005">
                  <c:v>372.351</c:v>
                </c:pt>
                <c:pt idx="6006">
                  <c:v>372.351</c:v>
                </c:pt>
                <c:pt idx="6007">
                  <c:v>372.351</c:v>
                </c:pt>
                <c:pt idx="6008">
                  <c:v>372.351</c:v>
                </c:pt>
                <c:pt idx="6009">
                  <c:v>372.351</c:v>
                </c:pt>
                <c:pt idx="6010">
                  <c:v>372.351</c:v>
                </c:pt>
                <c:pt idx="6011">
                  <c:v>372.351</c:v>
                </c:pt>
                <c:pt idx="6012">
                  <c:v>372.351</c:v>
                </c:pt>
                <c:pt idx="6013">
                  <c:v>372.351</c:v>
                </c:pt>
                <c:pt idx="6014">
                  <c:v>372.351</c:v>
                </c:pt>
                <c:pt idx="6015">
                  <c:v>372.351</c:v>
                </c:pt>
                <c:pt idx="6016">
                  <c:v>372.351</c:v>
                </c:pt>
                <c:pt idx="6017">
                  <c:v>372.351</c:v>
                </c:pt>
                <c:pt idx="6018">
                  <c:v>372.351</c:v>
                </c:pt>
                <c:pt idx="6019">
                  <c:v>372.351</c:v>
                </c:pt>
                <c:pt idx="6020">
                  <c:v>372.351</c:v>
                </c:pt>
                <c:pt idx="6021">
                  <c:v>372.351</c:v>
                </c:pt>
                <c:pt idx="6022">
                  <c:v>372.351</c:v>
                </c:pt>
                <c:pt idx="6023">
                  <c:v>372.351</c:v>
                </c:pt>
                <c:pt idx="6024">
                  <c:v>372.351</c:v>
                </c:pt>
                <c:pt idx="6025">
                  <c:v>372.351</c:v>
                </c:pt>
                <c:pt idx="6026">
                  <c:v>372.351</c:v>
                </c:pt>
                <c:pt idx="6027">
                  <c:v>372.351</c:v>
                </c:pt>
                <c:pt idx="6028">
                  <c:v>372.351</c:v>
                </c:pt>
                <c:pt idx="6029">
                  <c:v>372.351</c:v>
                </c:pt>
                <c:pt idx="6030">
                  <c:v>372.351</c:v>
                </c:pt>
                <c:pt idx="6031">
                  <c:v>372.351</c:v>
                </c:pt>
                <c:pt idx="6032">
                  <c:v>372.351</c:v>
                </c:pt>
                <c:pt idx="6033">
                  <c:v>372.351</c:v>
                </c:pt>
                <c:pt idx="6034">
                  <c:v>372.351</c:v>
                </c:pt>
                <c:pt idx="6035">
                  <c:v>372.351</c:v>
                </c:pt>
                <c:pt idx="6036">
                  <c:v>372.351</c:v>
                </c:pt>
                <c:pt idx="6037">
                  <c:v>372.351</c:v>
                </c:pt>
                <c:pt idx="6038">
                  <c:v>372.351</c:v>
                </c:pt>
                <c:pt idx="6039">
                  <c:v>372.351</c:v>
                </c:pt>
                <c:pt idx="6040">
                  <c:v>372.351</c:v>
                </c:pt>
                <c:pt idx="6041">
                  <c:v>372.351</c:v>
                </c:pt>
                <c:pt idx="6042">
                  <c:v>372.351</c:v>
                </c:pt>
                <c:pt idx="6043">
                  <c:v>372.351</c:v>
                </c:pt>
                <c:pt idx="6044">
                  <c:v>372.351</c:v>
                </c:pt>
                <c:pt idx="6045">
                  <c:v>372.351</c:v>
                </c:pt>
                <c:pt idx="6046">
                  <c:v>372.351</c:v>
                </c:pt>
                <c:pt idx="6047">
                  <c:v>372.351</c:v>
                </c:pt>
                <c:pt idx="6048">
                  <c:v>372.351</c:v>
                </c:pt>
                <c:pt idx="6049">
                  <c:v>372.351</c:v>
                </c:pt>
                <c:pt idx="6050">
                  <c:v>372.351</c:v>
                </c:pt>
                <c:pt idx="6051">
                  <c:v>372.351</c:v>
                </c:pt>
                <c:pt idx="6052">
                  <c:v>372.351</c:v>
                </c:pt>
                <c:pt idx="6053">
                  <c:v>372.351</c:v>
                </c:pt>
                <c:pt idx="6054">
                  <c:v>372.351</c:v>
                </c:pt>
                <c:pt idx="6055">
                  <c:v>372.35085099999998</c:v>
                </c:pt>
                <c:pt idx="6056">
                  <c:v>372.35062750000003</c:v>
                </c:pt>
                <c:pt idx="6057">
                  <c:v>372.35062750000003</c:v>
                </c:pt>
                <c:pt idx="6058">
                  <c:v>372.35062750000003</c:v>
                </c:pt>
                <c:pt idx="6059">
                  <c:v>372.33282199999996</c:v>
                </c:pt>
                <c:pt idx="6060">
                  <c:v>372.32619149999999</c:v>
                </c:pt>
                <c:pt idx="6061">
                  <c:v>372.29512499999998</c:v>
                </c:pt>
                <c:pt idx="6062">
                  <c:v>372.29512499999998</c:v>
                </c:pt>
                <c:pt idx="6063">
                  <c:v>372.29512499999998</c:v>
                </c:pt>
                <c:pt idx="6064">
                  <c:v>372.29512499999998</c:v>
                </c:pt>
                <c:pt idx="6065">
                  <c:v>372.29512499999998</c:v>
                </c:pt>
                <c:pt idx="6066">
                  <c:v>372.29512499999998</c:v>
                </c:pt>
                <c:pt idx="6067">
                  <c:v>372.29512499999998</c:v>
                </c:pt>
                <c:pt idx="6068">
                  <c:v>372.29512499999998</c:v>
                </c:pt>
                <c:pt idx="6069">
                  <c:v>372.29512499999998</c:v>
                </c:pt>
                <c:pt idx="6070">
                  <c:v>372.2774685</c:v>
                </c:pt>
                <c:pt idx="6071">
                  <c:v>372.27702149999999</c:v>
                </c:pt>
                <c:pt idx="6072">
                  <c:v>372.27702149999999</c:v>
                </c:pt>
                <c:pt idx="6073">
                  <c:v>372.27657450000004</c:v>
                </c:pt>
                <c:pt idx="6074">
                  <c:v>372.27657450000004</c:v>
                </c:pt>
                <c:pt idx="6075">
                  <c:v>372.2765</c:v>
                </c:pt>
                <c:pt idx="6076">
                  <c:v>372.2765</c:v>
                </c:pt>
                <c:pt idx="6077">
                  <c:v>372.2765</c:v>
                </c:pt>
                <c:pt idx="6078">
                  <c:v>372.2765</c:v>
                </c:pt>
                <c:pt idx="6079">
                  <c:v>372.2765</c:v>
                </c:pt>
                <c:pt idx="6080">
                  <c:v>372.2765</c:v>
                </c:pt>
                <c:pt idx="6081">
                  <c:v>372.2765</c:v>
                </c:pt>
                <c:pt idx="6082">
                  <c:v>372.2765</c:v>
                </c:pt>
                <c:pt idx="6083">
                  <c:v>372.2765</c:v>
                </c:pt>
                <c:pt idx="6084">
                  <c:v>372.2765</c:v>
                </c:pt>
                <c:pt idx="6085">
                  <c:v>372.2765</c:v>
                </c:pt>
                <c:pt idx="6086">
                  <c:v>372.2765</c:v>
                </c:pt>
                <c:pt idx="6087">
                  <c:v>372.2765</c:v>
                </c:pt>
                <c:pt idx="6088">
                  <c:v>372.2765</c:v>
                </c:pt>
                <c:pt idx="6089">
                  <c:v>372.2765</c:v>
                </c:pt>
                <c:pt idx="6090">
                  <c:v>372.2765</c:v>
                </c:pt>
                <c:pt idx="6091">
                  <c:v>372.2765</c:v>
                </c:pt>
                <c:pt idx="6092">
                  <c:v>372.2765</c:v>
                </c:pt>
                <c:pt idx="6093">
                  <c:v>372.2765</c:v>
                </c:pt>
                <c:pt idx="6094">
                  <c:v>372.2765</c:v>
                </c:pt>
                <c:pt idx="6095">
                  <c:v>372.2765</c:v>
                </c:pt>
                <c:pt idx="6096">
                  <c:v>372.2765</c:v>
                </c:pt>
                <c:pt idx="6097">
                  <c:v>372.2765</c:v>
                </c:pt>
                <c:pt idx="6098">
                  <c:v>372.2765</c:v>
                </c:pt>
                <c:pt idx="6099">
                  <c:v>372.2765</c:v>
                </c:pt>
                <c:pt idx="6100">
                  <c:v>372.2765</c:v>
                </c:pt>
                <c:pt idx="6101">
                  <c:v>372.2765</c:v>
                </c:pt>
                <c:pt idx="6102">
                  <c:v>372.2765</c:v>
                </c:pt>
                <c:pt idx="6103">
                  <c:v>372.2765</c:v>
                </c:pt>
                <c:pt idx="6104">
                  <c:v>372.2765</c:v>
                </c:pt>
                <c:pt idx="6105">
                  <c:v>372.2765</c:v>
                </c:pt>
                <c:pt idx="6106">
                  <c:v>372.2765</c:v>
                </c:pt>
                <c:pt idx="6107">
                  <c:v>372.2765</c:v>
                </c:pt>
                <c:pt idx="6108">
                  <c:v>372.2765</c:v>
                </c:pt>
                <c:pt idx="6109">
                  <c:v>372.2765</c:v>
                </c:pt>
                <c:pt idx="6110">
                  <c:v>372.2765</c:v>
                </c:pt>
                <c:pt idx="6111">
                  <c:v>372.2765</c:v>
                </c:pt>
                <c:pt idx="6112">
                  <c:v>372.2765</c:v>
                </c:pt>
                <c:pt idx="6113">
                  <c:v>372.2765</c:v>
                </c:pt>
                <c:pt idx="6114">
                  <c:v>372.2765</c:v>
                </c:pt>
                <c:pt idx="6115">
                  <c:v>372.2765</c:v>
                </c:pt>
                <c:pt idx="6116">
                  <c:v>372.2765</c:v>
                </c:pt>
                <c:pt idx="6117">
                  <c:v>372.2765</c:v>
                </c:pt>
                <c:pt idx="6118">
                  <c:v>372.2765</c:v>
                </c:pt>
                <c:pt idx="6119">
                  <c:v>372.2765</c:v>
                </c:pt>
                <c:pt idx="6120">
                  <c:v>372.2765</c:v>
                </c:pt>
                <c:pt idx="6121">
                  <c:v>372.2765</c:v>
                </c:pt>
                <c:pt idx="6122">
                  <c:v>372.2765</c:v>
                </c:pt>
                <c:pt idx="6123">
                  <c:v>372.2765</c:v>
                </c:pt>
                <c:pt idx="6124">
                  <c:v>372.2765</c:v>
                </c:pt>
                <c:pt idx="6125">
                  <c:v>372.2765</c:v>
                </c:pt>
                <c:pt idx="6126">
                  <c:v>372.2765</c:v>
                </c:pt>
                <c:pt idx="6127">
                  <c:v>372.2765</c:v>
                </c:pt>
                <c:pt idx="6128">
                  <c:v>372.2765</c:v>
                </c:pt>
                <c:pt idx="6129">
                  <c:v>372.2765</c:v>
                </c:pt>
                <c:pt idx="6130">
                  <c:v>372.2765</c:v>
                </c:pt>
                <c:pt idx="6131">
                  <c:v>372.2765</c:v>
                </c:pt>
                <c:pt idx="6132">
                  <c:v>372.2765</c:v>
                </c:pt>
                <c:pt idx="6133">
                  <c:v>372.2765</c:v>
                </c:pt>
                <c:pt idx="6134">
                  <c:v>372.2765</c:v>
                </c:pt>
                <c:pt idx="6135">
                  <c:v>372.2765</c:v>
                </c:pt>
                <c:pt idx="6136">
                  <c:v>372.2765</c:v>
                </c:pt>
                <c:pt idx="6137">
                  <c:v>372.2765</c:v>
                </c:pt>
                <c:pt idx="6138">
                  <c:v>372.2765</c:v>
                </c:pt>
                <c:pt idx="6139">
                  <c:v>372.2765</c:v>
                </c:pt>
                <c:pt idx="6140">
                  <c:v>372.2765</c:v>
                </c:pt>
                <c:pt idx="6141">
                  <c:v>372.2765</c:v>
                </c:pt>
                <c:pt idx="6142">
                  <c:v>372.2765</c:v>
                </c:pt>
                <c:pt idx="6143">
                  <c:v>372.2765</c:v>
                </c:pt>
                <c:pt idx="6144">
                  <c:v>372.2765</c:v>
                </c:pt>
                <c:pt idx="6145">
                  <c:v>372.2765</c:v>
                </c:pt>
                <c:pt idx="6146">
                  <c:v>372.2765</c:v>
                </c:pt>
                <c:pt idx="6147">
                  <c:v>372.2765</c:v>
                </c:pt>
                <c:pt idx="6148">
                  <c:v>372.2765</c:v>
                </c:pt>
                <c:pt idx="6149">
                  <c:v>372.2765</c:v>
                </c:pt>
                <c:pt idx="6150">
                  <c:v>372.2765</c:v>
                </c:pt>
                <c:pt idx="6151">
                  <c:v>372.2765</c:v>
                </c:pt>
                <c:pt idx="6152">
                  <c:v>372.2765</c:v>
                </c:pt>
                <c:pt idx="6153">
                  <c:v>372.2765</c:v>
                </c:pt>
                <c:pt idx="6154">
                  <c:v>372.2765</c:v>
                </c:pt>
                <c:pt idx="6155">
                  <c:v>372.2765</c:v>
                </c:pt>
                <c:pt idx="6156">
                  <c:v>372.2765</c:v>
                </c:pt>
                <c:pt idx="6157">
                  <c:v>372.2765</c:v>
                </c:pt>
                <c:pt idx="6158">
                  <c:v>372.2765</c:v>
                </c:pt>
                <c:pt idx="6159">
                  <c:v>372.2765</c:v>
                </c:pt>
                <c:pt idx="6160">
                  <c:v>372.2765</c:v>
                </c:pt>
                <c:pt idx="6161">
                  <c:v>372.2765</c:v>
                </c:pt>
                <c:pt idx="6162">
                  <c:v>372.2765</c:v>
                </c:pt>
                <c:pt idx="6163">
                  <c:v>372.2765</c:v>
                </c:pt>
                <c:pt idx="6164">
                  <c:v>372.2765</c:v>
                </c:pt>
                <c:pt idx="6165">
                  <c:v>372.2765</c:v>
                </c:pt>
                <c:pt idx="6166">
                  <c:v>372.2765</c:v>
                </c:pt>
                <c:pt idx="6167">
                  <c:v>372.2765</c:v>
                </c:pt>
                <c:pt idx="6168">
                  <c:v>372.2765</c:v>
                </c:pt>
                <c:pt idx="6169">
                  <c:v>372.2765</c:v>
                </c:pt>
                <c:pt idx="6170">
                  <c:v>372.2765</c:v>
                </c:pt>
                <c:pt idx="6171">
                  <c:v>372.2765</c:v>
                </c:pt>
                <c:pt idx="6172">
                  <c:v>372.2765</c:v>
                </c:pt>
                <c:pt idx="6173">
                  <c:v>372.2765</c:v>
                </c:pt>
                <c:pt idx="6174">
                  <c:v>372.2765</c:v>
                </c:pt>
                <c:pt idx="6175">
                  <c:v>372.2765</c:v>
                </c:pt>
                <c:pt idx="6176">
                  <c:v>372.2765</c:v>
                </c:pt>
                <c:pt idx="6177">
                  <c:v>372.2765</c:v>
                </c:pt>
                <c:pt idx="6178">
                  <c:v>372.2765</c:v>
                </c:pt>
                <c:pt idx="6179">
                  <c:v>372.2765</c:v>
                </c:pt>
                <c:pt idx="6180">
                  <c:v>372.2765</c:v>
                </c:pt>
                <c:pt idx="6181">
                  <c:v>372.2765</c:v>
                </c:pt>
                <c:pt idx="6182">
                  <c:v>372.2765</c:v>
                </c:pt>
                <c:pt idx="6183">
                  <c:v>372.2765</c:v>
                </c:pt>
                <c:pt idx="6184">
                  <c:v>372.2765</c:v>
                </c:pt>
                <c:pt idx="6185">
                  <c:v>372.2765</c:v>
                </c:pt>
                <c:pt idx="6186">
                  <c:v>372.2765</c:v>
                </c:pt>
                <c:pt idx="6187">
                  <c:v>372.2765</c:v>
                </c:pt>
                <c:pt idx="6188">
                  <c:v>372.2765</c:v>
                </c:pt>
                <c:pt idx="6189">
                  <c:v>372.2765</c:v>
                </c:pt>
                <c:pt idx="6190">
                  <c:v>372.2765</c:v>
                </c:pt>
                <c:pt idx="6191">
                  <c:v>372.2765</c:v>
                </c:pt>
                <c:pt idx="6192">
                  <c:v>372.2765</c:v>
                </c:pt>
                <c:pt idx="6193">
                  <c:v>372.2765</c:v>
                </c:pt>
                <c:pt idx="6194">
                  <c:v>372.2765</c:v>
                </c:pt>
                <c:pt idx="6195">
                  <c:v>372.2765</c:v>
                </c:pt>
                <c:pt idx="6196">
                  <c:v>372.2765</c:v>
                </c:pt>
                <c:pt idx="6197">
                  <c:v>372.2765</c:v>
                </c:pt>
                <c:pt idx="6198">
                  <c:v>372.2765</c:v>
                </c:pt>
                <c:pt idx="6199">
                  <c:v>372.2765</c:v>
                </c:pt>
                <c:pt idx="6200">
                  <c:v>372.2765</c:v>
                </c:pt>
                <c:pt idx="6201">
                  <c:v>372.2765</c:v>
                </c:pt>
                <c:pt idx="6202">
                  <c:v>372.2765</c:v>
                </c:pt>
                <c:pt idx="6203">
                  <c:v>372.2765</c:v>
                </c:pt>
                <c:pt idx="6204">
                  <c:v>372.2765</c:v>
                </c:pt>
                <c:pt idx="6205">
                  <c:v>372.2765</c:v>
                </c:pt>
                <c:pt idx="6206">
                  <c:v>372.2765</c:v>
                </c:pt>
                <c:pt idx="6207">
                  <c:v>372.2765</c:v>
                </c:pt>
                <c:pt idx="6208">
                  <c:v>372.26823050000002</c:v>
                </c:pt>
                <c:pt idx="6209">
                  <c:v>372.23925000000003</c:v>
                </c:pt>
                <c:pt idx="6210">
                  <c:v>372.23925000000003</c:v>
                </c:pt>
                <c:pt idx="6211">
                  <c:v>372.23925000000003</c:v>
                </c:pt>
                <c:pt idx="6212">
                  <c:v>372.22062499999998</c:v>
                </c:pt>
                <c:pt idx="6213">
                  <c:v>372.202</c:v>
                </c:pt>
                <c:pt idx="6214">
                  <c:v>372.202</c:v>
                </c:pt>
                <c:pt idx="6215">
                  <c:v>372.202</c:v>
                </c:pt>
                <c:pt idx="6216">
                  <c:v>372.202</c:v>
                </c:pt>
                <c:pt idx="6217">
                  <c:v>372.202</c:v>
                </c:pt>
                <c:pt idx="6218">
                  <c:v>372.202</c:v>
                </c:pt>
                <c:pt idx="6219">
                  <c:v>372.202</c:v>
                </c:pt>
                <c:pt idx="6220">
                  <c:v>372.202</c:v>
                </c:pt>
                <c:pt idx="6221">
                  <c:v>372.202</c:v>
                </c:pt>
                <c:pt idx="6222">
                  <c:v>372.202</c:v>
                </c:pt>
                <c:pt idx="6223">
                  <c:v>372.202</c:v>
                </c:pt>
                <c:pt idx="6224">
                  <c:v>372.202</c:v>
                </c:pt>
                <c:pt idx="6225">
                  <c:v>372.202</c:v>
                </c:pt>
                <c:pt idx="6226">
                  <c:v>372.202</c:v>
                </c:pt>
                <c:pt idx="6227">
                  <c:v>372.202</c:v>
                </c:pt>
                <c:pt idx="6228">
                  <c:v>372.202</c:v>
                </c:pt>
                <c:pt idx="6229">
                  <c:v>372.202</c:v>
                </c:pt>
                <c:pt idx="6230">
                  <c:v>372.202</c:v>
                </c:pt>
                <c:pt idx="6231">
                  <c:v>372.202</c:v>
                </c:pt>
                <c:pt idx="6232">
                  <c:v>372.202</c:v>
                </c:pt>
                <c:pt idx="6233">
                  <c:v>372.202</c:v>
                </c:pt>
                <c:pt idx="6234">
                  <c:v>372.202</c:v>
                </c:pt>
                <c:pt idx="6235">
                  <c:v>372.202</c:v>
                </c:pt>
                <c:pt idx="6236">
                  <c:v>372.202</c:v>
                </c:pt>
                <c:pt idx="6237">
                  <c:v>372.202</c:v>
                </c:pt>
                <c:pt idx="6238">
                  <c:v>372.202</c:v>
                </c:pt>
                <c:pt idx="6239">
                  <c:v>372.202</c:v>
                </c:pt>
                <c:pt idx="6240">
                  <c:v>372.202</c:v>
                </c:pt>
                <c:pt idx="6241">
                  <c:v>372.202</c:v>
                </c:pt>
                <c:pt idx="6242">
                  <c:v>372.202</c:v>
                </c:pt>
                <c:pt idx="6243">
                  <c:v>372.202</c:v>
                </c:pt>
                <c:pt idx="6244">
                  <c:v>372.202</c:v>
                </c:pt>
                <c:pt idx="6245">
                  <c:v>372.202</c:v>
                </c:pt>
                <c:pt idx="6246">
                  <c:v>372.202</c:v>
                </c:pt>
                <c:pt idx="6247">
                  <c:v>372.202</c:v>
                </c:pt>
                <c:pt idx="6248">
                  <c:v>372.202</c:v>
                </c:pt>
                <c:pt idx="6249">
                  <c:v>372.202</c:v>
                </c:pt>
                <c:pt idx="6250">
                  <c:v>372.202</c:v>
                </c:pt>
                <c:pt idx="6251">
                  <c:v>372.202</c:v>
                </c:pt>
                <c:pt idx="6252">
                  <c:v>372.202</c:v>
                </c:pt>
                <c:pt idx="6253">
                  <c:v>372.202</c:v>
                </c:pt>
                <c:pt idx="6254">
                  <c:v>372.202</c:v>
                </c:pt>
                <c:pt idx="6255">
                  <c:v>372.202</c:v>
                </c:pt>
                <c:pt idx="6256">
                  <c:v>372.202</c:v>
                </c:pt>
                <c:pt idx="6257">
                  <c:v>372.202</c:v>
                </c:pt>
                <c:pt idx="6258">
                  <c:v>372.202</c:v>
                </c:pt>
                <c:pt idx="6259">
                  <c:v>372.202</c:v>
                </c:pt>
                <c:pt idx="6260">
                  <c:v>372.202</c:v>
                </c:pt>
                <c:pt idx="6261">
                  <c:v>372.202</c:v>
                </c:pt>
                <c:pt idx="6262">
                  <c:v>372.17719150000005</c:v>
                </c:pt>
                <c:pt idx="6263">
                  <c:v>372.17719150000005</c:v>
                </c:pt>
                <c:pt idx="6264">
                  <c:v>372.12750000000005</c:v>
                </c:pt>
                <c:pt idx="6265">
                  <c:v>372.12750000000005</c:v>
                </c:pt>
                <c:pt idx="6266">
                  <c:v>372.12750000000005</c:v>
                </c:pt>
                <c:pt idx="6267">
                  <c:v>372.12750000000005</c:v>
                </c:pt>
                <c:pt idx="6268">
                  <c:v>372.12750000000005</c:v>
                </c:pt>
                <c:pt idx="6269">
                  <c:v>372.12750000000005</c:v>
                </c:pt>
                <c:pt idx="6270">
                  <c:v>372.12750000000005</c:v>
                </c:pt>
                <c:pt idx="6271">
                  <c:v>372.12750000000005</c:v>
                </c:pt>
                <c:pt idx="6272">
                  <c:v>372.12750000000005</c:v>
                </c:pt>
                <c:pt idx="6273">
                  <c:v>372.12750000000005</c:v>
                </c:pt>
                <c:pt idx="6274">
                  <c:v>372.12750000000005</c:v>
                </c:pt>
                <c:pt idx="6275">
                  <c:v>372.12750000000005</c:v>
                </c:pt>
                <c:pt idx="6276">
                  <c:v>372.12750000000005</c:v>
                </c:pt>
                <c:pt idx="6277">
                  <c:v>372.12750000000005</c:v>
                </c:pt>
                <c:pt idx="6278">
                  <c:v>372.12750000000005</c:v>
                </c:pt>
                <c:pt idx="6279">
                  <c:v>372.12750000000005</c:v>
                </c:pt>
                <c:pt idx="6280">
                  <c:v>372.12750000000005</c:v>
                </c:pt>
                <c:pt idx="6281">
                  <c:v>372.12750000000005</c:v>
                </c:pt>
                <c:pt idx="6282">
                  <c:v>372.12750000000005</c:v>
                </c:pt>
                <c:pt idx="6283">
                  <c:v>372.053</c:v>
                </c:pt>
                <c:pt idx="6284">
                  <c:v>372.053</c:v>
                </c:pt>
                <c:pt idx="6285">
                  <c:v>372.053</c:v>
                </c:pt>
                <c:pt idx="6286">
                  <c:v>372.053</c:v>
                </c:pt>
                <c:pt idx="6287">
                  <c:v>372.053</c:v>
                </c:pt>
                <c:pt idx="6288">
                  <c:v>372.053</c:v>
                </c:pt>
                <c:pt idx="6289">
                  <c:v>372.053</c:v>
                </c:pt>
                <c:pt idx="6290">
                  <c:v>372.053</c:v>
                </c:pt>
                <c:pt idx="6291">
                  <c:v>372.053</c:v>
                </c:pt>
                <c:pt idx="6292">
                  <c:v>371.9785</c:v>
                </c:pt>
                <c:pt idx="6293">
                  <c:v>371.9785</c:v>
                </c:pt>
                <c:pt idx="6294">
                  <c:v>371.9785</c:v>
                </c:pt>
                <c:pt idx="6295">
                  <c:v>371.9785</c:v>
                </c:pt>
                <c:pt idx="6296">
                  <c:v>371.9785</c:v>
                </c:pt>
                <c:pt idx="6297">
                  <c:v>371.9785</c:v>
                </c:pt>
                <c:pt idx="6298">
                  <c:v>371.9785</c:v>
                </c:pt>
                <c:pt idx="6299">
                  <c:v>371.9785</c:v>
                </c:pt>
                <c:pt idx="6300">
                  <c:v>349.95495900000003</c:v>
                </c:pt>
                <c:pt idx="6301">
                  <c:v>335.59269999999998</c:v>
                </c:pt>
                <c:pt idx="6302">
                  <c:v>335.59269999999998</c:v>
                </c:pt>
                <c:pt idx="6303">
                  <c:v>335.59269999999998</c:v>
                </c:pt>
                <c:pt idx="6304">
                  <c:v>335.4735</c:v>
                </c:pt>
                <c:pt idx="6305">
                  <c:v>335.4735</c:v>
                </c:pt>
                <c:pt idx="6306">
                  <c:v>335.4735</c:v>
                </c:pt>
                <c:pt idx="6307">
                  <c:v>335.4735</c:v>
                </c:pt>
                <c:pt idx="6308">
                  <c:v>335.4735</c:v>
                </c:pt>
                <c:pt idx="6309">
                  <c:v>335.44370000000004</c:v>
                </c:pt>
                <c:pt idx="6310">
                  <c:v>335.39900000000006</c:v>
                </c:pt>
                <c:pt idx="6311">
                  <c:v>335.33195000000001</c:v>
                </c:pt>
                <c:pt idx="6312">
                  <c:v>335.33195000000001</c:v>
                </c:pt>
                <c:pt idx="6313">
                  <c:v>335.3245</c:v>
                </c:pt>
                <c:pt idx="6314">
                  <c:v>335.3245</c:v>
                </c:pt>
                <c:pt idx="6315">
                  <c:v>335.29470000000003</c:v>
                </c:pt>
                <c:pt idx="6316">
                  <c:v>335.25002234999999</c:v>
                </c:pt>
                <c:pt idx="6317">
                  <c:v>335.25</c:v>
                </c:pt>
                <c:pt idx="6318">
                  <c:v>335.25</c:v>
                </c:pt>
                <c:pt idx="6319">
                  <c:v>335.25</c:v>
                </c:pt>
                <c:pt idx="6320">
                  <c:v>335.25</c:v>
                </c:pt>
                <c:pt idx="6321">
                  <c:v>335.1755</c:v>
                </c:pt>
                <c:pt idx="6322">
                  <c:v>335.1755</c:v>
                </c:pt>
                <c:pt idx="6323">
                  <c:v>335.1755</c:v>
                </c:pt>
                <c:pt idx="6324">
                  <c:v>335.10845</c:v>
                </c:pt>
                <c:pt idx="6325">
                  <c:v>335.10845</c:v>
                </c:pt>
                <c:pt idx="6326">
                  <c:v>335.10845</c:v>
                </c:pt>
                <c:pt idx="6327">
                  <c:v>335.101</c:v>
                </c:pt>
                <c:pt idx="6328">
                  <c:v>335.101</c:v>
                </c:pt>
                <c:pt idx="6329">
                  <c:v>335.09354999999999</c:v>
                </c:pt>
                <c:pt idx="6330">
                  <c:v>335.09354999999999</c:v>
                </c:pt>
                <c:pt idx="6331">
                  <c:v>335.09354999999999</c:v>
                </c:pt>
                <c:pt idx="6332">
                  <c:v>335.06561250000004</c:v>
                </c:pt>
                <c:pt idx="6333">
                  <c:v>335.04140000000001</c:v>
                </c:pt>
                <c:pt idx="6334">
                  <c:v>335.04140000000001</c:v>
                </c:pt>
                <c:pt idx="6335">
                  <c:v>310.49119150000001</c:v>
                </c:pt>
                <c:pt idx="6336">
                  <c:v>310.49119150000001</c:v>
                </c:pt>
                <c:pt idx="6337">
                  <c:v>310.49119150000001</c:v>
                </c:pt>
                <c:pt idx="6338">
                  <c:v>310.41669150000001</c:v>
                </c:pt>
                <c:pt idx="6339">
                  <c:v>310.40424999999999</c:v>
                </c:pt>
                <c:pt idx="6340">
                  <c:v>310.37318349999998</c:v>
                </c:pt>
                <c:pt idx="6341">
                  <c:v>310.34219150000001</c:v>
                </c:pt>
                <c:pt idx="6342">
                  <c:v>310.34219150000001</c:v>
                </c:pt>
                <c:pt idx="6343">
                  <c:v>310.34219150000001</c:v>
                </c:pt>
                <c:pt idx="6344">
                  <c:v>310.34219150000001</c:v>
                </c:pt>
                <c:pt idx="6345">
                  <c:v>310.34219150000001</c:v>
                </c:pt>
                <c:pt idx="6346">
                  <c:v>310.34219150000001</c:v>
                </c:pt>
                <c:pt idx="6347">
                  <c:v>310.34219150000001</c:v>
                </c:pt>
                <c:pt idx="6348">
                  <c:v>310.34219150000001</c:v>
                </c:pt>
                <c:pt idx="6349">
                  <c:v>310.34219150000001</c:v>
                </c:pt>
                <c:pt idx="6350">
                  <c:v>310.34219150000001</c:v>
                </c:pt>
                <c:pt idx="6351">
                  <c:v>310.33392200000003</c:v>
                </c:pt>
                <c:pt idx="6352">
                  <c:v>310.2800585</c:v>
                </c:pt>
                <c:pt idx="6353">
                  <c:v>310.2800585</c:v>
                </c:pt>
                <c:pt idx="6354">
                  <c:v>310.26769150000001</c:v>
                </c:pt>
                <c:pt idx="6355">
                  <c:v>310.26769150000001</c:v>
                </c:pt>
                <c:pt idx="6356">
                  <c:v>310.26769150000001</c:v>
                </c:pt>
                <c:pt idx="6357">
                  <c:v>310.26769150000001</c:v>
                </c:pt>
                <c:pt idx="6358">
                  <c:v>310.26769150000001</c:v>
                </c:pt>
                <c:pt idx="6359">
                  <c:v>310.26769150000001</c:v>
                </c:pt>
                <c:pt idx="6360">
                  <c:v>310.26769150000001</c:v>
                </c:pt>
                <c:pt idx="6361">
                  <c:v>310.26769150000001</c:v>
                </c:pt>
                <c:pt idx="6362">
                  <c:v>310.26769150000001</c:v>
                </c:pt>
                <c:pt idx="6363">
                  <c:v>310.26769150000001</c:v>
                </c:pt>
                <c:pt idx="6364">
                  <c:v>310.26769150000001</c:v>
                </c:pt>
                <c:pt idx="6365">
                  <c:v>310.26769150000001</c:v>
                </c:pt>
                <c:pt idx="6366">
                  <c:v>310.26769150000001</c:v>
                </c:pt>
                <c:pt idx="6367">
                  <c:v>310.26769150000001</c:v>
                </c:pt>
                <c:pt idx="6368">
                  <c:v>310.26769150000001</c:v>
                </c:pt>
                <c:pt idx="6369">
                  <c:v>310.26769150000001</c:v>
                </c:pt>
                <c:pt idx="6370">
                  <c:v>310.26769150000001</c:v>
                </c:pt>
                <c:pt idx="6371">
                  <c:v>310.26769150000001</c:v>
                </c:pt>
                <c:pt idx="6372">
                  <c:v>310.26768405000001</c:v>
                </c:pt>
                <c:pt idx="6373">
                  <c:v>310.25942200000003</c:v>
                </c:pt>
                <c:pt idx="6374">
                  <c:v>310.19319150000001</c:v>
                </c:pt>
                <c:pt idx="6375">
                  <c:v>310.19319150000001</c:v>
                </c:pt>
                <c:pt idx="6376">
                  <c:v>310.19319150000001</c:v>
                </c:pt>
                <c:pt idx="6377">
                  <c:v>310.19319150000001</c:v>
                </c:pt>
                <c:pt idx="6378">
                  <c:v>310.19319150000001</c:v>
                </c:pt>
                <c:pt idx="6379">
                  <c:v>310.19319150000001</c:v>
                </c:pt>
                <c:pt idx="6380">
                  <c:v>310.19319150000001</c:v>
                </c:pt>
                <c:pt idx="6381">
                  <c:v>310.19319150000001</c:v>
                </c:pt>
                <c:pt idx="6382">
                  <c:v>310.19319150000001</c:v>
                </c:pt>
                <c:pt idx="6383">
                  <c:v>310.19319150000001</c:v>
                </c:pt>
                <c:pt idx="6384">
                  <c:v>310.19319150000001</c:v>
                </c:pt>
                <c:pt idx="6385">
                  <c:v>310.19319150000001</c:v>
                </c:pt>
                <c:pt idx="6386">
                  <c:v>310.19319150000001</c:v>
                </c:pt>
                <c:pt idx="6387">
                  <c:v>310.19319150000001</c:v>
                </c:pt>
                <c:pt idx="6388">
                  <c:v>310.19319150000001</c:v>
                </c:pt>
                <c:pt idx="6389">
                  <c:v>310.19319150000001</c:v>
                </c:pt>
                <c:pt idx="6390">
                  <c:v>310.11869150000001</c:v>
                </c:pt>
                <c:pt idx="6391">
                  <c:v>310.11869150000001</c:v>
                </c:pt>
                <c:pt idx="6392">
                  <c:v>310.11869150000001</c:v>
                </c:pt>
                <c:pt idx="6393">
                  <c:v>310.11869150000001</c:v>
                </c:pt>
                <c:pt idx="6394">
                  <c:v>310.11869150000001</c:v>
                </c:pt>
                <c:pt idx="6395">
                  <c:v>310.09380850000002</c:v>
                </c:pt>
                <c:pt idx="6396">
                  <c:v>310.09380850000002</c:v>
                </c:pt>
                <c:pt idx="6397">
                  <c:v>310.05670750000002</c:v>
                </c:pt>
                <c:pt idx="6398">
                  <c:v>310.05670750000002</c:v>
                </c:pt>
                <c:pt idx="6399">
                  <c:v>310.05670750000002</c:v>
                </c:pt>
                <c:pt idx="6400">
                  <c:v>310.05670750000002</c:v>
                </c:pt>
                <c:pt idx="6401">
                  <c:v>310.04411700000003</c:v>
                </c:pt>
                <c:pt idx="6402">
                  <c:v>310.04411700000003</c:v>
                </c:pt>
                <c:pt idx="6403">
                  <c:v>310.04411700000003</c:v>
                </c:pt>
                <c:pt idx="6404">
                  <c:v>309.96969150000001</c:v>
                </c:pt>
                <c:pt idx="6405">
                  <c:v>309.96969150000001</c:v>
                </c:pt>
                <c:pt idx="6406">
                  <c:v>309.89519150000001</c:v>
                </c:pt>
                <c:pt idx="6407">
                  <c:v>309.89519150000001</c:v>
                </c:pt>
                <c:pt idx="6408">
                  <c:v>309.89519150000001</c:v>
                </c:pt>
                <c:pt idx="6409">
                  <c:v>309.89519150000001</c:v>
                </c:pt>
                <c:pt idx="6410">
                  <c:v>293.72884049999999</c:v>
                </c:pt>
                <c:pt idx="6411">
                  <c:v>279.65437500000002</c:v>
                </c:pt>
                <c:pt idx="6412">
                  <c:v>279.63574999999997</c:v>
                </c:pt>
                <c:pt idx="6413">
                  <c:v>279.63574999999997</c:v>
                </c:pt>
                <c:pt idx="6414">
                  <c:v>279.61712499999999</c:v>
                </c:pt>
                <c:pt idx="6415">
                  <c:v>279.5985</c:v>
                </c:pt>
                <c:pt idx="6416">
                  <c:v>279.5985</c:v>
                </c:pt>
                <c:pt idx="6417">
                  <c:v>279.5985</c:v>
                </c:pt>
                <c:pt idx="6418">
                  <c:v>279.5985</c:v>
                </c:pt>
                <c:pt idx="6419">
                  <c:v>279.5985</c:v>
                </c:pt>
                <c:pt idx="6420">
                  <c:v>279.5985</c:v>
                </c:pt>
                <c:pt idx="6421">
                  <c:v>279.5985</c:v>
                </c:pt>
                <c:pt idx="6422">
                  <c:v>279.5985</c:v>
                </c:pt>
                <c:pt idx="6423">
                  <c:v>279.5985</c:v>
                </c:pt>
                <c:pt idx="6424">
                  <c:v>279.5985</c:v>
                </c:pt>
                <c:pt idx="6425">
                  <c:v>279.5985</c:v>
                </c:pt>
                <c:pt idx="6426">
                  <c:v>279.5985</c:v>
                </c:pt>
                <c:pt idx="6427">
                  <c:v>279.5985</c:v>
                </c:pt>
                <c:pt idx="6428">
                  <c:v>279.5985</c:v>
                </c:pt>
                <c:pt idx="6429">
                  <c:v>279.5985</c:v>
                </c:pt>
                <c:pt idx="6430">
                  <c:v>279.5985</c:v>
                </c:pt>
                <c:pt idx="6431">
                  <c:v>279.5985</c:v>
                </c:pt>
                <c:pt idx="6432">
                  <c:v>279.5985</c:v>
                </c:pt>
                <c:pt idx="6433">
                  <c:v>279.56124999999997</c:v>
                </c:pt>
                <c:pt idx="6434">
                  <c:v>279.56124999999997</c:v>
                </c:pt>
                <c:pt idx="6435">
                  <c:v>279.56124999999997</c:v>
                </c:pt>
                <c:pt idx="6436">
                  <c:v>279.54262499999999</c:v>
                </c:pt>
                <c:pt idx="6437">
                  <c:v>279.52407449999998</c:v>
                </c:pt>
                <c:pt idx="6438">
                  <c:v>279.52400000000006</c:v>
                </c:pt>
                <c:pt idx="6439">
                  <c:v>279.52400000000006</c:v>
                </c:pt>
                <c:pt idx="6440">
                  <c:v>279.52400000000006</c:v>
                </c:pt>
                <c:pt idx="6441">
                  <c:v>279.52400000000006</c:v>
                </c:pt>
                <c:pt idx="6442">
                  <c:v>279.52400000000006</c:v>
                </c:pt>
                <c:pt idx="6443">
                  <c:v>279.52400000000006</c:v>
                </c:pt>
                <c:pt idx="6444">
                  <c:v>279.52400000000006</c:v>
                </c:pt>
                <c:pt idx="6445">
                  <c:v>279.52400000000006</c:v>
                </c:pt>
                <c:pt idx="6446">
                  <c:v>279.52400000000006</c:v>
                </c:pt>
                <c:pt idx="6447">
                  <c:v>279.52400000000006</c:v>
                </c:pt>
                <c:pt idx="6448">
                  <c:v>279.52400000000006</c:v>
                </c:pt>
                <c:pt idx="6449">
                  <c:v>279.50537500000002</c:v>
                </c:pt>
                <c:pt idx="6450">
                  <c:v>279.48675000000003</c:v>
                </c:pt>
                <c:pt idx="6451">
                  <c:v>279.48675000000003</c:v>
                </c:pt>
                <c:pt idx="6452">
                  <c:v>279.48675000000003</c:v>
                </c:pt>
                <c:pt idx="6453">
                  <c:v>279.48675000000003</c:v>
                </c:pt>
                <c:pt idx="6454">
                  <c:v>279.46812500000004</c:v>
                </c:pt>
                <c:pt idx="6455">
                  <c:v>279.46812500000004</c:v>
                </c:pt>
                <c:pt idx="6456">
                  <c:v>279.46812500000004</c:v>
                </c:pt>
                <c:pt idx="6457">
                  <c:v>279.4495</c:v>
                </c:pt>
                <c:pt idx="6458">
                  <c:v>279.4495</c:v>
                </c:pt>
                <c:pt idx="6459">
                  <c:v>279.4495</c:v>
                </c:pt>
                <c:pt idx="6460">
                  <c:v>279.4495</c:v>
                </c:pt>
                <c:pt idx="6461">
                  <c:v>279.4495</c:v>
                </c:pt>
                <c:pt idx="6462">
                  <c:v>279.4495</c:v>
                </c:pt>
                <c:pt idx="6463">
                  <c:v>279.4495</c:v>
                </c:pt>
                <c:pt idx="6464">
                  <c:v>279.4495</c:v>
                </c:pt>
                <c:pt idx="6465">
                  <c:v>279.4495</c:v>
                </c:pt>
                <c:pt idx="6466">
                  <c:v>279.4495</c:v>
                </c:pt>
                <c:pt idx="6467">
                  <c:v>279.4495</c:v>
                </c:pt>
                <c:pt idx="6468">
                  <c:v>279.4495</c:v>
                </c:pt>
                <c:pt idx="6469">
                  <c:v>279.4495</c:v>
                </c:pt>
                <c:pt idx="6470">
                  <c:v>279.4495</c:v>
                </c:pt>
                <c:pt idx="6471">
                  <c:v>279.4495</c:v>
                </c:pt>
                <c:pt idx="6472">
                  <c:v>279.4495</c:v>
                </c:pt>
                <c:pt idx="6473">
                  <c:v>279.4495</c:v>
                </c:pt>
                <c:pt idx="6474">
                  <c:v>279.4495</c:v>
                </c:pt>
                <c:pt idx="6475">
                  <c:v>279.4495</c:v>
                </c:pt>
                <c:pt idx="6476">
                  <c:v>279.4495</c:v>
                </c:pt>
                <c:pt idx="6477">
                  <c:v>279.4495</c:v>
                </c:pt>
                <c:pt idx="6478">
                  <c:v>279.4495</c:v>
                </c:pt>
                <c:pt idx="6479">
                  <c:v>279.4494851</c:v>
                </c:pt>
                <c:pt idx="6480">
                  <c:v>279.41225000000003</c:v>
                </c:pt>
                <c:pt idx="6481">
                  <c:v>279.39362499999999</c:v>
                </c:pt>
                <c:pt idx="6482">
                  <c:v>279.39362499999999</c:v>
                </c:pt>
                <c:pt idx="6483">
                  <c:v>279.39362499999999</c:v>
                </c:pt>
                <c:pt idx="6484">
                  <c:v>279.37514900000002</c:v>
                </c:pt>
                <c:pt idx="6485">
                  <c:v>279.375</c:v>
                </c:pt>
                <c:pt idx="6486">
                  <c:v>279.375</c:v>
                </c:pt>
                <c:pt idx="6487">
                  <c:v>279.375</c:v>
                </c:pt>
                <c:pt idx="6488">
                  <c:v>279.375</c:v>
                </c:pt>
                <c:pt idx="6489">
                  <c:v>279.375</c:v>
                </c:pt>
                <c:pt idx="6490">
                  <c:v>279.375</c:v>
                </c:pt>
                <c:pt idx="6491">
                  <c:v>279.375</c:v>
                </c:pt>
                <c:pt idx="6492">
                  <c:v>279.375</c:v>
                </c:pt>
                <c:pt idx="6493">
                  <c:v>279.375</c:v>
                </c:pt>
                <c:pt idx="6494">
                  <c:v>279.375</c:v>
                </c:pt>
                <c:pt idx="6495">
                  <c:v>279.375</c:v>
                </c:pt>
                <c:pt idx="6496">
                  <c:v>279.375</c:v>
                </c:pt>
                <c:pt idx="6497">
                  <c:v>279.375</c:v>
                </c:pt>
                <c:pt idx="6498">
                  <c:v>279.375</c:v>
                </c:pt>
                <c:pt idx="6499">
                  <c:v>279.375</c:v>
                </c:pt>
                <c:pt idx="6500">
                  <c:v>279.375</c:v>
                </c:pt>
                <c:pt idx="6501">
                  <c:v>279.375</c:v>
                </c:pt>
                <c:pt idx="6502">
                  <c:v>279.375</c:v>
                </c:pt>
                <c:pt idx="6503">
                  <c:v>279.375</c:v>
                </c:pt>
                <c:pt idx="6504">
                  <c:v>279.375</c:v>
                </c:pt>
                <c:pt idx="6505">
                  <c:v>279.375</c:v>
                </c:pt>
                <c:pt idx="6506">
                  <c:v>279.375</c:v>
                </c:pt>
                <c:pt idx="6507">
                  <c:v>279.31912499999999</c:v>
                </c:pt>
                <c:pt idx="6508">
                  <c:v>279.31912499999999</c:v>
                </c:pt>
                <c:pt idx="6509">
                  <c:v>279.31912499999999</c:v>
                </c:pt>
                <c:pt idx="6510">
                  <c:v>279.3005</c:v>
                </c:pt>
                <c:pt idx="6511">
                  <c:v>279.3005</c:v>
                </c:pt>
                <c:pt idx="6512">
                  <c:v>279.3005</c:v>
                </c:pt>
                <c:pt idx="6513">
                  <c:v>279.3005</c:v>
                </c:pt>
                <c:pt idx="6514">
                  <c:v>279.3005</c:v>
                </c:pt>
                <c:pt idx="6515">
                  <c:v>279.3005</c:v>
                </c:pt>
                <c:pt idx="6516">
                  <c:v>279.3005</c:v>
                </c:pt>
                <c:pt idx="6517">
                  <c:v>279.3005</c:v>
                </c:pt>
                <c:pt idx="6518">
                  <c:v>279.3005</c:v>
                </c:pt>
                <c:pt idx="6519">
                  <c:v>279.3005</c:v>
                </c:pt>
                <c:pt idx="6520">
                  <c:v>279.3005</c:v>
                </c:pt>
                <c:pt idx="6521">
                  <c:v>279.3005</c:v>
                </c:pt>
                <c:pt idx="6522">
                  <c:v>279.3005</c:v>
                </c:pt>
                <c:pt idx="6523">
                  <c:v>279.3005</c:v>
                </c:pt>
                <c:pt idx="6524">
                  <c:v>279.3005</c:v>
                </c:pt>
                <c:pt idx="6525">
                  <c:v>279.3005</c:v>
                </c:pt>
                <c:pt idx="6526">
                  <c:v>279.3005</c:v>
                </c:pt>
                <c:pt idx="6527">
                  <c:v>279.3005</c:v>
                </c:pt>
                <c:pt idx="6528">
                  <c:v>279.3005</c:v>
                </c:pt>
                <c:pt idx="6529">
                  <c:v>279.3005</c:v>
                </c:pt>
                <c:pt idx="6530">
                  <c:v>279.3005</c:v>
                </c:pt>
                <c:pt idx="6531">
                  <c:v>279.3005</c:v>
                </c:pt>
                <c:pt idx="6532">
                  <c:v>279.3005</c:v>
                </c:pt>
                <c:pt idx="6533">
                  <c:v>279.3005</c:v>
                </c:pt>
                <c:pt idx="6534">
                  <c:v>279.3005</c:v>
                </c:pt>
                <c:pt idx="6535">
                  <c:v>279.3005</c:v>
                </c:pt>
                <c:pt idx="6536">
                  <c:v>279.3005</c:v>
                </c:pt>
                <c:pt idx="6537">
                  <c:v>279.3005</c:v>
                </c:pt>
                <c:pt idx="6538">
                  <c:v>279.3005</c:v>
                </c:pt>
                <c:pt idx="6539">
                  <c:v>279.3005</c:v>
                </c:pt>
                <c:pt idx="6540">
                  <c:v>279.3005</c:v>
                </c:pt>
                <c:pt idx="6541">
                  <c:v>279.3005</c:v>
                </c:pt>
                <c:pt idx="6542">
                  <c:v>279.3005</c:v>
                </c:pt>
                <c:pt idx="6543">
                  <c:v>279.3005</c:v>
                </c:pt>
                <c:pt idx="6544">
                  <c:v>279.3005</c:v>
                </c:pt>
                <c:pt idx="6545">
                  <c:v>279.3005</c:v>
                </c:pt>
                <c:pt idx="6546">
                  <c:v>279.3005</c:v>
                </c:pt>
                <c:pt idx="6547">
                  <c:v>279.3005</c:v>
                </c:pt>
                <c:pt idx="6548">
                  <c:v>279.3005</c:v>
                </c:pt>
                <c:pt idx="6549">
                  <c:v>279.3005</c:v>
                </c:pt>
                <c:pt idx="6550">
                  <c:v>279.3005</c:v>
                </c:pt>
                <c:pt idx="6551">
                  <c:v>279.3005</c:v>
                </c:pt>
                <c:pt idx="6552">
                  <c:v>279.3005</c:v>
                </c:pt>
                <c:pt idx="6553">
                  <c:v>279.3005</c:v>
                </c:pt>
                <c:pt idx="6554">
                  <c:v>279.3005</c:v>
                </c:pt>
                <c:pt idx="6555">
                  <c:v>279.3005</c:v>
                </c:pt>
                <c:pt idx="6556">
                  <c:v>279.28187500000001</c:v>
                </c:pt>
                <c:pt idx="6557">
                  <c:v>279.28187500000001</c:v>
                </c:pt>
                <c:pt idx="6558">
                  <c:v>279.24469949999997</c:v>
                </c:pt>
                <c:pt idx="6559">
                  <c:v>279.226</c:v>
                </c:pt>
                <c:pt idx="6560">
                  <c:v>279.226</c:v>
                </c:pt>
                <c:pt idx="6561">
                  <c:v>279.226</c:v>
                </c:pt>
                <c:pt idx="6562">
                  <c:v>279.226</c:v>
                </c:pt>
                <c:pt idx="6563">
                  <c:v>279.226</c:v>
                </c:pt>
                <c:pt idx="6564">
                  <c:v>279.226</c:v>
                </c:pt>
                <c:pt idx="6565">
                  <c:v>279.226</c:v>
                </c:pt>
                <c:pt idx="6566">
                  <c:v>279.226</c:v>
                </c:pt>
                <c:pt idx="6567">
                  <c:v>279.226</c:v>
                </c:pt>
                <c:pt idx="6568">
                  <c:v>279.226</c:v>
                </c:pt>
                <c:pt idx="6569">
                  <c:v>279.226</c:v>
                </c:pt>
                <c:pt idx="6570">
                  <c:v>279.226</c:v>
                </c:pt>
                <c:pt idx="6571">
                  <c:v>279.226</c:v>
                </c:pt>
                <c:pt idx="6572">
                  <c:v>279.226</c:v>
                </c:pt>
                <c:pt idx="6573">
                  <c:v>279.17012499999998</c:v>
                </c:pt>
                <c:pt idx="6574">
                  <c:v>279.1515</c:v>
                </c:pt>
                <c:pt idx="6575">
                  <c:v>279.1515</c:v>
                </c:pt>
                <c:pt idx="6576">
                  <c:v>279.1515</c:v>
                </c:pt>
                <c:pt idx="6577">
                  <c:v>279.1515</c:v>
                </c:pt>
                <c:pt idx="6578">
                  <c:v>279.1515</c:v>
                </c:pt>
                <c:pt idx="6579">
                  <c:v>279.1515</c:v>
                </c:pt>
                <c:pt idx="6580">
                  <c:v>279.1515</c:v>
                </c:pt>
                <c:pt idx="6581">
                  <c:v>279.1515</c:v>
                </c:pt>
                <c:pt idx="6582">
                  <c:v>279.1515</c:v>
                </c:pt>
                <c:pt idx="6583">
                  <c:v>279.1515</c:v>
                </c:pt>
                <c:pt idx="6584">
                  <c:v>279.1515</c:v>
                </c:pt>
                <c:pt idx="6585">
                  <c:v>279.1515</c:v>
                </c:pt>
                <c:pt idx="6586">
                  <c:v>279.1515</c:v>
                </c:pt>
                <c:pt idx="6587">
                  <c:v>279.1515</c:v>
                </c:pt>
                <c:pt idx="6588">
                  <c:v>279.1515</c:v>
                </c:pt>
                <c:pt idx="6589">
                  <c:v>279.1515</c:v>
                </c:pt>
                <c:pt idx="6590">
                  <c:v>279.1515</c:v>
                </c:pt>
                <c:pt idx="6591">
                  <c:v>279.1515</c:v>
                </c:pt>
                <c:pt idx="6592">
                  <c:v>279.13287500000001</c:v>
                </c:pt>
                <c:pt idx="6593">
                  <c:v>279.11425000000003</c:v>
                </c:pt>
                <c:pt idx="6594">
                  <c:v>279.11425000000003</c:v>
                </c:pt>
                <c:pt idx="6595">
                  <c:v>279.09562499999998</c:v>
                </c:pt>
                <c:pt idx="6596">
                  <c:v>278.94662500000004</c:v>
                </c:pt>
                <c:pt idx="6597">
                  <c:v>278.94662500000004</c:v>
                </c:pt>
                <c:pt idx="6598">
                  <c:v>278.94662500000004</c:v>
                </c:pt>
                <c:pt idx="6599">
                  <c:v>278.94662500000004</c:v>
                </c:pt>
                <c:pt idx="6600">
                  <c:v>277.86041499999999</c:v>
                </c:pt>
                <c:pt idx="6601">
                  <c:v>261.82607800000005</c:v>
                </c:pt>
                <c:pt idx="6602">
                  <c:v>261.82607800000005</c:v>
                </c:pt>
                <c:pt idx="6603">
                  <c:v>236.01602234999999</c:v>
                </c:pt>
                <c:pt idx="6604">
                  <c:v>235.94353385000002</c:v>
                </c:pt>
                <c:pt idx="6605">
                  <c:v>235.9414553</c:v>
                </c:pt>
                <c:pt idx="6606">
                  <c:v>235.86700000000002</c:v>
                </c:pt>
                <c:pt idx="6607">
                  <c:v>235.86700000000002</c:v>
                </c:pt>
                <c:pt idx="6608">
                  <c:v>235.79261920000002</c:v>
                </c:pt>
                <c:pt idx="6609">
                  <c:v>235.79248509999999</c:v>
                </c:pt>
                <c:pt idx="6610">
                  <c:v>235.79247020000003</c:v>
                </c:pt>
                <c:pt idx="6611">
                  <c:v>235.71800000000002</c:v>
                </c:pt>
                <c:pt idx="6612">
                  <c:v>235.71800000000002</c:v>
                </c:pt>
                <c:pt idx="6613">
                  <c:v>235.71800000000002</c:v>
                </c:pt>
                <c:pt idx="6614">
                  <c:v>235.71800000000002</c:v>
                </c:pt>
                <c:pt idx="6615">
                  <c:v>235.71800000000002</c:v>
                </c:pt>
                <c:pt idx="6616">
                  <c:v>235.64352234999998</c:v>
                </c:pt>
                <c:pt idx="6617">
                  <c:v>235.64350745000002</c:v>
                </c:pt>
                <c:pt idx="6618">
                  <c:v>235.64350745000002</c:v>
                </c:pt>
                <c:pt idx="6619">
                  <c:v>235.64350745000002</c:v>
                </c:pt>
                <c:pt idx="6620">
                  <c:v>235.64350745000002</c:v>
                </c:pt>
                <c:pt idx="6621">
                  <c:v>235.64349999999999</c:v>
                </c:pt>
                <c:pt idx="6622">
                  <c:v>235.64349999999999</c:v>
                </c:pt>
                <c:pt idx="6623">
                  <c:v>235.64349999999999</c:v>
                </c:pt>
                <c:pt idx="6624">
                  <c:v>235.64349999999999</c:v>
                </c:pt>
                <c:pt idx="6625">
                  <c:v>235.64349999999999</c:v>
                </c:pt>
                <c:pt idx="6626">
                  <c:v>235.64349999999999</c:v>
                </c:pt>
                <c:pt idx="6627">
                  <c:v>235.64349999999999</c:v>
                </c:pt>
                <c:pt idx="6628">
                  <c:v>235.64349999999999</c:v>
                </c:pt>
                <c:pt idx="6629">
                  <c:v>235.64349999999999</c:v>
                </c:pt>
                <c:pt idx="6630">
                  <c:v>235.64349999999999</c:v>
                </c:pt>
                <c:pt idx="6631">
                  <c:v>235.64349999999999</c:v>
                </c:pt>
                <c:pt idx="6632">
                  <c:v>235.64349999999999</c:v>
                </c:pt>
                <c:pt idx="6633">
                  <c:v>235.64349999999999</c:v>
                </c:pt>
                <c:pt idx="6634">
                  <c:v>235.64349999999999</c:v>
                </c:pt>
                <c:pt idx="6635">
                  <c:v>235.64349999999999</c:v>
                </c:pt>
                <c:pt idx="6636">
                  <c:v>235.64349999999999</c:v>
                </c:pt>
                <c:pt idx="6637">
                  <c:v>235.64349999999999</c:v>
                </c:pt>
                <c:pt idx="6638">
                  <c:v>235.64349999999999</c:v>
                </c:pt>
                <c:pt idx="6639">
                  <c:v>235.64349999999999</c:v>
                </c:pt>
                <c:pt idx="6640">
                  <c:v>235.64349999999999</c:v>
                </c:pt>
                <c:pt idx="6641">
                  <c:v>235.64349999999999</c:v>
                </c:pt>
                <c:pt idx="6642">
                  <c:v>235.64349999999999</c:v>
                </c:pt>
                <c:pt idx="6643">
                  <c:v>235.64349999999999</c:v>
                </c:pt>
                <c:pt idx="6644">
                  <c:v>235.64349999999999</c:v>
                </c:pt>
                <c:pt idx="6645">
                  <c:v>235.64349999999999</c:v>
                </c:pt>
                <c:pt idx="6646">
                  <c:v>235.64349999999999</c:v>
                </c:pt>
                <c:pt idx="6647">
                  <c:v>235.64349999999999</c:v>
                </c:pt>
                <c:pt idx="6648">
                  <c:v>235.64349999999999</c:v>
                </c:pt>
                <c:pt idx="6649">
                  <c:v>235.64349999999999</c:v>
                </c:pt>
                <c:pt idx="6650">
                  <c:v>235.64349999999999</c:v>
                </c:pt>
                <c:pt idx="6651">
                  <c:v>235.64349999999999</c:v>
                </c:pt>
                <c:pt idx="6652">
                  <c:v>235.64349999999999</c:v>
                </c:pt>
                <c:pt idx="6653">
                  <c:v>235.64349999999999</c:v>
                </c:pt>
                <c:pt idx="6654">
                  <c:v>235.64349999999999</c:v>
                </c:pt>
                <c:pt idx="6655">
                  <c:v>235.64349999999999</c:v>
                </c:pt>
                <c:pt idx="6656">
                  <c:v>235.64349999999999</c:v>
                </c:pt>
                <c:pt idx="6657">
                  <c:v>235.64349999999999</c:v>
                </c:pt>
                <c:pt idx="6658">
                  <c:v>235.64349999999999</c:v>
                </c:pt>
                <c:pt idx="6659">
                  <c:v>235.64349999999999</c:v>
                </c:pt>
                <c:pt idx="6660">
                  <c:v>235.64349999999999</c:v>
                </c:pt>
                <c:pt idx="6661">
                  <c:v>235.64349999999999</c:v>
                </c:pt>
                <c:pt idx="6662">
                  <c:v>235.64349999999999</c:v>
                </c:pt>
                <c:pt idx="6663">
                  <c:v>235.64349999999999</c:v>
                </c:pt>
                <c:pt idx="6664">
                  <c:v>235.64349999999999</c:v>
                </c:pt>
                <c:pt idx="6665">
                  <c:v>235.64349999999999</c:v>
                </c:pt>
                <c:pt idx="6666">
                  <c:v>235.64349999999999</c:v>
                </c:pt>
                <c:pt idx="6667">
                  <c:v>235.64349999999999</c:v>
                </c:pt>
                <c:pt idx="6668">
                  <c:v>235.64349999999999</c:v>
                </c:pt>
                <c:pt idx="6669">
                  <c:v>235.64349999999999</c:v>
                </c:pt>
                <c:pt idx="6670">
                  <c:v>235.64349999999999</c:v>
                </c:pt>
                <c:pt idx="6671">
                  <c:v>235.64349999999999</c:v>
                </c:pt>
                <c:pt idx="6672">
                  <c:v>235.64349999999999</c:v>
                </c:pt>
                <c:pt idx="6673">
                  <c:v>235.64349999999999</c:v>
                </c:pt>
                <c:pt idx="6674">
                  <c:v>235.64349999999999</c:v>
                </c:pt>
                <c:pt idx="6675">
                  <c:v>235.64349999999999</c:v>
                </c:pt>
                <c:pt idx="6676">
                  <c:v>235.64349999999999</c:v>
                </c:pt>
                <c:pt idx="6677">
                  <c:v>235.64349999999999</c:v>
                </c:pt>
                <c:pt idx="6678">
                  <c:v>235.64349999999999</c:v>
                </c:pt>
                <c:pt idx="6679">
                  <c:v>235.64349999999999</c:v>
                </c:pt>
                <c:pt idx="6680">
                  <c:v>235.64349999999999</c:v>
                </c:pt>
                <c:pt idx="6681">
                  <c:v>235.64349999999999</c:v>
                </c:pt>
                <c:pt idx="6682">
                  <c:v>235.64349999999999</c:v>
                </c:pt>
                <c:pt idx="6683">
                  <c:v>235.64349999999999</c:v>
                </c:pt>
                <c:pt idx="6684">
                  <c:v>235.64349999999999</c:v>
                </c:pt>
                <c:pt idx="6685">
                  <c:v>235.64349999999999</c:v>
                </c:pt>
                <c:pt idx="6686">
                  <c:v>235.64349999999999</c:v>
                </c:pt>
                <c:pt idx="6687">
                  <c:v>235.64349999999999</c:v>
                </c:pt>
                <c:pt idx="6688">
                  <c:v>235.64349255000002</c:v>
                </c:pt>
                <c:pt idx="6689">
                  <c:v>235.64348510000002</c:v>
                </c:pt>
                <c:pt idx="6690">
                  <c:v>235.64348510000002</c:v>
                </c:pt>
                <c:pt idx="6691">
                  <c:v>235.64347764999999</c:v>
                </c:pt>
                <c:pt idx="6692">
                  <c:v>235.64347764999999</c:v>
                </c:pt>
                <c:pt idx="6693">
                  <c:v>235.56900000000002</c:v>
                </c:pt>
                <c:pt idx="6694">
                  <c:v>235.56900000000002</c:v>
                </c:pt>
                <c:pt idx="6695">
                  <c:v>235.49449999999999</c:v>
                </c:pt>
                <c:pt idx="6696">
                  <c:v>220.296649</c:v>
                </c:pt>
                <c:pt idx="6697">
                  <c:v>220.296649</c:v>
                </c:pt>
                <c:pt idx="6698">
                  <c:v>220.296649</c:v>
                </c:pt>
                <c:pt idx="6699">
                  <c:v>220.296649</c:v>
                </c:pt>
                <c:pt idx="6700">
                  <c:v>220.296649</c:v>
                </c:pt>
                <c:pt idx="6701">
                  <c:v>220.296649</c:v>
                </c:pt>
                <c:pt idx="6702">
                  <c:v>220.147649</c:v>
                </c:pt>
                <c:pt idx="6703">
                  <c:v>220.147649</c:v>
                </c:pt>
                <c:pt idx="6704">
                  <c:v>220.147649</c:v>
                </c:pt>
                <c:pt idx="6705">
                  <c:v>220.147649</c:v>
                </c:pt>
                <c:pt idx="6706">
                  <c:v>220.147649</c:v>
                </c:pt>
                <c:pt idx="6707">
                  <c:v>220.147649</c:v>
                </c:pt>
                <c:pt idx="6708">
                  <c:v>220.147649</c:v>
                </c:pt>
                <c:pt idx="6709">
                  <c:v>220.147649</c:v>
                </c:pt>
                <c:pt idx="6710">
                  <c:v>220.147649</c:v>
                </c:pt>
                <c:pt idx="6711">
                  <c:v>220.147649</c:v>
                </c:pt>
                <c:pt idx="6712">
                  <c:v>220.147649</c:v>
                </c:pt>
                <c:pt idx="6713">
                  <c:v>212.07915</c:v>
                </c:pt>
                <c:pt idx="6714">
                  <c:v>209.75475</c:v>
                </c:pt>
                <c:pt idx="6715">
                  <c:v>209.69887500000002</c:v>
                </c:pt>
                <c:pt idx="6716">
                  <c:v>209.60575000000003</c:v>
                </c:pt>
                <c:pt idx="6717">
                  <c:v>209.60575000000003</c:v>
                </c:pt>
                <c:pt idx="6718">
                  <c:v>209.60575000000003</c:v>
                </c:pt>
                <c:pt idx="6719">
                  <c:v>209.60575000000003</c:v>
                </c:pt>
                <c:pt idx="6720">
                  <c:v>209.60575000000003</c:v>
                </c:pt>
                <c:pt idx="6721">
                  <c:v>209.60575000000003</c:v>
                </c:pt>
                <c:pt idx="6722">
                  <c:v>209.60575000000003</c:v>
                </c:pt>
                <c:pt idx="6723">
                  <c:v>209.47537500000001</c:v>
                </c:pt>
                <c:pt idx="6724">
                  <c:v>208.74905960000001</c:v>
                </c:pt>
                <c:pt idx="6725">
                  <c:v>208.74892550000001</c:v>
                </c:pt>
                <c:pt idx="6726">
                  <c:v>208.60053640000001</c:v>
                </c:pt>
                <c:pt idx="6727">
                  <c:v>208.60005215000001</c:v>
                </c:pt>
                <c:pt idx="6728">
                  <c:v>208.60000745000002</c:v>
                </c:pt>
                <c:pt idx="6729">
                  <c:v>208.6</c:v>
                </c:pt>
                <c:pt idx="6730">
                  <c:v>208.6</c:v>
                </c:pt>
                <c:pt idx="6731">
                  <c:v>208.6</c:v>
                </c:pt>
                <c:pt idx="6732">
                  <c:v>208.6</c:v>
                </c:pt>
                <c:pt idx="6733">
                  <c:v>208.6</c:v>
                </c:pt>
                <c:pt idx="6734">
                  <c:v>208.6</c:v>
                </c:pt>
                <c:pt idx="6735">
                  <c:v>208.6</c:v>
                </c:pt>
                <c:pt idx="6736">
                  <c:v>208.6</c:v>
                </c:pt>
                <c:pt idx="6737">
                  <c:v>208.6</c:v>
                </c:pt>
                <c:pt idx="6738">
                  <c:v>208.6</c:v>
                </c:pt>
                <c:pt idx="6739">
                  <c:v>208.6</c:v>
                </c:pt>
                <c:pt idx="6740">
                  <c:v>208.6</c:v>
                </c:pt>
                <c:pt idx="6741">
                  <c:v>208.6</c:v>
                </c:pt>
                <c:pt idx="6742">
                  <c:v>208.6</c:v>
                </c:pt>
                <c:pt idx="6743">
                  <c:v>208.6</c:v>
                </c:pt>
                <c:pt idx="6744">
                  <c:v>208.6</c:v>
                </c:pt>
                <c:pt idx="6745">
                  <c:v>208.6</c:v>
                </c:pt>
                <c:pt idx="6746">
                  <c:v>208.6</c:v>
                </c:pt>
                <c:pt idx="6747">
                  <c:v>208.6</c:v>
                </c:pt>
                <c:pt idx="6748">
                  <c:v>208.6</c:v>
                </c:pt>
                <c:pt idx="6749">
                  <c:v>208.6</c:v>
                </c:pt>
                <c:pt idx="6750">
                  <c:v>208.6</c:v>
                </c:pt>
                <c:pt idx="6751">
                  <c:v>208.6</c:v>
                </c:pt>
                <c:pt idx="6752">
                  <c:v>208.6</c:v>
                </c:pt>
                <c:pt idx="6753">
                  <c:v>208.6</c:v>
                </c:pt>
                <c:pt idx="6754">
                  <c:v>208.6</c:v>
                </c:pt>
                <c:pt idx="6755">
                  <c:v>208.6</c:v>
                </c:pt>
                <c:pt idx="6756">
                  <c:v>208.6</c:v>
                </c:pt>
                <c:pt idx="6757">
                  <c:v>208.6</c:v>
                </c:pt>
                <c:pt idx="6758">
                  <c:v>208.6</c:v>
                </c:pt>
                <c:pt idx="6759">
                  <c:v>208.6</c:v>
                </c:pt>
                <c:pt idx="6760">
                  <c:v>208.6</c:v>
                </c:pt>
                <c:pt idx="6761">
                  <c:v>208.6</c:v>
                </c:pt>
                <c:pt idx="6762">
                  <c:v>208.6</c:v>
                </c:pt>
                <c:pt idx="6763">
                  <c:v>208.6</c:v>
                </c:pt>
                <c:pt idx="6764">
                  <c:v>208.6</c:v>
                </c:pt>
                <c:pt idx="6765">
                  <c:v>208.6</c:v>
                </c:pt>
                <c:pt idx="6766">
                  <c:v>208.6</c:v>
                </c:pt>
                <c:pt idx="6767">
                  <c:v>208.59992550000001</c:v>
                </c:pt>
                <c:pt idx="6768">
                  <c:v>208.52549999999999</c:v>
                </c:pt>
                <c:pt idx="6769">
                  <c:v>208.52549999999999</c:v>
                </c:pt>
                <c:pt idx="6770">
                  <c:v>208.45124584999999</c:v>
                </c:pt>
                <c:pt idx="6771">
                  <c:v>208.4510745</c:v>
                </c:pt>
                <c:pt idx="6772">
                  <c:v>208.37672350000003</c:v>
                </c:pt>
                <c:pt idx="6773">
                  <c:v>198.1328245</c:v>
                </c:pt>
                <c:pt idx="6774">
                  <c:v>198.125449</c:v>
                </c:pt>
                <c:pt idx="6775">
                  <c:v>198.125449</c:v>
                </c:pt>
                <c:pt idx="6776">
                  <c:v>187.67294999999999</c:v>
                </c:pt>
                <c:pt idx="6777">
                  <c:v>187.67294999999999</c:v>
                </c:pt>
                <c:pt idx="6778">
                  <c:v>183.60122699999999</c:v>
                </c:pt>
                <c:pt idx="6779">
                  <c:v>165.3900745</c:v>
                </c:pt>
                <c:pt idx="6780">
                  <c:v>165.3900745</c:v>
                </c:pt>
                <c:pt idx="6781">
                  <c:v>165.3900745</c:v>
                </c:pt>
                <c:pt idx="6782">
                  <c:v>165.2410745</c:v>
                </c:pt>
                <c:pt idx="6783">
                  <c:v>165.2410745</c:v>
                </c:pt>
                <c:pt idx="6784">
                  <c:v>165.2410745</c:v>
                </c:pt>
                <c:pt idx="6785">
                  <c:v>165.2410745</c:v>
                </c:pt>
                <c:pt idx="6786">
                  <c:v>165.2410745</c:v>
                </c:pt>
                <c:pt idx="6787">
                  <c:v>165.2410745</c:v>
                </c:pt>
                <c:pt idx="6788">
                  <c:v>165.2410745</c:v>
                </c:pt>
                <c:pt idx="6789">
                  <c:v>165.16657450000002</c:v>
                </c:pt>
                <c:pt idx="6790">
                  <c:v>165.16657450000002</c:v>
                </c:pt>
                <c:pt idx="6791">
                  <c:v>165.16657450000002</c:v>
                </c:pt>
                <c:pt idx="6792">
                  <c:v>165.16657450000002</c:v>
                </c:pt>
                <c:pt idx="6793">
                  <c:v>165.0920745</c:v>
                </c:pt>
                <c:pt idx="6794">
                  <c:v>165.0920745</c:v>
                </c:pt>
                <c:pt idx="6795">
                  <c:v>165.0920745</c:v>
                </c:pt>
                <c:pt idx="6796">
                  <c:v>165.01757450000002</c:v>
                </c:pt>
                <c:pt idx="6797">
                  <c:v>165.01757450000002</c:v>
                </c:pt>
                <c:pt idx="6798">
                  <c:v>165.01757450000002</c:v>
                </c:pt>
                <c:pt idx="6799">
                  <c:v>165.01757450000002</c:v>
                </c:pt>
                <c:pt idx="6800">
                  <c:v>165.01757450000002</c:v>
                </c:pt>
                <c:pt idx="6801">
                  <c:v>165.01757450000002</c:v>
                </c:pt>
                <c:pt idx="6802">
                  <c:v>165.01757450000002</c:v>
                </c:pt>
                <c:pt idx="6803">
                  <c:v>164.94307449999999</c:v>
                </c:pt>
                <c:pt idx="6804">
                  <c:v>164.94307449999999</c:v>
                </c:pt>
                <c:pt idx="6805">
                  <c:v>164.94307449999999</c:v>
                </c:pt>
                <c:pt idx="6806">
                  <c:v>164.94307449999999</c:v>
                </c:pt>
                <c:pt idx="6807">
                  <c:v>164.94307449999999</c:v>
                </c:pt>
                <c:pt idx="6808">
                  <c:v>164.86857449999999</c:v>
                </c:pt>
                <c:pt idx="6809">
                  <c:v>164.79407450000002</c:v>
                </c:pt>
                <c:pt idx="6810">
                  <c:v>140.49418600000001</c:v>
                </c:pt>
                <c:pt idx="6811">
                  <c:v>140.49418600000001</c:v>
                </c:pt>
                <c:pt idx="6812">
                  <c:v>140.444569</c:v>
                </c:pt>
                <c:pt idx="6813">
                  <c:v>140.444569</c:v>
                </c:pt>
                <c:pt idx="6814">
                  <c:v>140.444569</c:v>
                </c:pt>
                <c:pt idx="6815">
                  <c:v>140.444569</c:v>
                </c:pt>
                <c:pt idx="6816">
                  <c:v>140.444569</c:v>
                </c:pt>
                <c:pt idx="6817">
                  <c:v>140.34518600000001</c:v>
                </c:pt>
                <c:pt idx="6818">
                  <c:v>140.295569</c:v>
                </c:pt>
                <c:pt idx="6819">
                  <c:v>140.295569</c:v>
                </c:pt>
                <c:pt idx="6820">
                  <c:v>140.295569</c:v>
                </c:pt>
                <c:pt idx="6821">
                  <c:v>140.24587750000001</c:v>
                </c:pt>
                <c:pt idx="6822">
                  <c:v>140.24587750000001</c:v>
                </c:pt>
                <c:pt idx="6823">
                  <c:v>140.24587750000001</c:v>
                </c:pt>
                <c:pt idx="6824">
                  <c:v>140.24587750000001</c:v>
                </c:pt>
                <c:pt idx="6825">
                  <c:v>140.24587750000001</c:v>
                </c:pt>
                <c:pt idx="6826">
                  <c:v>140.24587750000001</c:v>
                </c:pt>
                <c:pt idx="6827">
                  <c:v>140.24587750000001</c:v>
                </c:pt>
                <c:pt idx="6828">
                  <c:v>140.24587750000001</c:v>
                </c:pt>
                <c:pt idx="6829">
                  <c:v>140.24587750000001</c:v>
                </c:pt>
                <c:pt idx="6830">
                  <c:v>140.24587750000001</c:v>
                </c:pt>
                <c:pt idx="6831">
                  <c:v>140.09687750000001</c:v>
                </c:pt>
                <c:pt idx="6832">
                  <c:v>140.09687750000001</c:v>
                </c:pt>
                <c:pt idx="6833">
                  <c:v>140.09687750000001</c:v>
                </c:pt>
                <c:pt idx="6834">
                  <c:v>140.09687750000001</c:v>
                </c:pt>
                <c:pt idx="6835">
                  <c:v>140.072069</c:v>
                </c:pt>
                <c:pt idx="6836">
                  <c:v>136.13809649999999</c:v>
                </c:pt>
                <c:pt idx="6837">
                  <c:v>136.13809649999999</c:v>
                </c:pt>
                <c:pt idx="6838">
                  <c:v>135.29363899999998</c:v>
                </c:pt>
                <c:pt idx="6839">
                  <c:v>123.81907450000001</c:v>
                </c:pt>
                <c:pt idx="6840">
                  <c:v>118.7848115</c:v>
                </c:pt>
                <c:pt idx="6841">
                  <c:v>118.561386</c:v>
                </c:pt>
                <c:pt idx="6842">
                  <c:v>118.561386</c:v>
                </c:pt>
                <c:pt idx="6843">
                  <c:v>118.561386</c:v>
                </c:pt>
                <c:pt idx="6844">
                  <c:v>118.561386</c:v>
                </c:pt>
                <c:pt idx="6845">
                  <c:v>118.561386</c:v>
                </c:pt>
                <c:pt idx="6846">
                  <c:v>118.561386</c:v>
                </c:pt>
                <c:pt idx="6847">
                  <c:v>118.561386</c:v>
                </c:pt>
                <c:pt idx="6848">
                  <c:v>118.561386</c:v>
                </c:pt>
                <c:pt idx="6849">
                  <c:v>118.561386</c:v>
                </c:pt>
                <c:pt idx="6850">
                  <c:v>118.486886</c:v>
                </c:pt>
                <c:pt idx="6851">
                  <c:v>118.486886</c:v>
                </c:pt>
                <c:pt idx="6852">
                  <c:v>118.486886</c:v>
                </c:pt>
                <c:pt idx="6853">
                  <c:v>118.486886</c:v>
                </c:pt>
                <c:pt idx="6854">
                  <c:v>118.486886</c:v>
                </c:pt>
                <c:pt idx="6855">
                  <c:v>118.486886</c:v>
                </c:pt>
                <c:pt idx="6856">
                  <c:v>118.486886</c:v>
                </c:pt>
                <c:pt idx="6857">
                  <c:v>118.486886</c:v>
                </c:pt>
                <c:pt idx="6858">
                  <c:v>118.486886</c:v>
                </c:pt>
                <c:pt idx="6859">
                  <c:v>118.4868115</c:v>
                </c:pt>
                <c:pt idx="6860">
                  <c:v>118.412386</c:v>
                </c:pt>
                <c:pt idx="6861">
                  <c:v>118.412386</c:v>
                </c:pt>
                <c:pt idx="6862">
                  <c:v>118.412386</c:v>
                </c:pt>
                <c:pt idx="6863">
                  <c:v>118.412386</c:v>
                </c:pt>
                <c:pt idx="6864">
                  <c:v>118.412386</c:v>
                </c:pt>
                <c:pt idx="6865">
                  <c:v>118.412386</c:v>
                </c:pt>
                <c:pt idx="6866">
                  <c:v>118.33788600000001</c:v>
                </c:pt>
                <c:pt idx="6867">
                  <c:v>118.18888600000001</c:v>
                </c:pt>
                <c:pt idx="6868">
                  <c:v>118.18888600000001</c:v>
                </c:pt>
                <c:pt idx="6869">
                  <c:v>118.18888600000001</c:v>
                </c:pt>
                <c:pt idx="6870">
                  <c:v>118.18888600000001</c:v>
                </c:pt>
                <c:pt idx="6871">
                  <c:v>117.8352345</c:v>
                </c:pt>
                <c:pt idx="6872">
                  <c:v>117.8352345</c:v>
                </c:pt>
                <c:pt idx="6873">
                  <c:v>117.68624195</c:v>
                </c:pt>
                <c:pt idx="6874">
                  <c:v>117.68623450000001</c:v>
                </c:pt>
                <c:pt idx="6875">
                  <c:v>117.68623450000001</c:v>
                </c:pt>
                <c:pt idx="6876">
                  <c:v>117.68623450000001</c:v>
                </c:pt>
                <c:pt idx="6877">
                  <c:v>117.68623450000001</c:v>
                </c:pt>
                <c:pt idx="6878">
                  <c:v>117.68623450000001</c:v>
                </c:pt>
                <c:pt idx="6879">
                  <c:v>117.68623450000001</c:v>
                </c:pt>
                <c:pt idx="6880">
                  <c:v>117.6117345</c:v>
                </c:pt>
                <c:pt idx="6881">
                  <c:v>117.6117345</c:v>
                </c:pt>
                <c:pt idx="6882">
                  <c:v>117.6117345</c:v>
                </c:pt>
                <c:pt idx="6883">
                  <c:v>117.6117345</c:v>
                </c:pt>
                <c:pt idx="6884">
                  <c:v>117.6117345</c:v>
                </c:pt>
                <c:pt idx="6885">
                  <c:v>117.6117345</c:v>
                </c:pt>
                <c:pt idx="6886">
                  <c:v>117.6117345</c:v>
                </c:pt>
                <c:pt idx="6887">
                  <c:v>117.6117345</c:v>
                </c:pt>
                <c:pt idx="6888">
                  <c:v>117.6117345</c:v>
                </c:pt>
                <c:pt idx="6889">
                  <c:v>117.6117345</c:v>
                </c:pt>
                <c:pt idx="6890">
                  <c:v>117.6117345</c:v>
                </c:pt>
                <c:pt idx="6891">
                  <c:v>117.6117345</c:v>
                </c:pt>
                <c:pt idx="6892">
                  <c:v>117.6117345</c:v>
                </c:pt>
                <c:pt idx="6893">
                  <c:v>117.6117345</c:v>
                </c:pt>
                <c:pt idx="6894">
                  <c:v>117.6117345</c:v>
                </c:pt>
                <c:pt idx="6895">
                  <c:v>117.5372345</c:v>
                </c:pt>
                <c:pt idx="6896">
                  <c:v>117.5372345</c:v>
                </c:pt>
                <c:pt idx="6897">
                  <c:v>117.5372345</c:v>
                </c:pt>
                <c:pt idx="6898">
                  <c:v>117.5372345</c:v>
                </c:pt>
                <c:pt idx="6899">
                  <c:v>117.4627345</c:v>
                </c:pt>
                <c:pt idx="6900">
                  <c:v>117.4627345</c:v>
                </c:pt>
                <c:pt idx="6901">
                  <c:v>117.23923450000001</c:v>
                </c:pt>
                <c:pt idx="6902">
                  <c:v>116.8425965</c:v>
                </c:pt>
                <c:pt idx="6903">
                  <c:v>116.8425965</c:v>
                </c:pt>
                <c:pt idx="6904">
                  <c:v>116.8425965</c:v>
                </c:pt>
                <c:pt idx="6905">
                  <c:v>114.8333315</c:v>
                </c:pt>
                <c:pt idx="6906">
                  <c:v>114.8333315</c:v>
                </c:pt>
                <c:pt idx="6907">
                  <c:v>114.8333315</c:v>
                </c:pt>
                <c:pt idx="6908">
                  <c:v>114.8333315</c:v>
                </c:pt>
                <c:pt idx="6909">
                  <c:v>114.8333315</c:v>
                </c:pt>
                <c:pt idx="6910">
                  <c:v>110.052592</c:v>
                </c:pt>
                <c:pt idx="6911">
                  <c:v>109.903592</c:v>
                </c:pt>
                <c:pt idx="6912">
                  <c:v>109.594268</c:v>
                </c:pt>
                <c:pt idx="6913">
                  <c:v>105.57551450000001</c:v>
                </c:pt>
                <c:pt idx="6914">
                  <c:v>105.57551450000001</c:v>
                </c:pt>
                <c:pt idx="6915">
                  <c:v>105.57551450000001</c:v>
                </c:pt>
                <c:pt idx="6916">
                  <c:v>105.50101450000001</c:v>
                </c:pt>
                <c:pt idx="6917">
                  <c:v>105.42652195000001</c:v>
                </c:pt>
                <c:pt idx="6918">
                  <c:v>105.42651450000001</c:v>
                </c:pt>
                <c:pt idx="6919">
                  <c:v>105.42651450000001</c:v>
                </c:pt>
                <c:pt idx="6920">
                  <c:v>105.42651450000001</c:v>
                </c:pt>
                <c:pt idx="6921">
                  <c:v>105.42651450000001</c:v>
                </c:pt>
                <c:pt idx="6922">
                  <c:v>105.42651450000001</c:v>
                </c:pt>
                <c:pt idx="6923">
                  <c:v>105.42651450000001</c:v>
                </c:pt>
                <c:pt idx="6924">
                  <c:v>105.42651450000001</c:v>
                </c:pt>
                <c:pt idx="6925">
                  <c:v>105.42651450000001</c:v>
                </c:pt>
                <c:pt idx="6926">
                  <c:v>105.42651450000001</c:v>
                </c:pt>
                <c:pt idx="6927">
                  <c:v>105.42651450000001</c:v>
                </c:pt>
                <c:pt idx="6928">
                  <c:v>105.42651450000001</c:v>
                </c:pt>
                <c:pt idx="6929">
                  <c:v>105.42651450000001</c:v>
                </c:pt>
                <c:pt idx="6930">
                  <c:v>105.42651450000001</c:v>
                </c:pt>
                <c:pt idx="6931">
                  <c:v>105.42651450000001</c:v>
                </c:pt>
                <c:pt idx="6932">
                  <c:v>105.42651450000001</c:v>
                </c:pt>
                <c:pt idx="6933">
                  <c:v>105.42651450000001</c:v>
                </c:pt>
                <c:pt idx="6934">
                  <c:v>105.42651450000001</c:v>
                </c:pt>
                <c:pt idx="6935">
                  <c:v>105.42651450000001</c:v>
                </c:pt>
                <c:pt idx="6936">
                  <c:v>105.42651450000001</c:v>
                </c:pt>
                <c:pt idx="6937">
                  <c:v>105.3520145</c:v>
                </c:pt>
                <c:pt idx="6938">
                  <c:v>105.3520145</c:v>
                </c:pt>
                <c:pt idx="6939">
                  <c:v>105.3520145</c:v>
                </c:pt>
                <c:pt idx="6940">
                  <c:v>105.3520145</c:v>
                </c:pt>
                <c:pt idx="6941">
                  <c:v>105.3520145</c:v>
                </c:pt>
                <c:pt idx="6942">
                  <c:v>105.3520145</c:v>
                </c:pt>
                <c:pt idx="6943">
                  <c:v>105.3520145</c:v>
                </c:pt>
                <c:pt idx="6944">
                  <c:v>105.3520145</c:v>
                </c:pt>
                <c:pt idx="6945">
                  <c:v>105.3520145</c:v>
                </c:pt>
                <c:pt idx="6946">
                  <c:v>105.3520145</c:v>
                </c:pt>
                <c:pt idx="6947">
                  <c:v>105.3520145</c:v>
                </c:pt>
                <c:pt idx="6948">
                  <c:v>105.3520145</c:v>
                </c:pt>
                <c:pt idx="6949">
                  <c:v>105.3520145</c:v>
                </c:pt>
                <c:pt idx="6950">
                  <c:v>105.3520145</c:v>
                </c:pt>
                <c:pt idx="6951">
                  <c:v>105.3520145</c:v>
                </c:pt>
                <c:pt idx="6952">
                  <c:v>105.3520145</c:v>
                </c:pt>
                <c:pt idx="6953">
                  <c:v>105.3520145</c:v>
                </c:pt>
                <c:pt idx="6954">
                  <c:v>105.3520145</c:v>
                </c:pt>
                <c:pt idx="6955">
                  <c:v>105.3520145</c:v>
                </c:pt>
                <c:pt idx="6956">
                  <c:v>105.3520145</c:v>
                </c:pt>
                <c:pt idx="6957">
                  <c:v>105.3520145</c:v>
                </c:pt>
                <c:pt idx="6958">
                  <c:v>105.3520145</c:v>
                </c:pt>
                <c:pt idx="6959">
                  <c:v>105.3520145</c:v>
                </c:pt>
                <c:pt idx="6960">
                  <c:v>105.3520145</c:v>
                </c:pt>
                <c:pt idx="6961">
                  <c:v>105.3520145</c:v>
                </c:pt>
                <c:pt idx="6962">
                  <c:v>105.3520145</c:v>
                </c:pt>
                <c:pt idx="6963">
                  <c:v>105.3520145</c:v>
                </c:pt>
                <c:pt idx="6964">
                  <c:v>105.3520145</c:v>
                </c:pt>
                <c:pt idx="6965">
                  <c:v>105.3520145</c:v>
                </c:pt>
                <c:pt idx="6966">
                  <c:v>105.3520145</c:v>
                </c:pt>
                <c:pt idx="6967">
                  <c:v>105.3520145</c:v>
                </c:pt>
                <c:pt idx="6968">
                  <c:v>105.3520145</c:v>
                </c:pt>
                <c:pt idx="6969">
                  <c:v>105.3520145</c:v>
                </c:pt>
                <c:pt idx="6970">
                  <c:v>105.3520145</c:v>
                </c:pt>
                <c:pt idx="6971">
                  <c:v>105.3520145</c:v>
                </c:pt>
                <c:pt idx="6972">
                  <c:v>105.3520145</c:v>
                </c:pt>
                <c:pt idx="6973">
                  <c:v>105.3520145</c:v>
                </c:pt>
                <c:pt idx="6974">
                  <c:v>105.3520145</c:v>
                </c:pt>
                <c:pt idx="6975">
                  <c:v>105.3520145</c:v>
                </c:pt>
                <c:pt idx="6976">
                  <c:v>105.3520145</c:v>
                </c:pt>
                <c:pt idx="6977">
                  <c:v>105.3520145</c:v>
                </c:pt>
                <c:pt idx="6978">
                  <c:v>105.3520145</c:v>
                </c:pt>
                <c:pt idx="6979">
                  <c:v>105.3520145</c:v>
                </c:pt>
                <c:pt idx="6980">
                  <c:v>105.3520145</c:v>
                </c:pt>
                <c:pt idx="6981">
                  <c:v>105.3520145</c:v>
                </c:pt>
                <c:pt idx="6982">
                  <c:v>105.3520145</c:v>
                </c:pt>
                <c:pt idx="6983">
                  <c:v>105.3520145</c:v>
                </c:pt>
                <c:pt idx="6984">
                  <c:v>105.3520145</c:v>
                </c:pt>
                <c:pt idx="6985">
                  <c:v>105.3520145</c:v>
                </c:pt>
                <c:pt idx="6986">
                  <c:v>105.3520145</c:v>
                </c:pt>
                <c:pt idx="6987">
                  <c:v>105.3520145</c:v>
                </c:pt>
                <c:pt idx="6988">
                  <c:v>105.3520145</c:v>
                </c:pt>
                <c:pt idx="6989">
                  <c:v>105.3520145</c:v>
                </c:pt>
                <c:pt idx="6990">
                  <c:v>105.3520145</c:v>
                </c:pt>
                <c:pt idx="6991">
                  <c:v>105.3520145</c:v>
                </c:pt>
                <c:pt idx="6992">
                  <c:v>105.3520145</c:v>
                </c:pt>
                <c:pt idx="6993">
                  <c:v>105.3520145</c:v>
                </c:pt>
                <c:pt idx="6994">
                  <c:v>105.3520145</c:v>
                </c:pt>
                <c:pt idx="6995">
                  <c:v>105.3520145</c:v>
                </c:pt>
                <c:pt idx="6996">
                  <c:v>105.3520145</c:v>
                </c:pt>
                <c:pt idx="6997">
                  <c:v>105.3520145</c:v>
                </c:pt>
                <c:pt idx="6998">
                  <c:v>105.3520145</c:v>
                </c:pt>
                <c:pt idx="6999">
                  <c:v>105.3520145</c:v>
                </c:pt>
                <c:pt idx="7000">
                  <c:v>105.3520145</c:v>
                </c:pt>
                <c:pt idx="7001">
                  <c:v>105.3520145</c:v>
                </c:pt>
                <c:pt idx="7002">
                  <c:v>105.3520145</c:v>
                </c:pt>
                <c:pt idx="7003">
                  <c:v>105.3520145</c:v>
                </c:pt>
                <c:pt idx="7004">
                  <c:v>105.3520145</c:v>
                </c:pt>
                <c:pt idx="7005">
                  <c:v>105.2775592</c:v>
                </c:pt>
                <c:pt idx="7006">
                  <c:v>105.2775145</c:v>
                </c:pt>
                <c:pt idx="7007">
                  <c:v>105.2775145</c:v>
                </c:pt>
                <c:pt idx="7008">
                  <c:v>105.2775145</c:v>
                </c:pt>
                <c:pt idx="7009">
                  <c:v>105.2775145</c:v>
                </c:pt>
                <c:pt idx="7010">
                  <c:v>105.2775145</c:v>
                </c:pt>
                <c:pt idx="7011">
                  <c:v>105.2775145</c:v>
                </c:pt>
                <c:pt idx="7012">
                  <c:v>105.2775145</c:v>
                </c:pt>
                <c:pt idx="7013">
                  <c:v>105.2775145</c:v>
                </c:pt>
                <c:pt idx="7014">
                  <c:v>105.2775145</c:v>
                </c:pt>
                <c:pt idx="7015">
                  <c:v>105.2775145</c:v>
                </c:pt>
                <c:pt idx="7016">
                  <c:v>105.2775145</c:v>
                </c:pt>
                <c:pt idx="7017">
                  <c:v>105.2775145</c:v>
                </c:pt>
                <c:pt idx="7018">
                  <c:v>105.2775145</c:v>
                </c:pt>
                <c:pt idx="7019">
                  <c:v>105.2775145</c:v>
                </c:pt>
                <c:pt idx="7020">
                  <c:v>105.2775145</c:v>
                </c:pt>
                <c:pt idx="7021">
                  <c:v>105.2775145</c:v>
                </c:pt>
                <c:pt idx="7022">
                  <c:v>105.2775145</c:v>
                </c:pt>
                <c:pt idx="7023">
                  <c:v>105.2775145</c:v>
                </c:pt>
                <c:pt idx="7024">
                  <c:v>105.2775145</c:v>
                </c:pt>
                <c:pt idx="7025">
                  <c:v>105.2775145</c:v>
                </c:pt>
                <c:pt idx="7026">
                  <c:v>105.2775145</c:v>
                </c:pt>
                <c:pt idx="7027">
                  <c:v>105.2775145</c:v>
                </c:pt>
                <c:pt idx="7028">
                  <c:v>105.2775145</c:v>
                </c:pt>
                <c:pt idx="7029">
                  <c:v>105.2775145</c:v>
                </c:pt>
                <c:pt idx="7030">
                  <c:v>105.2775145</c:v>
                </c:pt>
                <c:pt idx="7031">
                  <c:v>105.2775145</c:v>
                </c:pt>
                <c:pt idx="7032">
                  <c:v>105.2775145</c:v>
                </c:pt>
                <c:pt idx="7033">
                  <c:v>105.2775145</c:v>
                </c:pt>
                <c:pt idx="7034">
                  <c:v>105.2775145</c:v>
                </c:pt>
                <c:pt idx="7035">
                  <c:v>105.2775145</c:v>
                </c:pt>
                <c:pt idx="7036">
                  <c:v>105.2775145</c:v>
                </c:pt>
                <c:pt idx="7037">
                  <c:v>105.2775145</c:v>
                </c:pt>
                <c:pt idx="7038">
                  <c:v>105.2775145</c:v>
                </c:pt>
                <c:pt idx="7039">
                  <c:v>105.2775145</c:v>
                </c:pt>
                <c:pt idx="7040">
                  <c:v>105.2775145</c:v>
                </c:pt>
                <c:pt idx="7041">
                  <c:v>105.2775145</c:v>
                </c:pt>
                <c:pt idx="7042">
                  <c:v>105.2775145</c:v>
                </c:pt>
                <c:pt idx="7043">
                  <c:v>105.2775145</c:v>
                </c:pt>
                <c:pt idx="7044">
                  <c:v>105.2775145</c:v>
                </c:pt>
                <c:pt idx="7045">
                  <c:v>105.2775145</c:v>
                </c:pt>
                <c:pt idx="7046">
                  <c:v>105.2775145</c:v>
                </c:pt>
                <c:pt idx="7047">
                  <c:v>105.2775145</c:v>
                </c:pt>
                <c:pt idx="7048">
                  <c:v>105.2775145</c:v>
                </c:pt>
                <c:pt idx="7049">
                  <c:v>105.2775145</c:v>
                </c:pt>
                <c:pt idx="7050">
                  <c:v>105.2775145</c:v>
                </c:pt>
                <c:pt idx="7051">
                  <c:v>105.2775145</c:v>
                </c:pt>
                <c:pt idx="7052">
                  <c:v>105.2775145</c:v>
                </c:pt>
                <c:pt idx="7053">
                  <c:v>105.2775145</c:v>
                </c:pt>
                <c:pt idx="7054">
                  <c:v>105.2775145</c:v>
                </c:pt>
                <c:pt idx="7055">
                  <c:v>105.2775145</c:v>
                </c:pt>
                <c:pt idx="7056">
                  <c:v>105.2775145</c:v>
                </c:pt>
                <c:pt idx="7057">
                  <c:v>105.2775145</c:v>
                </c:pt>
                <c:pt idx="7058">
                  <c:v>105.20301449999999</c:v>
                </c:pt>
                <c:pt idx="7059">
                  <c:v>105.20301449999999</c:v>
                </c:pt>
                <c:pt idx="7060">
                  <c:v>105.20301449999999</c:v>
                </c:pt>
                <c:pt idx="7061">
                  <c:v>105.20301449999999</c:v>
                </c:pt>
                <c:pt idx="7062">
                  <c:v>105.20301449999999</c:v>
                </c:pt>
                <c:pt idx="7063">
                  <c:v>105.20301449999999</c:v>
                </c:pt>
                <c:pt idx="7064">
                  <c:v>105.20301449999999</c:v>
                </c:pt>
                <c:pt idx="7065">
                  <c:v>105.20301449999999</c:v>
                </c:pt>
                <c:pt idx="7066">
                  <c:v>105.20301449999999</c:v>
                </c:pt>
                <c:pt idx="7067">
                  <c:v>105.20301449999999</c:v>
                </c:pt>
                <c:pt idx="7068">
                  <c:v>105.20301449999999</c:v>
                </c:pt>
                <c:pt idx="7069">
                  <c:v>105.20301449999999</c:v>
                </c:pt>
                <c:pt idx="7070">
                  <c:v>105.20301449999999</c:v>
                </c:pt>
                <c:pt idx="7071">
                  <c:v>105.20301449999999</c:v>
                </c:pt>
                <c:pt idx="7072">
                  <c:v>105.20301449999999</c:v>
                </c:pt>
                <c:pt idx="7073">
                  <c:v>105.20301449999999</c:v>
                </c:pt>
                <c:pt idx="7074">
                  <c:v>105.20301449999999</c:v>
                </c:pt>
                <c:pt idx="7075">
                  <c:v>105.20301449999999</c:v>
                </c:pt>
                <c:pt idx="7076">
                  <c:v>105.20301449999999</c:v>
                </c:pt>
                <c:pt idx="7077">
                  <c:v>105.20301449999999</c:v>
                </c:pt>
                <c:pt idx="7078">
                  <c:v>105.20301449999999</c:v>
                </c:pt>
                <c:pt idx="7079">
                  <c:v>105.20301449999999</c:v>
                </c:pt>
                <c:pt idx="7080">
                  <c:v>105.20301449999999</c:v>
                </c:pt>
                <c:pt idx="7081">
                  <c:v>105.20301449999999</c:v>
                </c:pt>
                <c:pt idx="7082">
                  <c:v>105.20301449999999</c:v>
                </c:pt>
                <c:pt idx="7083">
                  <c:v>105.20301449999999</c:v>
                </c:pt>
                <c:pt idx="7084">
                  <c:v>105.20301449999999</c:v>
                </c:pt>
                <c:pt idx="7085">
                  <c:v>105.20301449999999</c:v>
                </c:pt>
                <c:pt idx="7086">
                  <c:v>105.20301449999999</c:v>
                </c:pt>
                <c:pt idx="7087">
                  <c:v>105.20301449999999</c:v>
                </c:pt>
                <c:pt idx="7088">
                  <c:v>105.20301449999999</c:v>
                </c:pt>
                <c:pt idx="7089">
                  <c:v>105.20301449999999</c:v>
                </c:pt>
                <c:pt idx="7090">
                  <c:v>105.20301449999999</c:v>
                </c:pt>
                <c:pt idx="7091">
                  <c:v>105.20301449999999</c:v>
                </c:pt>
                <c:pt idx="7092">
                  <c:v>105.20301449999999</c:v>
                </c:pt>
                <c:pt idx="7093">
                  <c:v>105.20301449999999</c:v>
                </c:pt>
                <c:pt idx="7094">
                  <c:v>105.20301449999999</c:v>
                </c:pt>
                <c:pt idx="7095">
                  <c:v>105.20301449999999</c:v>
                </c:pt>
                <c:pt idx="7096">
                  <c:v>105.20301449999999</c:v>
                </c:pt>
                <c:pt idx="7097">
                  <c:v>105.20301449999999</c:v>
                </c:pt>
                <c:pt idx="7098">
                  <c:v>105.20301449999999</c:v>
                </c:pt>
                <c:pt idx="7099">
                  <c:v>105.20301449999999</c:v>
                </c:pt>
                <c:pt idx="7100">
                  <c:v>105.20301449999999</c:v>
                </c:pt>
                <c:pt idx="7101">
                  <c:v>105.20301449999999</c:v>
                </c:pt>
                <c:pt idx="7102">
                  <c:v>105.20301449999999</c:v>
                </c:pt>
                <c:pt idx="7103">
                  <c:v>105.20301449999999</c:v>
                </c:pt>
                <c:pt idx="7104">
                  <c:v>105.20301449999999</c:v>
                </c:pt>
                <c:pt idx="7105">
                  <c:v>105.20301449999999</c:v>
                </c:pt>
                <c:pt idx="7106">
                  <c:v>105.20301449999999</c:v>
                </c:pt>
                <c:pt idx="7107">
                  <c:v>105.20301449999999</c:v>
                </c:pt>
                <c:pt idx="7108">
                  <c:v>105.20301449999999</c:v>
                </c:pt>
                <c:pt idx="7109">
                  <c:v>105.20301449999999</c:v>
                </c:pt>
                <c:pt idx="7110">
                  <c:v>105.20301449999999</c:v>
                </c:pt>
                <c:pt idx="7111">
                  <c:v>105.20301449999999</c:v>
                </c:pt>
                <c:pt idx="7112">
                  <c:v>105.20301449999999</c:v>
                </c:pt>
                <c:pt idx="7113">
                  <c:v>105.20301449999999</c:v>
                </c:pt>
                <c:pt idx="7114">
                  <c:v>105.20301449999999</c:v>
                </c:pt>
                <c:pt idx="7115">
                  <c:v>105.20301449999999</c:v>
                </c:pt>
                <c:pt idx="7116">
                  <c:v>105.12851449999999</c:v>
                </c:pt>
                <c:pt idx="7117">
                  <c:v>105.12851449999999</c:v>
                </c:pt>
                <c:pt idx="7118">
                  <c:v>105.12851449999999</c:v>
                </c:pt>
                <c:pt idx="7119">
                  <c:v>105.12851449999999</c:v>
                </c:pt>
                <c:pt idx="7120">
                  <c:v>105.12851449999999</c:v>
                </c:pt>
                <c:pt idx="7121">
                  <c:v>105.12851449999999</c:v>
                </c:pt>
                <c:pt idx="7122">
                  <c:v>105.12851449999999</c:v>
                </c:pt>
                <c:pt idx="7123">
                  <c:v>105.12851449999999</c:v>
                </c:pt>
                <c:pt idx="7124">
                  <c:v>105.12851449999999</c:v>
                </c:pt>
                <c:pt idx="7125">
                  <c:v>105.12851449999999</c:v>
                </c:pt>
                <c:pt idx="7126">
                  <c:v>105.12851449999999</c:v>
                </c:pt>
                <c:pt idx="7127">
                  <c:v>105.12851449999999</c:v>
                </c:pt>
                <c:pt idx="7128">
                  <c:v>105.12851449999999</c:v>
                </c:pt>
                <c:pt idx="7129">
                  <c:v>105.12851449999999</c:v>
                </c:pt>
                <c:pt idx="7130">
                  <c:v>105.12851449999999</c:v>
                </c:pt>
                <c:pt idx="7131">
                  <c:v>105.12851449999999</c:v>
                </c:pt>
                <c:pt idx="7132">
                  <c:v>105.12851449999999</c:v>
                </c:pt>
                <c:pt idx="7133">
                  <c:v>105.12851449999999</c:v>
                </c:pt>
                <c:pt idx="7134">
                  <c:v>105.12851449999999</c:v>
                </c:pt>
                <c:pt idx="7135">
                  <c:v>105.12851449999999</c:v>
                </c:pt>
                <c:pt idx="7136">
                  <c:v>105.12851449999999</c:v>
                </c:pt>
                <c:pt idx="7137">
                  <c:v>105.12851449999999</c:v>
                </c:pt>
                <c:pt idx="7138">
                  <c:v>105.12851449999999</c:v>
                </c:pt>
                <c:pt idx="7139">
                  <c:v>105.12851449999999</c:v>
                </c:pt>
                <c:pt idx="7140">
                  <c:v>105.12851449999999</c:v>
                </c:pt>
                <c:pt idx="7141">
                  <c:v>105.12851449999999</c:v>
                </c:pt>
                <c:pt idx="7142">
                  <c:v>105.12851449999999</c:v>
                </c:pt>
                <c:pt idx="7143">
                  <c:v>105.12851449999999</c:v>
                </c:pt>
                <c:pt idx="7144">
                  <c:v>105.12851449999999</c:v>
                </c:pt>
                <c:pt idx="7145">
                  <c:v>105.12851449999999</c:v>
                </c:pt>
                <c:pt idx="7146">
                  <c:v>105.12851449999999</c:v>
                </c:pt>
                <c:pt idx="7147">
                  <c:v>105.12851449999999</c:v>
                </c:pt>
                <c:pt idx="7148">
                  <c:v>105.12851449999999</c:v>
                </c:pt>
                <c:pt idx="7149">
                  <c:v>105.12851449999999</c:v>
                </c:pt>
                <c:pt idx="7150">
                  <c:v>105.12851449999999</c:v>
                </c:pt>
                <c:pt idx="7151">
                  <c:v>105.12851449999999</c:v>
                </c:pt>
                <c:pt idx="7152">
                  <c:v>105.12851449999999</c:v>
                </c:pt>
                <c:pt idx="7153">
                  <c:v>105.12851449999999</c:v>
                </c:pt>
                <c:pt idx="7154">
                  <c:v>105.12851449999999</c:v>
                </c:pt>
                <c:pt idx="7155">
                  <c:v>105.12851449999999</c:v>
                </c:pt>
                <c:pt idx="7156">
                  <c:v>105.12851449999999</c:v>
                </c:pt>
                <c:pt idx="7157">
                  <c:v>105.12851449999999</c:v>
                </c:pt>
                <c:pt idx="7158">
                  <c:v>105.12851449999999</c:v>
                </c:pt>
                <c:pt idx="7159">
                  <c:v>105.12851449999999</c:v>
                </c:pt>
                <c:pt idx="7160">
                  <c:v>105.12851449999999</c:v>
                </c:pt>
                <c:pt idx="7161">
                  <c:v>105.12851449999999</c:v>
                </c:pt>
                <c:pt idx="7162">
                  <c:v>105.12851449999999</c:v>
                </c:pt>
                <c:pt idx="7163">
                  <c:v>105.12851449999999</c:v>
                </c:pt>
                <c:pt idx="7164">
                  <c:v>105.12851449999999</c:v>
                </c:pt>
                <c:pt idx="7165">
                  <c:v>105.12851449999999</c:v>
                </c:pt>
                <c:pt idx="7166">
                  <c:v>105.12851449999999</c:v>
                </c:pt>
                <c:pt idx="7167">
                  <c:v>105.12851449999999</c:v>
                </c:pt>
                <c:pt idx="7168">
                  <c:v>105.12851449999999</c:v>
                </c:pt>
                <c:pt idx="7169">
                  <c:v>105.12851449999999</c:v>
                </c:pt>
                <c:pt idx="7170">
                  <c:v>105.12851449999999</c:v>
                </c:pt>
                <c:pt idx="7171">
                  <c:v>105.12851449999999</c:v>
                </c:pt>
                <c:pt idx="7172">
                  <c:v>105.12851449999999</c:v>
                </c:pt>
                <c:pt idx="7173">
                  <c:v>105.12851449999999</c:v>
                </c:pt>
                <c:pt idx="7174">
                  <c:v>105.12851449999999</c:v>
                </c:pt>
                <c:pt idx="7175">
                  <c:v>105.12851449999999</c:v>
                </c:pt>
                <c:pt idx="7176">
                  <c:v>105.05401450000001</c:v>
                </c:pt>
                <c:pt idx="7177">
                  <c:v>105.05401450000001</c:v>
                </c:pt>
                <c:pt idx="7178">
                  <c:v>105.05401450000001</c:v>
                </c:pt>
                <c:pt idx="7179">
                  <c:v>105.05401450000001</c:v>
                </c:pt>
                <c:pt idx="7180">
                  <c:v>105.05401450000001</c:v>
                </c:pt>
                <c:pt idx="7181">
                  <c:v>105.05401450000001</c:v>
                </c:pt>
                <c:pt idx="7182">
                  <c:v>105.05401450000001</c:v>
                </c:pt>
                <c:pt idx="7183">
                  <c:v>105.05401450000001</c:v>
                </c:pt>
                <c:pt idx="7184">
                  <c:v>105.05401450000001</c:v>
                </c:pt>
                <c:pt idx="7185">
                  <c:v>105.05401450000001</c:v>
                </c:pt>
                <c:pt idx="7186">
                  <c:v>105.05401450000001</c:v>
                </c:pt>
                <c:pt idx="7187">
                  <c:v>105.05401450000001</c:v>
                </c:pt>
                <c:pt idx="7188">
                  <c:v>105.05401450000001</c:v>
                </c:pt>
                <c:pt idx="7189">
                  <c:v>105.05401450000001</c:v>
                </c:pt>
                <c:pt idx="7190">
                  <c:v>105.05401450000001</c:v>
                </c:pt>
                <c:pt idx="7191">
                  <c:v>105.05401450000001</c:v>
                </c:pt>
                <c:pt idx="7192">
                  <c:v>105.05401450000001</c:v>
                </c:pt>
                <c:pt idx="7193">
                  <c:v>105.05401450000001</c:v>
                </c:pt>
                <c:pt idx="7194">
                  <c:v>105.05401450000001</c:v>
                </c:pt>
                <c:pt idx="7195">
                  <c:v>105.05401450000001</c:v>
                </c:pt>
                <c:pt idx="7196">
                  <c:v>105.05401450000001</c:v>
                </c:pt>
                <c:pt idx="7197">
                  <c:v>105.05401450000001</c:v>
                </c:pt>
                <c:pt idx="7198">
                  <c:v>105.05401450000001</c:v>
                </c:pt>
                <c:pt idx="7199">
                  <c:v>105.05401450000001</c:v>
                </c:pt>
                <c:pt idx="7200">
                  <c:v>105.05401450000001</c:v>
                </c:pt>
                <c:pt idx="7201">
                  <c:v>105.05401450000001</c:v>
                </c:pt>
                <c:pt idx="7202">
                  <c:v>105.05401450000001</c:v>
                </c:pt>
                <c:pt idx="7203">
                  <c:v>105.05401450000001</c:v>
                </c:pt>
                <c:pt idx="7204">
                  <c:v>105.05401450000001</c:v>
                </c:pt>
                <c:pt idx="7205">
                  <c:v>105.05401450000001</c:v>
                </c:pt>
                <c:pt idx="7206">
                  <c:v>105.05401450000001</c:v>
                </c:pt>
                <c:pt idx="7207">
                  <c:v>105.05401450000001</c:v>
                </c:pt>
                <c:pt idx="7208">
                  <c:v>105.05401450000001</c:v>
                </c:pt>
                <c:pt idx="7209">
                  <c:v>105.05401450000001</c:v>
                </c:pt>
                <c:pt idx="7210">
                  <c:v>105.05401450000001</c:v>
                </c:pt>
                <c:pt idx="7211">
                  <c:v>105.05401450000001</c:v>
                </c:pt>
                <c:pt idx="7212">
                  <c:v>105.05401450000001</c:v>
                </c:pt>
                <c:pt idx="7213">
                  <c:v>105.05401450000001</c:v>
                </c:pt>
                <c:pt idx="7214">
                  <c:v>105.05401450000001</c:v>
                </c:pt>
                <c:pt idx="7215">
                  <c:v>104.97951450000001</c:v>
                </c:pt>
                <c:pt idx="7216">
                  <c:v>104.97951450000001</c:v>
                </c:pt>
                <c:pt idx="7217">
                  <c:v>104.97951450000001</c:v>
                </c:pt>
                <c:pt idx="7218">
                  <c:v>104.90501450000001</c:v>
                </c:pt>
                <c:pt idx="7219">
                  <c:v>104.90501450000001</c:v>
                </c:pt>
                <c:pt idx="7220">
                  <c:v>104.68151449999999</c:v>
                </c:pt>
                <c:pt idx="7221">
                  <c:v>99.054827500000002</c:v>
                </c:pt>
                <c:pt idx="7222">
                  <c:v>99.047377499999996</c:v>
                </c:pt>
                <c:pt idx="7223">
                  <c:v>98.956636500000002</c:v>
                </c:pt>
                <c:pt idx="7224">
                  <c:v>98.783796500000008</c:v>
                </c:pt>
                <c:pt idx="7225">
                  <c:v>98.783796500000008</c:v>
                </c:pt>
                <c:pt idx="7226">
                  <c:v>98.783796500000008</c:v>
                </c:pt>
                <c:pt idx="7227">
                  <c:v>98.634796500000007</c:v>
                </c:pt>
                <c:pt idx="7228">
                  <c:v>92.677180500000006</c:v>
                </c:pt>
                <c:pt idx="7229">
                  <c:v>92.677180500000006</c:v>
                </c:pt>
                <c:pt idx="7230">
                  <c:v>88.62303949999999</c:v>
                </c:pt>
                <c:pt idx="7231">
                  <c:v>88.62303949999999</c:v>
                </c:pt>
                <c:pt idx="7232">
                  <c:v>88.62303949999999</c:v>
                </c:pt>
                <c:pt idx="7233">
                  <c:v>88.620879000000002</c:v>
                </c:pt>
                <c:pt idx="7234">
                  <c:v>88.620879000000002</c:v>
                </c:pt>
                <c:pt idx="7235">
                  <c:v>88.620879000000002</c:v>
                </c:pt>
                <c:pt idx="7236">
                  <c:v>88.471879000000001</c:v>
                </c:pt>
                <c:pt idx="7237">
                  <c:v>88.339119999999994</c:v>
                </c:pt>
                <c:pt idx="7238">
                  <c:v>88.320495000000008</c:v>
                </c:pt>
                <c:pt idx="7239">
                  <c:v>88.264620000000008</c:v>
                </c:pt>
                <c:pt idx="7240">
                  <c:v>88.190120000000007</c:v>
                </c:pt>
                <c:pt idx="7241">
                  <c:v>88.190120000000007</c:v>
                </c:pt>
                <c:pt idx="7242">
                  <c:v>87.762341000000006</c:v>
                </c:pt>
                <c:pt idx="7243">
                  <c:v>87.762341000000006</c:v>
                </c:pt>
                <c:pt idx="7244">
                  <c:v>87.762341000000006</c:v>
                </c:pt>
                <c:pt idx="7245">
                  <c:v>87.613341000000005</c:v>
                </c:pt>
                <c:pt idx="7246">
                  <c:v>86.180854999999994</c:v>
                </c:pt>
                <c:pt idx="7247">
                  <c:v>86.180854999999994</c:v>
                </c:pt>
                <c:pt idx="7248">
                  <c:v>86.149714000000003</c:v>
                </c:pt>
                <c:pt idx="7249">
                  <c:v>86.106355000000008</c:v>
                </c:pt>
                <c:pt idx="7250">
                  <c:v>86.106355000000008</c:v>
                </c:pt>
                <c:pt idx="7251">
                  <c:v>86.106355000000008</c:v>
                </c:pt>
                <c:pt idx="7252">
                  <c:v>86.106355000000008</c:v>
                </c:pt>
                <c:pt idx="7253">
                  <c:v>86.106355000000008</c:v>
                </c:pt>
                <c:pt idx="7254">
                  <c:v>86.106355000000008</c:v>
                </c:pt>
                <c:pt idx="7255">
                  <c:v>86.106355000000008</c:v>
                </c:pt>
                <c:pt idx="7256">
                  <c:v>86.106355000000008</c:v>
                </c:pt>
                <c:pt idx="7257">
                  <c:v>86.106355000000008</c:v>
                </c:pt>
                <c:pt idx="7258">
                  <c:v>86.031855000000007</c:v>
                </c:pt>
                <c:pt idx="7259">
                  <c:v>86.031855000000007</c:v>
                </c:pt>
                <c:pt idx="7260">
                  <c:v>86.031855000000007</c:v>
                </c:pt>
                <c:pt idx="7261">
                  <c:v>86.031855000000007</c:v>
                </c:pt>
                <c:pt idx="7262">
                  <c:v>83.938926500000008</c:v>
                </c:pt>
                <c:pt idx="7263">
                  <c:v>79.125779500000007</c:v>
                </c:pt>
                <c:pt idx="7264">
                  <c:v>79.032654499999992</c:v>
                </c:pt>
                <c:pt idx="7265">
                  <c:v>79.032654499999992</c:v>
                </c:pt>
                <c:pt idx="7266">
                  <c:v>79.032654499999992</c:v>
                </c:pt>
                <c:pt idx="7267">
                  <c:v>79.032654499999992</c:v>
                </c:pt>
                <c:pt idx="7268">
                  <c:v>79.032654499999992</c:v>
                </c:pt>
                <c:pt idx="7269">
                  <c:v>79.032654499999992</c:v>
                </c:pt>
                <c:pt idx="7270">
                  <c:v>79.032654499999992</c:v>
                </c:pt>
                <c:pt idx="7271">
                  <c:v>78.976779500000006</c:v>
                </c:pt>
                <c:pt idx="7272">
                  <c:v>78.976779500000006</c:v>
                </c:pt>
                <c:pt idx="7273">
                  <c:v>78.976779500000006</c:v>
                </c:pt>
                <c:pt idx="7274">
                  <c:v>78.939529500000006</c:v>
                </c:pt>
                <c:pt idx="7275">
                  <c:v>78.939529500000006</c:v>
                </c:pt>
                <c:pt idx="7276">
                  <c:v>78.939529500000006</c:v>
                </c:pt>
                <c:pt idx="7277">
                  <c:v>70.7636909</c:v>
                </c:pt>
                <c:pt idx="7278">
                  <c:v>70.540190899999999</c:v>
                </c:pt>
                <c:pt idx="7279">
                  <c:v>70.540190899999999</c:v>
                </c:pt>
                <c:pt idx="7280">
                  <c:v>69.190161500000002</c:v>
                </c:pt>
                <c:pt idx="7281">
                  <c:v>0.37250000000000005</c:v>
                </c:pt>
                <c:pt idx="7282">
                  <c:v>0.37250000000000005</c:v>
                </c:pt>
                <c:pt idx="7283">
                  <c:v>0.37250000000000005</c:v>
                </c:pt>
                <c:pt idx="7284">
                  <c:v>0.29799999999999999</c:v>
                </c:pt>
                <c:pt idx="7285">
                  <c:v>0.29799999999999999</c:v>
                </c:pt>
                <c:pt idx="7286">
                  <c:v>0.29799999999999999</c:v>
                </c:pt>
                <c:pt idx="7287">
                  <c:v>0.28310000000000002</c:v>
                </c:pt>
                <c:pt idx="7288">
                  <c:v>0.24005553900000004</c:v>
                </c:pt>
                <c:pt idx="7289">
                  <c:v>0.2235</c:v>
                </c:pt>
                <c:pt idx="7290">
                  <c:v>0.2235</c:v>
                </c:pt>
                <c:pt idx="7291">
                  <c:v>0.2235</c:v>
                </c:pt>
                <c:pt idx="7292">
                  <c:v>0.2235</c:v>
                </c:pt>
                <c:pt idx="7293">
                  <c:v>0.2235</c:v>
                </c:pt>
                <c:pt idx="7294">
                  <c:v>0.2235</c:v>
                </c:pt>
                <c:pt idx="7295">
                  <c:v>0.2235</c:v>
                </c:pt>
                <c:pt idx="7296">
                  <c:v>0.2235</c:v>
                </c:pt>
                <c:pt idx="7297">
                  <c:v>0.2235</c:v>
                </c:pt>
                <c:pt idx="7298">
                  <c:v>0.2235</c:v>
                </c:pt>
                <c:pt idx="7299">
                  <c:v>0.2235</c:v>
                </c:pt>
                <c:pt idx="7300">
                  <c:v>0.2235</c:v>
                </c:pt>
                <c:pt idx="7301">
                  <c:v>0.2235</c:v>
                </c:pt>
                <c:pt idx="7302">
                  <c:v>0.19866669149999999</c:v>
                </c:pt>
                <c:pt idx="7303">
                  <c:v>0.17383330850000001</c:v>
                </c:pt>
                <c:pt idx="7304">
                  <c:v>0.17383330850000001</c:v>
                </c:pt>
                <c:pt idx="7305">
                  <c:v>0.17383330850000001</c:v>
                </c:pt>
                <c:pt idx="7306">
                  <c:v>0.17383330850000001</c:v>
                </c:pt>
                <c:pt idx="7307">
                  <c:v>0.17383330850000001</c:v>
                </c:pt>
                <c:pt idx="7308">
                  <c:v>0.14899999999999999</c:v>
                </c:pt>
                <c:pt idx="7309">
                  <c:v>0.14899999999999999</c:v>
                </c:pt>
                <c:pt idx="7310">
                  <c:v>0.14899999999999999</c:v>
                </c:pt>
                <c:pt idx="7311">
                  <c:v>0.14899999999999999</c:v>
                </c:pt>
                <c:pt idx="7312">
                  <c:v>0.14899999999999999</c:v>
                </c:pt>
                <c:pt idx="7313">
                  <c:v>0.14899999999999999</c:v>
                </c:pt>
                <c:pt idx="7314">
                  <c:v>0.14899999999999999</c:v>
                </c:pt>
                <c:pt idx="7315">
                  <c:v>0.14899999999999999</c:v>
                </c:pt>
                <c:pt idx="7316">
                  <c:v>0.14899999999999999</c:v>
                </c:pt>
                <c:pt idx="7317">
                  <c:v>0.14899999999999999</c:v>
                </c:pt>
                <c:pt idx="7318">
                  <c:v>0.14899999999999999</c:v>
                </c:pt>
                <c:pt idx="7319">
                  <c:v>0.14899999999999999</c:v>
                </c:pt>
                <c:pt idx="7320">
                  <c:v>0.14899999999999999</c:v>
                </c:pt>
                <c:pt idx="7321">
                  <c:v>0.14899999999999999</c:v>
                </c:pt>
                <c:pt idx="7322">
                  <c:v>0.14899999999999999</c:v>
                </c:pt>
                <c:pt idx="7323">
                  <c:v>0.14899999999999999</c:v>
                </c:pt>
                <c:pt idx="7324">
                  <c:v>0.14899999999999999</c:v>
                </c:pt>
                <c:pt idx="7325">
                  <c:v>0.14899999999999999</c:v>
                </c:pt>
                <c:pt idx="7326">
                  <c:v>0.14899999999999999</c:v>
                </c:pt>
                <c:pt idx="7327">
                  <c:v>0.14899999999999999</c:v>
                </c:pt>
                <c:pt idx="7328">
                  <c:v>0.14899999999999999</c:v>
                </c:pt>
                <c:pt idx="7329">
                  <c:v>0.14899999999999999</c:v>
                </c:pt>
                <c:pt idx="7330">
                  <c:v>0.14899999999999999</c:v>
                </c:pt>
                <c:pt idx="7331">
                  <c:v>0.14899999999999999</c:v>
                </c:pt>
                <c:pt idx="7332">
                  <c:v>0.14899999999999999</c:v>
                </c:pt>
                <c:pt idx="7333">
                  <c:v>0.14899999999999999</c:v>
                </c:pt>
                <c:pt idx="7334">
                  <c:v>0.14899999999999999</c:v>
                </c:pt>
                <c:pt idx="7335">
                  <c:v>0.14899999999999999</c:v>
                </c:pt>
                <c:pt idx="7336">
                  <c:v>0.14899999999999999</c:v>
                </c:pt>
                <c:pt idx="7337">
                  <c:v>0.14899999999999999</c:v>
                </c:pt>
                <c:pt idx="7338">
                  <c:v>0.14899999999999999</c:v>
                </c:pt>
                <c:pt idx="7339">
                  <c:v>0.14899999999999999</c:v>
                </c:pt>
                <c:pt idx="7340">
                  <c:v>0.14899999999999999</c:v>
                </c:pt>
                <c:pt idx="7341">
                  <c:v>0.14899999999999999</c:v>
                </c:pt>
                <c:pt idx="7342">
                  <c:v>0.14899999999999999</c:v>
                </c:pt>
                <c:pt idx="7343">
                  <c:v>0.14899999999999999</c:v>
                </c:pt>
                <c:pt idx="7344">
                  <c:v>0.14899999999999999</c:v>
                </c:pt>
                <c:pt idx="7345">
                  <c:v>0.14899999999999999</c:v>
                </c:pt>
                <c:pt idx="7346">
                  <c:v>0.14899999999999999</c:v>
                </c:pt>
                <c:pt idx="7347">
                  <c:v>0.14899999999999999</c:v>
                </c:pt>
                <c:pt idx="7348">
                  <c:v>0.14899999999999999</c:v>
                </c:pt>
                <c:pt idx="7349">
                  <c:v>0.14899999999999999</c:v>
                </c:pt>
                <c:pt idx="7350">
                  <c:v>0.14899999999999999</c:v>
                </c:pt>
                <c:pt idx="7351">
                  <c:v>0.14899999999999999</c:v>
                </c:pt>
                <c:pt idx="7352">
                  <c:v>0.14899999999999999</c:v>
                </c:pt>
                <c:pt idx="7353">
                  <c:v>0.14899999999999999</c:v>
                </c:pt>
                <c:pt idx="7354">
                  <c:v>0.14899999999999999</c:v>
                </c:pt>
                <c:pt idx="7355">
                  <c:v>0.14899999999999999</c:v>
                </c:pt>
                <c:pt idx="7356">
                  <c:v>0.14899999999999999</c:v>
                </c:pt>
                <c:pt idx="7357">
                  <c:v>0.14899999999999999</c:v>
                </c:pt>
                <c:pt idx="7358">
                  <c:v>0.14899999999999999</c:v>
                </c:pt>
                <c:pt idx="7359">
                  <c:v>0.14899999999999999</c:v>
                </c:pt>
                <c:pt idx="7360">
                  <c:v>0.14899999999999999</c:v>
                </c:pt>
                <c:pt idx="7361">
                  <c:v>0.14899999999999999</c:v>
                </c:pt>
                <c:pt idx="7362">
                  <c:v>0.14899999999999999</c:v>
                </c:pt>
                <c:pt idx="7363">
                  <c:v>0.14899999999999999</c:v>
                </c:pt>
                <c:pt idx="7364">
                  <c:v>0.14899999999999999</c:v>
                </c:pt>
                <c:pt idx="7365">
                  <c:v>0.14899999999999999</c:v>
                </c:pt>
                <c:pt idx="7366">
                  <c:v>0.14899999999999999</c:v>
                </c:pt>
                <c:pt idx="7367">
                  <c:v>0.14899999999999999</c:v>
                </c:pt>
                <c:pt idx="7368">
                  <c:v>0.14899999999999999</c:v>
                </c:pt>
                <c:pt idx="7369">
                  <c:v>0.14899999999999999</c:v>
                </c:pt>
                <c:pt idx="7370">
                  <c:v>0.14899999999999999</c:v>
                </c:pt>
                <c:pt idx="7371">
                  <c:v>0.14899999999999999</c:v>
                </c:pt>
                <c:pt idx="7372">
                  <c:v>0.14899999999999999</c:v>
                </c:pt>
                <c:pt idx="7373">
                  <c:v>0.14899999999999999</c:v>
                </c:pt>
                <c:pt idx="7374">
                  <c:v>0.14899999999999999</c:v>
                </c:pt>
                <c:pt idx="7375">
                  <c:v>0.13244446100000001</c:v>
                </c:pt>
                <c:pt idx="7376">
                  <c:v>0.13037500000000002</c:v>
                </c:pt>
                <c:pt idx="7377">
                  <c:v>0.13037500000000002</c:v>
                </c:pt>
                <c:pt idx="7378">
                  <c:v>0.13037500000000002</c:v>
                </c:pt>
                <c:pt idx="7379">
                  <c:v>0.13037500000000002</c:v>
                </c:pt>
                <c:pt idx="7380">
                  <c:v>0.12665000000000001</c:v>
                </c:pt>
                <c:pt idx="7381">
                  <c:v>0.12416669150000001</c:v>
                </c:pt>
                <c:pt idx="7382">
                  <c:v>9.9333308499999995E-2</c:v>
                </c:pt>
                <c:pt idx="7383">
                  <c:v>9.9333308499999995E-2</c:v>
                </c:pt>
                <c:pt idx="7384">
                  <c:v>9.1055539000000005E-2</c:v>
                </c:pt>
                <c:pt idx="7385">
                  <c:v>8.2777769500000001E-2</c:v>
                </c:pt>
                <c:pt idx="7386">
                  <c:v>8.2777769500000001E-2</c:v>
                </c:pt>
                <c:pt idx="7387">
                  <c:v>7.4499999999999997E-2</c:v>
                </c:pt>
                <c:pt idx="7388">
                  <c:v>7.4499999999999997E-2</c:v>
                </c:pt>
                <c:pt idx="7389">
                  <c:v>7.4499999999999997E-2</c:v>
                </c:pt>
                <c:pt idx="7390">
                  <c:v>7.4499999999999997E-2</c:v>
                </c:pt>
                <c:pt idx="7391">
                  <c:v>7.4499999999999997E-2</c:v>
                </c:pt>
                <c:pt idx="7392">
                  <c:v>7.4499999999999997E-2</c:v>
                </c:pt>
                <c:pt idx="7393">
                  <c:v>7.4499999999999997E-2</c:v>
                </c:pt>
                <c:pt idx="7394">
                  <c:v>7.4499999999999997E-2</c:v>
                </c:pt>
                <c:pt idx="7395">
                  <c:v>7.4499999999999997E-2</c:v>
                </c:pt>
                <c:pt idx="7396">
                  <c:v>7.4499999999999997E-2</c:v>
                </c:pt>
                <c:pt idx="7397">
                  <c:v>7.4499999999999997E-2</c:v>
                </c:pt>
                <c:pt idx="7398">
                  <c:v>7.4499999999999997E-2</c:v>
                </c:pt>
                <c:pt idx="7399">
                  <c:v>7.4499999999999997E-2</c:v>
                </c:pt>
                <c:pt idx="7400">
                  <c:v>7.4499999999999997E-2</c:v>
                </c:pt>
                <c:pt idx="7401">
                  <c:v>7.4499999999999997E-2</c:v>
                </c:pt>
                <c:pt idx="7402">
                  <c:v>7.4499999999999997E-2</c:v>
                </c:pt>
                <c:pt idx="7403">
                  <c:v>7.4499999999999997E-2</c:v>
                </c:pt>
                <c:pt idx="7404">
                  <c:v>7.4499999999999997E-2</c:v>
                </c:pt>
                <c:pt idx="7405">
                  <c:v>7.4499999999999997E-2</c:v>
                </c:pt>
                <c:pt idx="7406">
                  <c:v>7.4499999999999997E-2</c:v>
                </c:pt>
                <c:pt idx="7407">
                  <c:v>7.4499999999999997E-2</c:v>
                </c:pt>
                <c:pt idx="7408">
                  <c:v>7.4499999999999997E-2</c:v>
                </c:pt>
                <c:pt idx="7409">
                  <c:v>7.4499999999999997E-2</c:v>
                </c:pt>
                <c:pt idx="7410">
                  <c:v>7.4499999999999997E-2</c:v>
                </c:pt>
                <c:pt idx="7411">
                  <c:v>7.4499999999999997E-2</c:v>
                </c:pt>
                <c:pt idx="7412">
                  <c:v>7.4499999999999997E-2</c:v>
                </c:pt>
                <c:pt idx="7413">
                  <c:v>7.4499999999999997E-2</c:v>
                </c:pt>
                <c:pt idx="7414">
                  <c:v>7.4499999999999997E-2</c:v>
                </c:pt>
                <c:pt idx="7415">
                  <c:v>7.4499999999999997E-2</c:v>
                </c:pt>
                <c:pt idx="7416">
                  <c:v>7.4499999999999997E-2</c:v>
                </c:pt>
                <c:pt idx="7417">
                  <c:v>7.4499999999999997E-2</c:v>
                </c:pt>
                <c:pt idx="7418">
                  <c:v>7.4499999999999997E-2</c:v>
                </c:pt>
                <c:pt idx="7419">
                  <c:v>7.4499999999999997E-2</c:v>
                </c:pt>
                <c:pt idx="7420">
                  <c:v>7.4499999999999997E-2</c:v>
                </c:pt>
                <c:pt idx="7421">
                  <c:v>7.4499999999999997E-2</c:v>
                </c:pt>
                <c:pt idx="7422">
                  <c:v>7.4499999999999997E-2</c:v>
                </c:pt>
                <c:pt idx="7423">
                  <c:v>7.4499999999999997E-2</c:v>
                </c:pt>
                <c:pt idx="7424">
                  <c:v>7.4499999999999997E-2</c:v>
                </c:pt>
                <c:pt idx="7425">
                  <c:v>7.4499999999999997E-2</c:v>
                </c:pt>
                <c:pt idx="7426">
                  <c:v>7.4499999999999997E-2</c:v>
                </c:pt>
                <c:pt idx="7427">
                  <c:v>7.4499999999999997E-2</c:v>
                </c:pt>
                <c:pt idx="7428">
                  <c:v>7.4499999999999997E-2</c:v>
                </c:pt>
                <c:pt idx="7429">
                  <c:v>7.4499999999999997E-2</c:v>
                </c:pt>
                <c:pt idx="7430">
                  <c:v>7.4499999999999997E-2</c:v>
                </c:pt>
                <c:pt idx="7431">
                  <c:v>7.4499999999999997E-2</c:v>
                </c:pt>
                <c:pt idx="7432">
                  <c:v>7.4499999999999997E-2</c:v>
                </c:pt>
                <c:pt idx="7433">
                  <c:v>7.4499999999999997E-2</c:v>
                </c:pt>
                <c:pt idx="7434">
                  <c:v>7.4499999999999997E-2</c:v>
                </c:pt>
                <c:pt idx="7435">
                  <c:v>7.4499999999999997E-2</c:v>
                </c:pt>
                <c:pt idx="7436">
                  <c:v>7.4499999999999997E-2</c:v>
                </c:pt>
                <c:pt idx="7437">
                  <c:v>7.4499999999999997E-2</c:v>
                </c:pt>
                <c:pt idx="7438">
                  <c:v>7.4499999999999997E-2</c:v>
                </c:pt>
                <c:pt idx="7439">
                  <c:v>7.4499999999999997E-2</c:v>
                </c:pt>
                <c:pt idx="7440">
                  <c:v>7.4499999999999997E-2</c:v>
                </c:pt>
                <c:pt idx="7441">
                  <c:v>7.4499999999999997E-2</c:v>
                </c:pt>
                <c:pt idx="7442">
                  <c:v>7.4499999999999997E-2</c:v>
                </c:pt>
                <c:pt idx="7443">
                  <c:v>7.4499999999999997E-2</c:v>
                </c:pt>
                <c:pt idx="7444">
                  <c:v>7.4499999999999997E-2</c:v>
                </c:pt>
                <c:pt idx="7445">
                  <c:v>7.4499999999999997E-2</c:v>
                </c:pt>
                <c:pt idx="7446">
                  <c:v>7.4499999999999997E-2</c:v>
                </c:pt>
                <c:pt idx="7447">
                  <c:v>7.4499999999999997E-2</c:v>
                </c:pt>
                <c:pt idx="7448">
                  <c:v>7.4499999999999997E-2</c:v>
                </c:pt>
                <c:pt idx="7449">
                  <c:v>7.4499999999999997E-2</c:v>
                </c:pt>
                <c:pt idx="7450">
                  <c:v>7.4499999999999997E-2</c:v>
                </c:pt>
                <c:pt idx="7451">
                  <c:v>7.4499999999999997E-2</c:v>
                </c:pt>
                <c:pt idx="7452">
                  <c:v>7.4499999999999997E-2</c:v>
                </c:pt>
                <c:pt idx="7453">
                  <c:v>7.4499999999999997E-2</c:v>
                </c:pt>
                <c:pt idx="7454">
                  <c:v>7.4499999999999997E-2</c:v>
                </c:pt>
                <c:pt idx="7455">
                  <c:v>7.4499999999999997E-2</c:v>
                </c:pt>
                <c:pt idx="7456">
                  <c:v>7.4499999999999997E-2</c:v>
                </c:pt>
                <c:pt idx="7457">
                  <c:v>7.4499999999999997E-2</c:v>
                </c:pt>
                <c:pt idx="7458">
                  <c:v>7.4499999999999997E-2</c:v>
                </c:pt>
                <c:pt idx="7459">
                  <c:v>7.4499999999999997E-2</c:v>
                </c:pt>
                <c:pt idx="7460">
                  <c:v>7.4499999999999997E-2</c:v>
                </c:pt>
                <c:pt idx="7461">
                  <c:v>7.4499999999999997E-2</c:v>
                </c:pt>
                <c:pt idx="7462">
                  <c:v>7.4499999999999997E-2</c:v>
                </c:pt>
                <c:pt idx="7463">
                  <c:v>7.4499999999999997E-2</c:v>
                </c:pt>
                <c:pt idx="7464">
                  <c:v>7.4499999999999997E-2</c:v>
                </c:pt>
                <c:pt idx="7465">
                  <c:v>7.4499999999999997E-2</c:v>
                </c:pt>
                <c:pt idx="7466">
                  <c:v>7.4499999999999997E-2</c:v>
                </c:pt>
                <c:pt idx="7467">
                  <c:v>7.4499999999999997E-2</c:v>
                </c:pt>
                <c:pt idx="7468">
                  <c:v>7.4499999999999997E-2</c:v>
                </c:pt>
                <c:pt idx="7469">
                  <c:v>7.4499999999999997E-2</c:v>
                </c:pt>
                <c:pt idx="7470">
                  <c:v>7.4499999999999997E-2</c:v>
                </c:pt>
                <c:pt idx="7471">
                  <c:v>7.4499999999999997E-2</c:v>
                </c:pt>
                <c:pt idx="7472">
                  <c:v>7.4499999999999997E-2</c:v>
                </c:pt>
                <c:pt idx="7473">
                  <c:v>7.4499999999999997E-2</c:v>
                </c:pt>
                <c:pt idx="7474">
                  <c:v>7.4499999999999997E-2</c:v>
                </c:pt>
                <c:pt idx="7475">
                  <c:v>7.4499999999999997E-2</c:v>
                </c:pt>
                <c:pt idx="7476">
                  <c:v>7.4499999999999997E-2</c:v>
                </c:pt>
                <c:pt idx="7477">
                  <c:v>7.4499999999999997E-2</c:v>
                </c:pt>
                <c:pt idx="7478">
                  <c:v>7.4499999999999997E-2</c:v>
                </c:pt>
                <c:pt idx="7479">
                  <c:v>7.4499999999999997E-2</c:v>
                </c:pt>
                <c:pt idx="7480">
                  <c:v>7.4499999999999997E-2</c:v>
                </c:pt>
                <c:pt idx="7481">
                  <c:v>7.4499999999999997E-2</c:v>
                </c:pt>
                <c:pt idx="7482">
                  <c:v>7.4499999999999997E-2</c:v>
                </c:pt>
                <c:pt idx="7483">
                  <c:v>7.4499999999999997E-2</c:v>
                </c:pt>
                <c:pt idx="7484">
                  <c:v>7.4499999999999997E-2</c:v>
                </c:pt>
                <c:pt idx="7485">
                  <c:v>7.4499999999999997E-2</c:v>
                </c:pt>
                <c:pt idx="7486">
                  <c:v>7.4499999999999997E-2</c:v>
                </c:pt>
                <c:pt idx="7487">
                  <c:v>7.4499999999999997E-2</c:v>
                </c:pt>
                <c:pt idx="7488">
                  <c:v>7.4499999999999997E-2</c:v>
                </c:pt>
                <c:pt idx="7489">
                  <c:v>7.4499999999999997E-2</c:v>
                </c:pt>
                <c:pt idx="7490">
                  <c:v>7.4499999999999997E-2</c:v>
                </c:pt>
                <c:pt idx="7491">
                  <c:v>7.4499999999999997E-2</c:v>
                </c:pt>
                <c:pt idx="7492">
                  <c:v>7.4499999999999997E-2</c:v>
                </c:pt>
                <c:pt idx="7493">
                  <c:v>7.4499999999999997E-2</c:v>
                </c:pt>
                <c:pt idx="7494">
                  <c:v>7.4499999999999997E-2</c:v>
                </c:pt>
                <c:pt idx="7495">
                  <c:v>7.4499999999999997E-2</c:v>
                </c:pt>
                <c:pt idx="7496">
                  <c:v>7.4499999999999997E-2</c:v>
                </c:pt>
                <c:pt idx="7497">
                  <c:v>7.4499999999999997E-2</c:v>
                </c:pt>
                <c:pt idx="7498">
                  <c:v>7.4499999999999997E-2</c:v>
                </c:pt>
                <c:pt idx="7499">
                  <c:v>7.4499999999999997E-2</c:v>
                </c:pt>
                <c:pt idx="7500">
                  <c:v>7.4499999999999997E-2</c:v>
                </c:pt>
                <c:pt idx="7501">
                  <c:v>7.4499999999999997E-2</c:v>
                </c:pt>
                <c:pt idx="7502">
                  <c:v>7.4499999999999997E-2</c:v>
                </c:pt>
                <c:pt idx="7503">
                  <c:v>7.4499999999999997E-2</c:v>
                </c:pt>
                <c:pt idx="7504">
                  <c:v>7.4499999999999997E-2</c:v>
                </c:pt>
                <c:pt idx="7505">
                  <c:v>7.4499999999999997E-2</c:v>
                </c:pt>
                <c:pt idx="7506">
                  <c:v>7.4499999999999997E-2</c:v>
                </c:pt>
                <c:pt idx="7507">
                  <c:v>7.4499999999999997E-2</c:v>
                </c:pt>
                <c:pt idx="7508">
                  <c:v>7.4499999999999997E-2</c:v>
                </c:pt>
                <c:pt idx="7509">
                  <c:v>7.4499999999999997E-2</c:v>
                </c:pt>
                <c:pt idx="7510">
                  <c:v>7.4499999999999997E-2</c:v>
                </c:pt>
                <c:pt idx="7511">
                  <c:v>7.4499999999999997E-2</c:v>
                </c:pt>
                <c:pt idx="7512">
                  <c:v>7.4499999999999997E-2</c:v>
                </c:pt>
                <c:pt idx="7513">
                  <c:v>7.4499999999999997E-2</c:v>
                </c:pt>
                <c:pt idx="7514">
                  <c:v>7.4499999999999997E-2</c:v>
                </c:pt>
                <c:pt idx="7515">
                  <c:v>7.4499999999999997E-2</c:v>
                </c:pt>
                <c:pt idx="7516">
                  <c:v>7.4499999999999997E-2</c:v>
                </c:pt>
                <c:pt idx="7517">
                  <c:v>7.4499999999999997E-2</c:v>
                </c:pt>
                <c:pt idx="7518">
                  <c:v>7.4499999999999997E-2</c:v>
                </c:pt>
                <c:pt idx="7519">
                  <c:v>7.4499999999999997E-2</c:v>
                </c:pt>
                <c:pt idx="7520">
                  <c:v>7.4499999999999997E-2</c:v>
                </c:pt>
                <c:pt idx="7521">
                  <c:v>7.4499999999999997E-2</c:v>
                </c:pt>
                <c:pt idx="7522">
                  <c:v>7.4499999999999997E-2</c:v>
                </c:pt>
                <c:pt idx="7523">
                  <c:v>7.4499999999999997E-2</c:v>
                </c:pt>
                <c:pt idx="7524">
                  <c:v>7.4499999999999997E-2</c:v>
                </c:pt>
                <c:pt idx="7525">
                  <c:v>7.4499999999999997E-2</c:v>
                </c:pt>
                <c:pt idx="7526">
                  <c:v>7.4499999999999997E-2</c:v>
                </c:pt>
                <c:pt idx="7527">
                  <c:v>7.4499999999999997E-2</c:v>
                </c:pt>
                <c:pt idx="7528">
                  <c:v>7.4499999999999997E-2</c:v>
                </c:pt>
                <c:pt idx="7529">
                  <c:v>7.4499999999999997E-2</c:v>
                </c:pt>
                <c:pt idx="7530">
                  <c:v>7.4499999999999997E-2</c:v>
                </c:pt>
                <c:pt idx="7531">
                  <c:v>7.4499999999999997E-2</c:v>
                </c:pt>
                <c:pt idx="7532">
                  <c:v>7.4499999999999997E-2</c:v>
                </c:pt>
                <c:pt idx="7533">
                  <c:v>7.4499999999999997E-2</c:v>
                </c:pt>
                <c:pt idx="7534">
                  <c:v>7.4499999999999997E-2</c:v>
                </c:pt>
                <c:pt idx="7535">
                  <c:v>7.4499999999999997E-2</c:v>
                </c:pt>
                <c:pt idx="7536">
                  <c:v>7.4499999999999997E-2</c:v>
                </c:pt>
                <c:pt idx="7537">
                  <c:v>7.4499999999999997E-2</c:v>
                </c:pt>
                <c:pt idx="7538">
                  <c:v>7.4499999999999997E-2</c:v>
                </c:pt>
                <c:pt idx="7539">
                  <c:v>7.4499999999999997E-2</c:v>
                </c:pt>
                <c:pt idx="7540">
                  <c:v>7.4499999999999997E-2</c:v>
                </c:pt>
                <c:pt idx="7541">
                  <c:v>7.4499999999999997E-2</c:v>
                </c:pt>
                <c:pt idx="7542">
                  <c:v>7.4499999999999997E-2</c:v>
                </c:pt>
                <c:pt idx="7543">
                  <c:v>7.4499999999999997E-2</c:v>
                </c:pt>
                <c:pt idx="7544">
                  <c:v>7.4499999999999997E-2</c:v>
                </c:pt>
                <c:pt idx="7545">
                  <c:v>7.4499999999999997E-2</c:v>
                </c:pt>
                <c:pt idx="7546">
                  <c:v>7.4499999999999997E-2</c:v>
                </c:pt>
                <c:pt idx="7547">
                  <c:v>7.4499999999999997E-2</c:v>
                </c:pt>
                <c:pt idx="7548">
                  <c:v>7.4499999999999997E-2</c:v>
                </c:pt>
                <c:pt idx="7549">
                  <c:v>7.4499999999999997E-2</c:v>
                </c:pt>
                <c:pt idx="7550">
                  <c:v>7.4499999999999997E-2</c:v>
                </c:pt>
                <c:pt idx="7551">
                  <c:v>7.4499999999999997E-2</c:v>
                </c:pt>
                <c:pt idx="7552">
                  <c:v>7.4499999999999997E-2</c:v>
                </c:pt>
                <c:pt idx="7553">
                  <c:v>7.4499999999999997E-2</c:v>
                </c:pt>
                <c:pt idx="7554">
                  <c:v>7.4499999999999997E-2</c:v>
                </c:pt>
                <c:pt idx="7555">
                  <c:v>7.4499999999999997E-2</c:v>
                </c:pt>
                <c:pt idx="7556">
                  <c:v>7.4499999999999997E-2</c:v>
                </c:pt>
                <c:pt idx="7557">
                  <c:v>7.4499999999999997E-2</c:v>
                </c:pt>
                <c:pt idx="7558">
                  <c:v>7.4499999999999997E-2</c:v>
                </c:pt>
                <c:pt idx="7559">
                  <c:v>7.4499999999999997E-2</c:v>
                </c:pt>
                <c:pt idx="7560">
                  <c:v>7.4499999999999997E-2</c:v>
                </c:pt>
                <c:pt idx="7561">
                  <c:v>7.4499999999999997E-2</c:v>
                </c:pt>
                <c:pt idx="7562">
                  <c:v>7.4499999999999997E-2</c:v>
                </c:pt>
                <c:pt idx="7563">
                  <c:v>7.4499999999999997E-2</c:v>
                </c:pt>
                <c:pt idx="7564">
                  <c:v>7.4499999999999997E-2</c:v>
                </c:pt>
                <c:pt idx="7565">
                  <c:v>7.4499999999999997E-2</c:v>
                </c:pt>
                <c:pt idx="7566">
                  <c:v>7.4499999999999997E-2</c:v>
                </c:pt>
                <c:pt idx="7567">
                  <c:v>7.4499999999999997E-2</c:v>
                </c:pt>
                <c:pt idx="7568">
                  <c:v>7.4499999999999997E-2</c:v>
                </c:pt>
                <c:pt idx="7569">
                  <c:v>7.4499999999999997E-2</c:v>
                </c:pt>
                <c:pt idx="7570">
                  <c:v>7.4499999999999997E-2</c:v>
                </c:pt>
                <c:pt idx="7571">
                  <c:v>7.4499999999999997E-2</c:v>
                </c:pt>
                <c:pt idx="7572">
                  <c:v>7.4499999999999997E-2</c:v>
                </c:pt>
                <c:pt idx="7573">
                  <c:v>7.4499999999999997E-2</c:v>
                </c:pt>
                <c:pt idx="7574">
                  <c:v>7.4499999999999997E-2</c:v>
                </c:pt>
                <c:pt idx="7575">
                  <c:v>7.4499999999999997E-2</c:v>
                </c:pt>
                <c:pt idx="7576">
                  <c:v>7.4499999999999997E-2</c:v>
                </c:pt>
                <c:pt idx="7577">
                  <c:v>7.4499999999999997E-2</c:v>
                </c:pt>
                <c:pt idx="7578">
                  <c:v>7.4499999999999997E-2</c:v>
                </c:pt>
                <c:pt idx="7579">
                  <c:v>7.4499999999999997E-2</c:v>
                </c:pt>
                <c:pt idx="7580">
                  <c:v>7.4499999999999997E-2</c:v>
                </c:pt>
                <c:pt idx="7581">
                  <c:v>7.4499999999999997E-2</c:v>
                </c:pt>
                <c:pt idx="7582">
                  <c:v>7.4499999999999997E-2</c:v>
                </c:pt>
                <c:pt idx="7583">
                  <c:v>7.4499999999999997E-2</c:v>
                </c:pt>
                <c:pt idx="7584">
                  <c:v>7.4499999999999997E-2</c:v>
                </c:pt>
                <c:pt idx="7585">
                  <c:v>7.4499999999999997E-2</c:v>
                </c:pt>
                <c:pt idx="7586">
                  <c:v>7.4499999999999997E-2</c:v>
                </c:pt>
                <c:pt idx="7587">
                  <c:v>7.4499999999999997E-2</c:v>
                </c:pt>
                <c:pt idx="7588">
                  <c:v>7.4499999999999997E-2</c:v>
                </c:pt>
                <c:pt idx="7589">
                  <c:v>7.4499999999999997E-2</c:v>
                </c:pt>
                <c:pt idx="7590">
                  <c:v>7.4499999999999997E-2</c:v>
                </c:pt>
                <c:pt idx="7591">
                  <c:v>7.4499999999999997E-2</c:v>
                </c:pt>
                <c:pt idx="7592">
                  <c:v>7.4499999999999997E-2</c:v>
                </c:pt>
                <c:pt idx="7593">
                  <c:v>7.4499999999999997E-2</c:v>
                </c:pt>
                <c:pt idx="7594">
                  <c:v>7.4499999999999997E-2</c:v>
                </c:pt>
                <c:pt idx="7595">
                  <c:v>7.4499999999999997E-2</c:v>
                </c:pt>
                <c:pt idx="7596">
                  <c:v>7.4499999999999997E-2</c:v>
                </c:pt>
                <c:pt idx="7597">
                  <c:v>7.4499999999999997E-2</c:v>
                </c:pt>
                <c:pt idx="7598">
                  <c:v>7.4499999999999997E-2</c:v>
                </c:pt>
                <c:pt idx="7599">
                  <c:v>7.4499999999999997E-2</c:v>
                </c:pt>
                <c:pt idx="7600">
                  <c:v>7.4499999999999997E-2</c:v>
                </c:pt>
                <c:pt idx="7601">
                  <c:v>7.4499999999999997E-2</c:v>
                </c:pt>
                <c:pt idx="7602">
                  <c:v>7.4499999999999997E-2</c:v>
                </c:pt>
                <c:pt idx="7603">
                  <c:v>7.4499999999999997E-2</c:v>
                </c:pt>
                <c:pt idx="7604">
                  <c:v>7.4499999999999997E-2</c:v>
                </c:pt>
                <c:pt idx="7605">
                  <c:v>7.4499999999999997E-2</c:v>
                </c:pt>
                <c:pt idx="7606">
                  <c:v>7.4499999999999997E-2</c:v>
                </c:pt>
                <c:pt idx="7607">
                  <c:v>7.4499999999999997E-2</c:v>
                </c:pt>
                <c:pt idx="7608">
                  <c:v>7.4499999999999997E-2</c:v>
                </c:pt>
                <c:pt idx="7609">
                  <c:v>7.4499999999999997E-2</c:v>
                </c:pt>
                <c:pt idx="7610">
                  <c:v>7.4499999999999997E-2</c:v>
                </c:pt>
                <c:pt idx="7611">
                  <c:v>7.4499999999999997E-2</c:v>
                </c:pt>
                <c:pt idx="7612">
                  <c:v>7.4499999999999997E-2</c:v>
                </c:pt>
                <c:pt idx="7613">
                  <c:v>7.4499999999999997E-2</c:v>
                </c:pt>
                <c:pt idx="7614">
                  <c:v>7.4499999999999997E-2</c:v>
                </c:pt>
                <c:pt idx="7615">
                  <c:v>7.4499999999999997E-2</c:v>
                </c:pt>
                <c:pt idx="7616">
                  <c:v>7.4499999999999997E-2</c:v>
                </c:pt>
                <c:pt idx="7617">
                  <c:v>7.4499999999999997E-2</c:v>
                </c:pt>
                <c:pt idx="7618">
                  <c:v>7.4499999999999997E-2</c:v>
                </c:pt>
                <c:pt idx="7619">
                  <c:v>7.4499999999999997E-2</c:v>
                </c:pt>
                <c:pt idx="7620">
                  <c:v>7.4499999999999997E-2</c:v>
                </c:pt>
                <c:pt idx="7621">
                  <c:v>7.4499999999999997E-2</c:v>
                </c:pt>
                <c:pt idx="7622">
                  <c:v>7.4499999999999997E-2</c:v>
                </c:pt>
                <c:pt idx="7623">
                  <c:v>7.4499999999999997E-2</c:v>
                </c:pt>
                <c:pt idx="7624">
                  <c:v>7.4499999999999997E-2</c:v>
                </c:pt>
                <c:pt idx="7625">
                  <c:v>7.4499999999999997E-2</c:v>
                </c:pt>
                <c:pt idx="7626">
                  <c:v>7.4499999999999997E-2</c:v>
                </c:pt>
                <c:pt idx="7627">
                  <c:v>7.4499999999999997E-2</c:v>
                </c:pt>
                <c:pt idx="7628">
                  <c:v>7.4499999999999997E-2</c:v>
                </c:pt>
                <c:pt idx="7629">
                  <c:v>7.4499999999999997E-2</c:v>
                </c:pt>
                <c:pt idx="7630">
                  <c:v>7.4499999999999997E-2</c:v>
                </c:pt>
                <c:pt idx="7631">
                  <c:v>7.4499999999999997E-2</c:v>
                </c:pt>
                <c:pt idx="7632">
                  <c:v>7.4499999999999997E-2</c:v>
                </c:pt>
                <c:pt idx="7633">
                  <c:v>7.4499999999999997E-2</c:v>
                </c:pt>
                <c:pt idx="7634">
                  <c:v>7.4499999999999997E-2</c:v>
                </c:pt>
                <c:pt idx="7635">
                  <c:v>7.4499999999999997E-2</c:v>
                </c:pt>
                <c:pt idx="7636">
                  <c:v>7.4499999999999997E-2</c:v>
                </c:pt>
                <c:pt idx="7637">
                  <c:v>7.4499999999999997E-2</c:v>
                </c:pt>
                <c:pt idx="7638">
                  <c:v>7.4499999999999997E-2</c:v>
                </c:pt>
                <c:pt idx="7639">
                  <c:v>7.4499999999999997E-2</c:v>
                </c:pt>
                <c:pt idx="7640">
                  <c:v>7.4499999999999997E-2</c:v>
                </c:pt>
                <c:pt idx="7641">
                  <c:v>7.4499999999999997E-2</c:v>
                </c:pt>
                <c:pt idx="7642">
                  <c:v>7.4499999999999997E-2</c:v>
                </c:pt>
                <c:pt idx="7643">
                  <c:v>7.4499999999999997E-2</c:v>
                </c:pt>
                <c:pt idx="7644">
                  <c:v>7.4499999999999997E-2</c:v>
                </c:pt>
                <c:pt idx="7645">
                  <c:v>7.4499999999999997E-2</c:v>
                </c:pt>
                <c:pt idx="7646">
                  <c:v>7.4499999999999997E-2</c:v>
                </c:pt>
                <c:pt idx="7647">
                  <c:v>7.4499999999999997E-2</c:v>
                </c:pt>
                <c:pt idx="7648">
                  <c:v>7.4499999999999997E-2</c:v>
                </c:pt>
                <c:pt idx="7649">
                  <c:v>7.4499999999999997E-2</c:v>
                </c:pt>
                <c:pt idx="7650">
                  <c:v>7.4499999999999997E-2</c:v>
                </c:pt>
                <c:pt idx="7651">
                  <c:v>7.4499999999999997E-2</c:v>
                </c:pt>
                <c:pt idx="7652">
                  <c:v>7.4499999999999997E-2</c:v>
                </c:pt>
                <c:pt idx="7653">
                  <c:v>7.4499999999999997E-2</c:v>
                </c:pt>
                <c:pt idx="7654">
                  <c:v>7.4499999999999997E-2</c:v>
                </c:pt>
                <c:pt idx="7655">
                  <c:v>7.4499999999999997E-2</c:v>
                </c:pt>
                <c:pt idx="7656">
                  <c:v>7.4499999999999997E-2</c:v>
                </c:pt>
                <c:pt idx="7657">
                  <c:v>7.4499999999999997E-2</c:v>
                </c:pt>
                <c:pt idx="7658">
                  <c:v>7.4499999999999997E-2</c:v>
                </c:pt>
                <c:pt idx="7659">
                  <c:v>7.4499999999999997E-2</c:v>
                </c:pt>
                <c:pt idx="7660">
                  <c:v>7.4499999999999997E-2</c:v>
                </c:pt>
                <c:pt idx="7661">
                  <c:v>7.4499999999999997E-2</c:v>
                </c:pt>
                <c:pt idx="7662">
                  <c:v>7.4499999999999997E-2</c:v>
                </c:pt>
                <c:pt idx="7663">
                  <c:v>7.4499999999999997E-2</c:v>
                </c:pt>
                <c:pt idx="7664">
                  <c:v>7.4499999999999997E-2</c:v>
                </c:pt>
                <c:pt idx="7665">
                  <c:v>7.4499999999999997E-2</c:v>
                </c:pt>
                <c:pt idx="7666">
                  <c:v>7.4499999999999997E-2</c:v>
                </c:pt>
                <c:pt idx="7667">
                  <c:v>7.4499999999999997E-2</c:v>
                </c:pt>
                <c:pt idx="7668">
                  <c:v>7.4499999999999997E-2</c:v>
                </c:pt>
                <c:pt idx="7669">
                  <c:v>7.4499999999999997E-2</c:v>
                </c:pt>
                <c:pt idx="7670">
                  <c:v>7.4499999999999997E-2</c:v>
                </c:pt>
                <c:pt idx="7671">
                  <c:v>7.4499999999999997E-2</c:v>
                </c:pt>
                <c:pt idx="7672">
                  <c:v>7.4499999999999997E-2</c:v>
                </c:pt>
                <c:pt idx="7673">
                  <c:v>7.4499999999999997E-2</c:v>
                </c:pt>
                <c:pt idx="7674">
                  <c:v>7.4499999999999997E-2</c:v>
                </c:pt>
                <c:pt idx="7675">
                  <c:v>7.4499999999999997E-2</c:v>
                </c:pt>
                <c:pt idx="7676">
                  <c:v>7.4499999999999997E-2</c:v>
                </c:pt>
                <c:pt idx="7677">
                  <c:v>7.4499999999999997E-2</c:v>
                </c:pt>
                <c:pt idx="7678">
                  <c:v>7.4499999999999997E-2</c:v>
                </c:pt>
                <c:pt idx="7679">
                  <c:v>7.4499999999999997E-2</c:v>
                </c:pt>
                <c:pt idx="7680">
                  <c:v>7.4499999999999997E-2</c:v>
                </c:pt>
                <c:pt idx="7681">
                  <c:v>7.4499999999999997E-2</c:v>
                </c:pt>
                <c:pt idx="7682">
                  <c:v>7.4499999999999997E-2</c:v>
                </c:pt>
                <c:pt idx="7683">
                  <c:v>7.4499999999999997E-2</c:v>
                </c:pt>
                <c:pt idx="7684">
                  <c:v>7.4499999999999997E-2</c:v>
                </c:pt>
                <c:pt idx="7685">
                  <c:v>7.4499999999999997E-2</c:v>
                </c:pt>
                <c:pt idx="7686">
                  <c:v>7.4499999999999997E-2</c:v>
                </c:pt>
                <c:pt idx="7687">
                  <c:v>7.4499999999999997E-2</c:v>
                </c:pt>
                <c:pt idx="7688">
                  <c:v>7.4499999999999997E-2</c:v>
                </c:pt>
                <c:pt idx="7689">
                  <c:v>7.4499999999999997E-2</c:v>
                </c:pt>
                <c:pt idx="7690">
                  <c:v>7.4499999999999997E-2</c:v>
                </c:pt>
                <c:pt idx="7691">
                  <c:v>7.4499999999999997E-2</c:v>
                </c:pt>
                <c:pt idx="7692">
                  <c:v>7.4499999999999997E-2</c:v>
                </c:pt>
                <c:pt idx="7693">
                  <c:v>7.4499999999999997E-2</c:v>
                </c:pt>
                <c:pt idx="7694">
                  <c:v>7.4499999999999997E-2</c:v>
                </c:pt>
                <c:pt idx="7695">
                  <c:v>7.4499999999999997E-2</c:v>
                </c:pt>
                <c:pt idx="7696">
                  <c:v>7.4499999999999997E-2</c:v>
                </c:pt>
                <c:pt idx="7697">
                  <c:v>7.4499999999999997E-2</c:v>
                </c:pt>
                <c:pt idx="7698">
                  <c:v>7.4499999999999997E-2</c:v>
                </c:pt>
                <c:pt idx="7699">
                  <c:v>7.4499999999999997E-2</c:v>
                </c:pt>
                <c:pt idx="7700">
                  <c:v>7.4499999999999997E-2</c:v>
                </c:pt>
                <c:pt idx="7701">
                  <c:v>7.4499999999999997E-2</c:v>
                </c:pt>
                <c:pt idx="7702">
                  <c:v>7.4499999999999997E-2</c:v>
                </c:pt>
                <c:pt idx="7703">
                  <c:v>7.4499999999999997E-2</c:v>
                </c:pt>
                <c:pt idx="7704">
                  <c:v>7.4499999999999997E-2</c:v>
                </c:pt>
                <c:pt idx="7705">
                  <c:v>7.4499999999999997E-2</c:v>
                </c:pt>
                <c:pt idx="7706">
                  <c:v>7.4499999999999997E-2</c:v>
                </c:pt>
                <c:pt idx="7707">
                  <c:v>7.4499999999999997E-2</c:v>
                </c:pt>
                <c:pt idx="7708">
                  <c:v>7.4499999999999997E-2</c:v>
                </c:pt>
                <c:pt idx="7709">
                  <c:v>7.4499999999999997E-2</c:v>
                </c:pt>
                <c:pt idx="7710">
                  <c:v>7.4499999999999997E-2</c:v>
                </c:pt>
                <c:pt idx="7711">
                  <c:v>7.4499999999999997E-2</c:v>
                </c:pt>
                <c:pt idx="7712">
                  <c:v>7.4499999999999997E-2</c:v>
                </c:pt>
                <c:pt idx="7713">
                  <c:v>7.4499999999999997E-2</c:v>
                </c:pt>
                <c:pt idx="7714">
                  <c:v>7.4499999999999997E-2</c:v>
                </c:pt>
                <c:pt idx="7715">
                  <c:v>7.4499999999999997E-2</c:v>
                </c:pt>
                <c:pt idx="7716">
                  <c:v>7.4499999999999997E-2</c:v>
                </c:pt>
                <c:pt idx="7717">
                  <c:v>7.4499999999999997E-2</c:v>
                </c:pt>
                <c:pt idx="7718">
                  <c:v>7.4499999999999997E-2</c:v>
                </c:pt>
                <c:pt idx="7719">
                  <c:v>7.4499999999999997E-2</c:v>
                </c:pt>
                <c:pt idx="7720">
                  <c:v>7.4499999999999997E-2</c:v>
                </c:pt>
                <c:pt idx="7721">
                  <c:v>7.4499999999999997E-2</c:v>
                </c:pt>
                <c:pt idx="7722">
                  <c:v>7.4499999999999997E-2</c:v>
                </c:pt>
                <c:pt idx="7723">
                  <c:v>7.4499999999999997E-2</c:v>
                </c:pt>
                <c:pt idx="7724">
                  <c:v>7.4499999999999997E-2</c:v>
                </c:pt>
                <c:pt idx="7725">
                  <c:v>7.4499999999999997E-2</c:v>
                </c:pt>
                <c:pt idx="7726">
                  <c:v>7.4499999999999997E-2</c:v>
                </c:pt>
                <c:pt idx="7727">
                  <c:v>7.4499999999999997E-2</c:v>
                </c:pt>
                <c:pt idx="7728">
                  <c:v>7.4499999999999997E-2</c:v>
                </c:pt>
                <c:pt idx="7729">
                  <c:v>7.4499999999999997E-2</c:v>
                </c:pt>
                <c:pt idx="7730">
                  <c:v>7.4499999999999997E-2</c:v>
                </c:pt>
                <c:pt idx="7731">
                  <c:v>7.4499999999999997E-2</c:v>
                </c:pt>
                <c:pt idx="7732">
                  <c:v>7.4499999999999997E-2</c:v>
                </c:pt>
                <c:pt idx="7733">
                  <c:v>7.4499999999999997E-2</c:v>
                </c:pt>
                <c:pt idx="7734">
                  <c:v>7.4499999999999997E-2</c:v>
                </c:pt>
                <c:pt idx="7735">
                  <c:v>7.4499999999999997E-2</c:v>
                </c:pt>
                <c:pt idx="7736">
                  <c:v>7.4499999999999997E-2</c:v>
                </c:pt>
                <c:pt idx="7737">
                  <c:v>7.4499999999999997E-2</c:v>
                </c:pt>
                <c:pt idx="7738">
                  <c:v>7.4499999999999997E-2</c:v>
                </c:pt>
                <c:pt idx="7739">
                  <c:v>7.4499999999999997E-2</c:v>
                </c:pt>
                <c:pt idx="7740">
                  <c:v>7.4499999999999997E-2</c:v>
                </c:pt>
                <c:pt idx="7741">
                  <c:v>7.4499999999999997E-2</c:v>
                </c:pt>
                <c:pt idx="7742">
                  <c:v>7.4499999999999997E-2</c:v>
                </c:pt>
                <c:pt idx="7743">
                  <c:v>7.4499999999999997E-2</c:v>
                </c:pt>
                <c:pt idx="7744">
                  <c:v>7.4499999999999997E-2</c:v>
                </c:pt>
                <c:pt idx="7745">
                  <c:v>7.4499999999999997E-2</c:v>
                </c:pt>
                <c:pt idx="7746">
                  <c:v>7.4499999999999997E-2</c:v>
                </c:pt>
                <c:pt idx="7747">
                  <c:v>7.4499999999999997E-2</c:v>
                </c:pt>
                <c:pt idx="7748">
                  <c:v>7.4499999999999997E-2</c:v>
                </c:pt>
                <c:pt idx="7749">
                  <c:v>7.4499999999999997E-2</c:v>
                </c:pt>
                <c:pt idx="7750">
                  <c:v>7.4499999999999997E-2</c:v>
                </c:pt>
                <c:pt idx="7751">
                  <c:v>7.4499999999999997E-2</c:v>
                </c:pt>
                <c:pt idx="7752">
                  <c:v>7.4499999999999997E-2</c:v>
                </c:pt>
                <c:pt idx="7753">
                  <c:v>7.4499999999999997E-2</c:v>
                </c:pt>
                <c:pt idx="7754">
                  <c:v>7.4499999999999997E-2</c:v>
                </c:pt>
                <c:pt idx="7755">
                  <c:v>7.4499999999999997E-2</c:v>
                </c:pt>
                <c:pt idx="7756">
                  <c:v>7.4499999999999997E-2</c:v>
                </c:pt>
                <c:pt idx="7757">
                  <c:v>7.4499999999999997E-2</c:v>
                </c:pt>
                <c:pt idx="7758">
                  <c:v>7.4499999999999997E-2</c:v>
                </c:pt>
                <c:pt idx="7759">
                  <c:v>7.4499999999999997E-2</c:v>
                </c:pt>
                <c:pt idx="7760">
                  <c:v>7.4499999999999997E-2</c:v>
                </c:pt>
                <c:pt idx="7761">
                  <c:v>7.4499999999999997E-2</c:v>
                </c:pt>
                <c:pt idx="7762">
                  <c:v>7.4499999999999997E-2</c:v>
                </c:pt>
                <c:pt idx="7763">
                  <c:v>7.4499999999999997E-2</c:v>
                </c:pt>
                <c:pt idx="7764">
                  <c:v>7.4499999999999997E-2</c:v>
                </c:pt>
                <c:pt idx="7765">
                  <c:v>7.4499999999999997E-2</c:v>
                </c:pt>
                <c:pt idx="7766">
                  <c:v>7.4499999999999997E-2</c:v>
                </c:pt>
                <c:pt idx="7767">
                  <c:v>7.4499999999999997E-2</c:v>
                </c:pt>
                <c:pt idx="7768">
                  <c:v>7.4499999999999997E-2</c:v>
                </c:pt>
                <c:pt idx="7769">
                  <c:v>7.4499999999999997E-2</c:v>
                </c:pt>
                <c:pt idx="7770">
                  <c:v>7.4499999999999997E-2</c:v>
                </c:pt>
                <c:pt idx="7771">
                  <c:v>7.4499999999999997E-2</c:v>
                </c:pt>
                <c:pt idx="7772">
                  <c:v>7.4499999999999997E-2</c:v>
                </c:pt>
                <c:pt idx="7773">
                  <c:v>6.7049999999999998E-2</c:v>
                </c:pt>
                <c:pt idx="7774">
                  <c:v>6.7049999999999998E-2</c:v>
                </c:pt>
                <c:pt idx="7775">
                  <c:v>6.7049999999999998E-2</c:v>
                </c:pt>
                <c:pt idx="7776">
                  <c:v>6.7049999999999998E-2</c:v>
                </c:pt>
                <c:pt idx="7777">
                  <c:v>6.7049999999999998E-2</c:v>
                </c:pt>
                <c:pt idx="7778">
                  <c:v>6.7049999999999998E-2</c:v>
                </c:pt>
                <c:pt idx="7779">
                  <c:v>5.5875000000000001E-2</c:v>
                </c:pt>
                <c:pt idx="7780">
                  <c:v>5.5875000000000001E-2</c:v>
                </c:pt>
                <c:pt idx="7781">
                  <c:v>5.2150000000000002E-2</c:v>
                </c:pt>
                <c:pt idx="7782">
                  <c:v>3.7249999999999998E-2</c:v>
                </c:pt>
                <c:pt idx="7783">
                  <c:v>2.4833330850000002E-2</c:v>
                </c:pt>
                <c:pt idx="7784">
                  <c:v>2.4833330850000002E-2</c:v>
                </c:pt>
                <c:pt idx="7785">
                  <c:v>2.4833330850000002E-2</c:v>
                </c:pt>
                <c:pt idx="7786">
                  <c:v>2.4833330850000002E-2</c:v>
                </c:pt>
                <c:pt idx="7787">
                  <c:v>2.4833330850000002E-2</c:v>
                </c:pt>
                <c:pt idx="7788">
                  <c:v>2.4833330850000002E-2</c:v>
                </c:pt>
                <c:pt idx="7789">
                  <c:v>2.4833330850000002E-2</c:v>
                </c:pt>
                <c:pt idx="7790">
                  <c:v>1.8624999999999999E-2</c:v>
                </c:pt>
                <c:pt idx="7791">
                  <c:v>8.2777769499999994E-3</c:v>
                </c:pt>
                <c:pt idx="7792">
                  <c:v>8.2777769499999994E-3</c:v>
                </c:pt>
                <c:pt idx="7793">
                  <c:v>8.2777769499999994E-3</c:v>
                </c:pt>
                <c:pt idx="7794">
                  <c:v>8.2777769499999994E-3</c:v>
                </c:pt>
                <c:pt idx="7795">
                  <c:v>8.2777769499999994E-3</c:v>
                </c:pt>
                <c:pt idx="7796">
                  <c:v>8.2777769499999994E-3</c:v>
                </c:pt>
                <c:pt idx="7797">
                  <c:v>0</c:v>
                </c:pt>
                <c:pt idx="7798">
                  <c:v>0</c:v>
                </c:pt>
                <c:pt idx="7799">
                  <c:v>0</c:v>
                </c:pt>
                <c:pt idx="7800">
                  <c:v>0</c:v>
                </c:pt>
                <c:pt idx="7801">
                  <c:v>0</c:v>
                </c:pt>
                <c:pt idx="7802">
                  <c:v>0</c:v>
                </c:pt>
                <c:pt idx="7803">
                  <c:v>0</c:v>
                </c:pt>
                <c:pt idx="7804">
                  <c:v>0</c:v>
                </c:pt>
                <c:pt idx="7805">
                  <c:v>0</c:v>
                </c:pt>
                <c:pt idx="7806">
                  <c:v>0</c:v>
                </c:pt>
                <c:pt idx="7807">
                  <c:v>0</c:v>
                </c:pt>
                <c:pt idx="7808">
                  <c:v>0</c:v>
                </c:pt>
                <c:pt idx="7809">
                  <c:v>0</c:v>
                </c:pt>
                <c:pt idx="7810">
                  <c:v>0</c:v>
                </c:pt>
                <c:pt idx="7811">
                  <c:v>0</c:v>
                </c:pt>
                <c:pt idx="7812">
                  <c:v>0</c:v>
                </c:pt>
                <c:pt idx="7813">
                  <c:v>0</c:v>
                </c:pt>
                <c:pt idx="7814">
                  <c:v>0</c:v>
                </c:pt>
                <c:pt idx="7815">
                  <c:v>0</c:v>
                </c:pt>
                <c:pt idx="7816">
                  <c:v>0</c:v>
                </c:pt>
                <c:pt idx="7817">
                  <c:v>0</c:v>
                </c:pt>
                <c:pt idx="7818">
                  <c:v>0</c:v>
                </c:pt>
                <c:pt idx="7819">
                  <c:v>0</c:v>
                </c:pt>
                <c:pt idx="7820">
                  <c:v>0</c:v>
                </c:pt>
                <c:pt idx="7821">
                  <c:v>0</c:v>
                </c:pt>
                <c:pt idx="7822">
                  <c:v>0</c:v>
                </c:pt>
                <c:pt idx="7823">
                  <c:v>0</c:v>
                </c:pt>
                <c:pt idx="7824">
                  <c:v>0</c:v>
                </c:pt>
                <c:pt idx="7825">
                  <c:v>0</c:v>
                </c:pt>
                <c:pt idx="7826">
                  <c:v>0</c:v>
                </c:pt>
                <c:pt idx="7827">
                  <c:v>0</c:v>
                </c:pt>
                <c:pt idx="7828">
                  <c:v>0</c:v>
                </c:pt>
                <c:pt idx="7829">
                  <c:v>0</c:v>
                </c:pt>
                <c:pt idx="7830">
                  <c:v>0</c:v>
                </c:pt>
                <c:pt idx="7831">
                  <c:v>0</c:v>
                </c:pt>
                <c:pt idx="7832">
                  <c:v>0</c:v>
                </c:pt>
                <c:pt idx="7833">
                  <c:v>0</c:v>
                </c:pt>
                <c:pt idx="7834">
                  <c:v>0</c:v>
                </c:pt>
                <c:pt idx="7835">
                  <c:v>0</c:v>
                </c:pt>
                <c:pt idx="7836">
                  <c:v>0</c:v>
                </c:pt>
                <c:pt idx="7837">
                  <c:v>0</c:v>
                </c:pt>
                <c:pt idx="7838">
                  <c:v>0</c:v>
                </c:pt>
                <c:pt idx="7839">
                  <c:v>0</c:v>
                </c:pt>
                <c:pt idx="7840">
                  <c:v>0</c:v>
                </c:pt>
                <c:pt idx="7841">
                  <c:v>0</c:v>
                </c:pt>
                <c:pt idx="7842">
                  <c:v>0</c:v>
                </c:pt>
                <c:pt idx="7843">
                  <c:v>0</c:v>
                </c:pt>
                <c:pt idx="7844">
                  <c:v>0</c:v>
                </c:pt>
                <c:pt idx="7845">
                  <c:v>0</c:v>
                </c:pt>
                <c:pt idx="7846">
                  <c:v>0</c:v>
                </c:pt>
                <c:pt idx="7847">
                  <c:v>0</c:v>
                </c:pt>
                <c:pt idx="7848">
                  <c:v>0</c:v>
                </c:pt>
                <c:pt idx="7849">
                  <c:v>0</c:v>
                </c:pt>
                <c:pt idx="7850">
                  <c:v>0</c:v>
                </c:pt>
                <c:pt idx="7851">
                  <c:v>0</c:v>
                </c:pt>
                <c:pt idx="7852">
                  <c:v>0</c:v>
                </c:pt>
                <c:pt idx="7853">
                  <c:v>0</c:v>
                </c:pt>
                <c:pt idx="7854">
                  <c:v>0</c:v>
                </c:pt>
                <c:pt idx="7855">
                  <c:v>0</c:v>
                </c:pt>
                <c:pt idx="7856">
                  <c:v>0</c:v>
                </c:pt>
                <c:pt idx="7857">
                  <c:v>0</c:v>
                </c:pt>
                <c:pt idx="7858">
                  <c:v>0</c:v>
                </c:pt>
                <c:pt idx="7859">
                  <c:v>0</c:v>
                </c:pt>
                <c:pt idx="7860">
                  <c:v>0</c:v>
                </c:pt>
                <c:pt idx="7861">
                  <c:v>0</c:v>
                </c:pt>
                <c:pt idx="7862">
                  <c:v>0</c:v>
                </c:pt>
                <c:pt idx="7863">
                  <c:v>0</c:v>
                </c:pt>
                <c:pt idx="7864">
                  <c:v>0</c:v>
                </c:pt>
                <c:pt idx="7865">
                  <c:v>0</c:v>
                </c:pt>
                <c:pt idx="7866">
                  <c:v>0</c:v>
                </c:pt>
                <c:pt idx="7867">
                  <c:v>0</c:v>
                </c:pt>
                <c:pt idx="7868">
                  <c:v>0</c:v>
                </c:pt>
                <c:pt idx="7869">
                  <c:v>0</c:v>
                </c:pt>
                <c:pt idx="7870">
                  <c:v>0</c:v>
                </c:pt>
                <c:pt idx="7871">
                  <c:v>0</c:v>
                </c:pt>
                <c:pt idx="7872">
                  <c:v>0</c:v>
                </c:pt>
                <c:pt idx="7873">
                  <c:v>0</c:v>
                </c:pt>
                <c:pt idx="7874">
                  <c:v>0</c:v>
                </c:pt>
                <c:pt idx="7875">
                  <c:v>0</c:v>
                </c:pt>
                <c:pt idx="7876">
                  <c:v>0</c:v>
                </c:pt>
                <c:pt idx="7877">
                  <c:v>0</c:v>
                </c:pt>
                <c:pt idx="7878">
                  <c:v>0</c:v>
                </c:pt>
                <c:pt idx="7879">
                  <c:v>0</c:v>
                </c:pt>
                <c:pt idx="7880">
                  <c:v>0</c:v>
                </c:pt>
                <c:pt idx="7881">
                  <c:v>0</c:v>
                </c:pt>
                <c:pt idx="7882">
                  <c:v>0</c:v>
                </c:pt>
                <c:pt idx="7883">
                  <c:v>0</c:v>
                </c:pt>
                <c:pt idx="7884">
                  <c:v>0</c:v>
                </c:pt>
                <c:pt idx="7885">
                  <c:v>0</c:v>
                </c:pt>
                <c:pt idx="7886">
                  <c:v>0</c:v>
                </c:pt>
                <c:pt idx="7887">
                  <c:v>0</c:v>
                </c:pt>
                <c:pt idx="7888">
                  <c:v>0</c:v>
                </c:pt>
                <c:pt idx="7889">
                  <c:v>0</c:v>
                </c:pt>
                <c:pt idx="7890">
                  <c:v>0</c:v>
                </c:pt>
                <c:pt idx="7891">
                  <c:v>0</c:v>
                </c:pt>
                <c:pt idx="7892">
                  <c:v>0</c:v>
                </c:pt>
                <c:pt idx="7893">
                  <c:v>0</c:v>
                </c:pt>
                <c:pt idx="7894">
                  <c:v>0</c:v>
                </c:pt>
                <c:pt idx="7895">
                  <c:v>0</c:v>
                </c:pt>
                <c:pt idx="7896">
                  <c:v>0</c:v>
                </c:pt>
                <c:pt idx="7897">
                  <c:v>0</c:v>
                </c:pt>
                <c:pt idx="7898">
                  <c:v>0</c:v>
                </c:pt>
                <c:pt idx="7899">
                  <c:v>0</c:v>
                </c:pt>
                <c:pt idx="7900">
                  <c:v>0</c:v>
                </c:pt>
                <c:pt idx="7901">
                  <c:v>0</c:v>
                </c:pt>
                <c:pt idx="7902">
                  <c:v>0</c:v>
                </c:pt>
                <c:pt idx="7903">
                  <c:v>0</c:v>
                </c:pt>
                <c:pt idx="7904">
                  <c:v>0</c:v>
                </c:pt>
                <c:pt idx="7905">
                  <c:v>0</c:v>
                </c:pt>
                <c:pt idx="7906">
                  <c:v>0</c:v>
                </c:pt>
                <c:pt idx="7907">
                  <c:v>0</c:v>
                </c:pt>
                <c:pt idx="7908">
                  <c:v>0</c:v>
                </c:pt>
                <c:pt idx="7909">
                  <c:v>0</c:v>
                </c:pt>
                <c:pt idx="7910">
                  <c:v>0</c:v>
                </c:pt>
                <c:pt idx="7911">
                  <c:v>0</c:v>
                </c:pt>
                <c:pt idx="7912">
                  <c:v>0</c:v>
                </c:pt>
                <c:pt idx="7913">
                  <c:v>0</c:v>
                </c:pt>
                <c:pt idx="7914">
                  <c:v>0</c:v>
                </c:pt>
                <c:pt idx="7915">
                  <c:v>0</c:v>
                </c:pt>
                <c:pt idx="7916">
                  <c:v>0</c:v>
                </c:pt>
                <c:pt idx="7917">
                  <c:v>0</c:v>
                </c:pt>
                <c:pt idx="7918">
                  <c:v>0</c:v>
                </c:pt>
                <c:pt idx="7919">
                  <c:v>0</c:v>
                </c:pt>
                <c:pt idx="7920">
                  <c:v>0</c:v>
                </c:pt>
                <c:pt idx="7921">
                  <c:v>0</c:v>
                </c:pt>
                <c:pt idx="7922">
                  <c:v>0</c:v>
                </c:pt>
                <c:pt idx="7923">
                  <c:v>0</c:v>
                </c:pt>
                <c:pt idx="7924">
                  <c:v>0</c:v>
                </c:pt>
                <c:pt idx="7925">
                  <c:v>0</c:v>
                </c:pt>
                <c:pt idx="7926">
                  <c:v>0</c:v>
                </c:pt>
                <c:pt idx="7927">
                  <c:v>0</c:v>
                </c:pt>
                <c:pt idx="7928">
                  <c:v>0</c:v>
                </c:pt>
                <c:pt idx="7929">
                  <c:v>0</c:v>
                </c:pt>
                <c:pt idx="7930">
                  <c:v>0</c:v>
                </c:pt>
                <c:pt idx="7931">
                  <c:v>0</c:v>
                </c:pt>
                <c:pt idx="7932">
                  <c:v>0</c:v>
                </c:pt>
                <c:pt idx="7933">
                  <c:v>0</c:v>
                </c:pt>
                <c:pt idx="7934">
                  <c:v>0</c:v>
                </c:pt>
                <c:pt idx="7935">
                  <c:v>0</c:v>
                </c:pt>
                <c:pt idx="7936">
                  <c:v>0</c:v>
                </c:pt>
                <c:pt idx="7937">
                  <c:v>0</c:v>
                </c:pt>
                <c:pt idx="7938">
                  <c:v>0</c:v>
                </c:pt>
                <c:pt idx="7939">
                  <c:v>0</c:v>
                </c:pt>
                <c:pt idx="7940">
                  <c:v>0</c:v>
                </c:pt>
                <c:pt idx="7941">
                  <c:v>0</c:v>
                </c:pt>
                <c:pt idx="7942">
                  <c:v>0</c:v>
                </c:pt>
                <c:pt idx="7943">
                  <c:v>0</c:v>
                </c:pt>
                <c:pt idx="7944">
                  <c:v>0</c:v>
                </c:pt>
                <c:pt idx="7945">
                  <c:v>0</c:v>
                </c:pt>
                <c:pt idx="7946">
                  <c:v>0</c:v>
                </c:pt>
                <c:pt idx="7947">
                  <c:v>0</c:v>
                </c:pt>
                <c:pt idx="7948">
                  <c:v>0</c:v>
                </c:pt>
                <c:pt idx="7949">
                  <c:v>0</c:v>
                </c:pt>
                <c:pt idx="7950">
                  <c:v>0</c:v>
                </c:pt>
                <c:pt idx="7951">
                  <c:v>0</c:v>
                </c:pt>
                <c:pt idx="7952">
                  <c:v>0</c:v>
                </c:pt>
                <c:pt idx="7953">
                  <c:v>0</c:v>
                </c:pt>
                <c:pt idx="7954">
                  <c:v>0</c:v>
                </c:pt>
                <c:pt idx="7955">
                  <c:v>0</c:v>
                </c:pt>
                <c:pt idx="7956">
                  <c:v>0</c:v>
                </c:pt>
                <c:pt idx="7957">
                  <c:v>0</c:v>
                </c:pt>
                <c:pt idx="7958">
                  <c:v>0</c:v>
                </c:pt>
                <c:pt idx="7959">
                  <c:v>0</c:v>
                </c:pt>
                <c:pt idx="7960">
                  <c:v>0</c:v>
                </c:pt>
                <c:pt idx="7961">
                  <c:v>0</c:v>
                </c:pt>
                <c:pt idx="7962">
                  <c:v>0</c:v>
                </c:pt>
                <c:pt idx="7963">
                  <c:v>0</c:v>
                </c:pt>
                <c:pt idx="7964">
                  <c:v>0</c:v>
                </c:pt>
                <c:pt idx="7965">
                  <c:v>0</c:v>
                </c:pt>
                <c:pt idx="7966">
                  <c:v>0</c:v>
                </c:pt>
                <c:pt idx="7967">
                  <c:v>0</c:v>
                </c:pt>
                <c:pt idx="7968">
                  <c:v>0</c:v>
                </c:pt>
                <c:pt idx="7969">
                  <c:v>0</c:v>
                </c:pt>
                <c:pt idx="7970">
                  <c:v>0</c:v>
                </c:pt>
                <c:pt idx="7971">
                  <c:v>0</c:v>
                </c:pt>
                <c:pt idx="7972">
                  <c:v>0</c:v>
                </c:pt>
                <c:pt idx="7973">
                  <c:v>0</c:v>
                </c:pt>
                <c:pt idx="7974">
                  <c:v>0</c:v>
                </c:pt>
                <c:pt idx="7975">
                  <c:v>0</c:v>
                </c:pt>
                <c:pt idx="7976">
                  <c:v>0</c:v>
                </c:pt>
                <c:pt idx="7977">
                  <c:v>0</c:v>
                </c:pt>
                <c:pt idx="7978">
                  <c:v>0</c:v>
                </c:pt>
                <c:pt idx="7979">
                  <c:v>0</c:v>
                </c:pt>
                <c:pt idx="7980">
                  <c:v>0</c:v>
                </c:pt>
                <c:pt idx="7981">
                  <c:v>0</c:v>
                </c:pt>
                <c:pt idx="7982">
                  <c:v>0</c:v>
                </c:pt>
                <c:pt idx="7983">
                  <c:v>0</c:v>
                </c:pt>
                <c:pt idx="7984">
                  <c:v>0</c:v>
                </c:pt>
                <c:pt idx="7985">
                  <c:v>0</c:v>
                </c:pt>
                <c:pt idx="7986">
                  <c:v>0</c:v>
                </c:pt>
                <c:pt idx="7987">
                  <c:v>0</c:v>
                </c:pt>
                <c:pt idx="7988">
                  <c:v>0</c:v>
                </c:pt>
                <c:pt idx="7989">
                  <c:v>0</c:v>
                </c:pt>
                <c:pt idx="7990">
                  <c:v>0</c:v>
                </c:pt>
                <c:pt idx="7991">
                  <c:v>0</c:v>
                </c:pt>
                <c:pt idx="7992">
                  <c:v>0</c:v>
                </c:pt>
                <c:pt idx="7993">
                  <c:v>0</c:v>
                </c:pt>
                <c:pt idx="7994">
                  <c:v>0</c:v>
                </c:pt>
                <c:pt idx="7995">
                  <c:v>0</c:v>
                </c:pt>
                <c:pt idx="7996">
                  <c:v>0</c:v>
                </c:pt>
                <c:pt idx="7997">
                  <c:v>0</c:v>
                </c:pt>
                <c:pt idx="7998">
                  <c:v>0</c:v>
                </c:pt>
                <c:pt idx="7999">
                  <c:v>0</c:v>
                </c:pt>
                <c:pt idx="8000">
                  <c:v>0</c:v>
                </c:pt>
                <c:pt idx="8001">
                  <c:v>0</c:v>
                </c:pt>
                <c:pt idx="8002">
                  <c:v>0</c:v>
                </c:pt>
                <c:pt idx="8003">
                  <c:v>0</c:v>
                </c:pt>
                <c:pt idx="8004">
                  <c:v>0</c:v>
                </c:pt>
                <c:pt idx="8005">
                  <c:v>0</c:v>
                </c:pt>
                <c:pt idx="8006">
                  <c:v>0</c:v>
                </c:pt>
                <c:pt idx="8007">
                  <c:v>0</c:v>
                </c:pt>
                <c:pt idx="8008">
                  <c:v>0</c:v>
                </c:pt>
                <c:pt idx="8009">
                  <c:v>0</c:v>
                </c:pt>
                <c:pt idx="8010">
                  <c:v>0</c:v>
                </c:pt>
                <c:pt idx="8011">
                  <c:v>0</c:v>
                </c:pt>
                <c:pt idx="8012">
                  <c:v>0</c:v>
                </c:pt>
                <c:pt idx="8013">
                  <c:v>0</c:v>
                </c:pt>
                <c:pt idx="8014">
                  <c:v>0</c:v>
                </c:pt>
                <c:pt idx="8015">
                  <c:v>0</c:v>
                </c:pt>
                <c:pt idx="8016">
                  <c:v>0</c:v>
                </c:pt>
                <c:pt idx="8017">
                  <c:v>0</c:v>
                </c:pt>
                <c:pt idx="8018">
                  <c:v>0</c:v>
                </c:pt>
                <c:pt idx="8019">
                  <c:v>0</c:v>
                </c:pt>
                <c:pt idx="8020">
                  <c:v>0</c:v>
                </c:pt>
                <c:pt idx="8021">
                  <c:v>0</c:v>
                </c:pt>
                <c:pt idx="8022">
                  <c:v>0</c:v>
                </c:pt>
                <c:pt idx="8023">
                  <c:v>0</c:v>
                </c:pt>
                <c:pt idx="8024">
                  <c:v>0</c:v>
                </c:pt>
                <c:pt idx="8025">
                  <c:v>0</c:v>
                </c:pt>
                <c:pt idx="8026">
                  <c:v>0</c:v>
                </c:pt>
                <c:pt idx="8027">
                  <c:v>0</c:v>
                </c:pt>
                <c:pt idx="8028">
                  <c:v>0</c:v>
                </c:pt>
                <c:pt idx="8029">
                  <c:v>0</c:v>
                </c:pt>
                <c:pt idx="8030">
                  <c:v>0</c:v>
                </c:pt>
                <c:pt idx="8031">
                  <c:v>0</c:v>
                </c:pt>
                <c:pt idx="8032">
                  <c:v>0</c:v>
                </c:pt>
                <c:pt idx="8033">
                  <c:v>0</c:v>
                </c:pt>
                <c:pt idx="8034">
                  <c:v>0</c:v>
                </c:pt>
                <c:pt idx="8035">
                  <c:v>0</c:v>
                </c:pt>
                <c:pt idx="8036">
                  <c:v>0</c:v>
                </c:pt>
                <c:pt idx="8037">
                  <c:v>0</c:v>
                </c:pt>
                <c:pt idx="8038">
                  <c:v>0</c:v>
                </c:pt>
                <c:pt idx="8039">
                  <c:v>0</c:v>
                </c:pt>
                <c:pt idx="8040">
                  <c:v>0</c:v>
                </c:pt>
                <c:pt idx="8041">
                  <c:v>0</c:v>
                </c:pt>
                <c:pt idx="8042">
                  <c:v>0</c:v>
                </c:pt>
                <c:pt idx="8043">
                  <c:v>0</c:v>
                </c:pt>
                <c:pt idx="8044">
                  <c:v>0</c:v>
                </c:pt>
                <c:pt idx="8045">
                  <c:v>0</c:v>
                </c:pt>
                <c:pt idx="8046">
                  <c:v>0</c:v>
                </c:pt>
                <c:pt idx="8047">
                  <c:v>0</c:v>
                </c:pt>
                <c:pt idx="8048">
                  <c:v>0</c:v>
                </c:pt>
                <c:pt idx="8049">
                  <c:v>0</c:v>
                </c:pt>
                <c:pt idx="8050">
                  <c:v>0</c:v>
                </c:pt>
                <c:pt idx="8051">
                  <c:v>0</c:v>
                </c:pt>
                <c:pt idx="8052">
                  <c:v>0</c:v>
                </c:pt>
                <c:pt idx="8053">
                  <c:v>0</c:v>
                </c:pt>
                <c:pt idx="8054">
                  <c:v>0</c:v>
                </c:pt>
                <c:pt idx="8055">
                  <c:v>0</c:v>
                </c:pt>
                <c:pt idx="8056">
                  <c:v>0</c:v>
                </c:pt>
                <c:pt idx="8057">
                  <c:v>0</c:v>
                </c:pt>
                <c:pt idx="8058">
                  <c:v>0</c:v>
                </c:pt>
                <c:pt idx="8059">
                  <c:v>0</c:v>
                </c:pt>
                <c:pt idx="8060">
                  <c:v>0</c:v>
                </c:pt>
                <c:pt idx="8061">
                  <c:v>0</c:v>
                </c:pt>
                <c:pt idx="8062">
                  <c:v>0</c:v>
                </c:pt>
                <c:pt idx="8063">
                  <c:v>0</c:v>
                </c:pt>
                <c:pt idx="8064">
                  <c:v>0</c:v>
                </c:pt>
                <c:pt idx="8065">
                  <c:v>0</c:v>
                </c:pt>
                <c:pt idx="8066">
                  <c:v>0</c:v>
                </c:pt>
                <c:pt idx="8067">
                  <c:v>0</c:v>
                </c:pt>
                <c:pt idx="8068">
                  <c:v>0</c:v>
                </c:pt>
                <c:pt idx="8069">
                  <c:v>0</c:v>
                </c:pt>
                <c:pt idx="8070">
                  <c:v>0</c:v>
                </c:pt>
                <c:pt idx="8071">
                  <c:v>0</c:v>
                </c:pt>
                <c:pt idx="8072">
                  <c:v>0</c:v>
                </c:pt>
                <c:pt idx="8073">
                  <c:v>0</c:v>
                </c:pt>
                <c:pt idx="8074">
                  <c:v>0</c:v>
                </c:pt>
                <c:pt idx="8075">
                  <c:v>0</c:v>
                </c:pt>
                <c:pt idx="8076">
                  <c:v>0</c:v>
                </c:pt>
                <c:pt idx="8077">
                  <c:v>0</c:v>
                </c:pt>
                <c:pt idx="8078">
                  <c:v>0</c:v>
                </c:pt>
                <c:pt idx="8079">
                  <c:v>0</c:v>
                </c:pt>
                <c:pt idx="8080">
                  <c:v>0</c:v>
                </c:pt>
                <c:pt idx="8081">
                  <c:v>0</c:v>
                </c:pt>
                <c:pt idx="8082">
                  <c:v>0</c:v>
                </c:pt>
                <c:pt idx="8083">
                  <c:v>0</c:v>
                </c:pt>
                <c:pt idx="8084">
                  <c:v>0</c:v>
                </c:pt>
                <c:pt idx="8085">
                  <c:v>0</c:v>
                </c:pt>
                <c:pt idx="8086">
                  <c:v>0</c:v>
                </c:pt>
                <c:pt idx="8087">
                  <c:v>0</c:v>
                </c:pt>
                <c:pt idx="8088">
                  <c:v>0</c:v>
                </c:pt>
                <c:pt idx="8089">
                  <c:v>0</c:v>
                </c:pt>
                <c:pt idx="8090">
                  <c:v>0</c:v>
                </c:pt>
                <c:pt idx="8091">
                  <c:v>0</c:v>
                </c:pt>
                <c:pt idx="8092">
                  <c:v>0</c:v>
                </c:pt>
                <c:pt idx="8093">
                  <c:v>0</c:v>
                </c:pt>
                <c:pt idx="8094">
                  <c:v>0</c:v>
                </c:pt>
                <c:pt idx="8095">
                  <c:v>0</c:v>
                </c:pt>
                <c:pt idx="8096">
                  <c:v>0</c:v>
                </c:pt>
                <c:pt idx="8097">
                  <c:v>0</c:v>
                </c:pt>
                <c:pt idx="8098">
                  <c:v>0</c:v>
                </c:pt>
                <c:pt idx="8099">
                  <c:v>0</c:v>
                </c:pt>
                <c:pt idx="8100">
                  <c:v>0</c:v>
                </c:pt>
                <c:pt idx="8101">
                  <c:v>0</c:v>
                </c:pt>
                <c:pt idx="8102">
                  <c:v>0</c:v>
                </c:pt>
                <c:pt idx="8103">
                  <c:v>0</c:v>
                </c:pt>
                <c:pt idx="8104">
                  <c:v>0</c:v>
                </c:pt>
                <c:pt idx="8105">
                  <c:v>0</c:v>
                </c:pt>
                <c:pt idx="8106">
                  <c:v>0</c:v>
                </c:pt>
                <c:pt idx="8107">
                  <c:v>0</c:v>
                </c:pt>
                <c:pt idx="8108">
                  <c:v>0</c:v>
                </c:pt>
                <c:pt idx="8109">
                  <c:v>0</c:v>
                </c:pt>
                <c:pt idx="8110">
                  <c:v>0</c:v>
                </c:pt>
                <c:pt idx="8111">
                  <c:v>0</c:v>
                </c:pt>
                <c:pt idx="8112">
                  <c:v>0</c:v>
                </c:pt>
                <c:pt idx="8113">
                  <c:v>0</c:v>
                </c:pt>
                <c:pt idx="8114">
                  <c:v>0</c:v>
                </c:pt>
                <c:pt idx="8115">
                  <c:v>0</c:v>
                </c:pt>
                <c:pt idx="8116">
                  <c:v>0</c:v>
                </c:pt>
                <c:pt idx="8117">
                  <c:v>0</c:v>
                </c:pt>
                <c:pt idx="8118">
                  <c:v>0</c:v>
                </c:pt>
                <c:pt idx="8119">
                  <c:v>0</c:v>
                </c:pt>
                <c:pt idx="8120">
                  <c:v>0</c:v>
                </c:pt>
                <c:pt idx="8121">
                  <c:v>0</c:v>
                </c:pt>
                <c:pt idx="8122">
                  <c:v>0</c:v>
                </c:pt>
                <c:pt idx="8123">
                  <c:v>0</c:v>
                </c:pt>
                <c:pt idx="8124">
                  <c:v>0</c:v>
                </c:pt>
                <c:pt idx="8125">
                  <c:v>0</c:v>
                </c:pt>
                <c:pt idx="8126">
                  <c:v>0</c:v>
                </c:pt>
                <c:pt idx="8127">
                  <c:v>0</c:v>
                </c:pt>
                <c:pt idx="8128">
                  <c:v>0</c:v>
                </c:pt>
                <c:pt idx="8129">
                  <c:v>0</c:v>
                </c:pt>
                <c:pt idx="8130">
                  <c:v>0</c:v>
                </c:pt>
                <c:pt idx="8131">
                  <c:v>0</c:v>
                </c:pt>
                <c:pt idx="8132">
                  <c:v>0</c:v>
                </c:pt>
                <c:pt idx="8133">
                  <c:v>0</c:v>
                </c:pt>
                <c:pt idx="8134">
                  <c:v>0</c:v>
                </c:pt>
                <c:pt idx="8135">
                  <c:v>0</c:v>
                </c:pt>
                <c:pt idx="8136">
                  <c:v>0</c:v>
                </c:pt>
                <c:pt idx="8137">
                  <c:v>0</c:v>
                </c:pt>
                <c:pt idx="8138">
                  <c:v>0</c:v>
                </c:pt>
                <c:pt idx="8139">
                  <c:v>0</c:v>
                </c:pt>
                <c:pt idx="8140">
                  <c:v>0</c:v>
                </c:pt>
                <c:pt idx="8141">
                  <c:v>0</c:v>
                </c:pt>
                <c:pt idx="8142">
                  <c:v>0</c:v>
                </c:pt>
                <c:pt idx="8143">
                  <c:v>0</c:v>
                </c:pt>
                <c:pt idx="8144">
                  <c:v>0</c:v>
                </c:pt>
                <c:pt idx="8145">
                  <c:v>0</c:v>
                </c:pt>
                <c:pt idx="8146">
                  <c:v>0</c:v>
                </c:pt>
                <c:pt idx="8147">
                  <c:v>0</c:v>
                </c:pt>
                <c:pt idx="8148">
                  <c:v>0</c:v>
                </c:pt>
                <c:pt idx="8149">
                  <c:v>0</c:v>
                </c:pt>
                <c:pt idx="8150">
                  <c:v>0</c:v>
                </c:pt>
                <c:pt idx="8151">
                  <c:v>0</c:v>
                </c:pt>
                <c:pt idx="8152">
                  <c:v>0</c:v>
                </c:pt>
                <c:pt idx="8153">
                  <c:v>0</c:v>
                </c:pt>
                <c:pt idx="8154">
                  <c:v>0</c:v>
                </c:pt>
                <c:pt idx="8155">
                  <c:v>0</c:v>
                </c:pt>
                <c:pt idx="8156">
                  <c:v>0</c:v>
                </c:pt>
                <c:pt idx="8157">
                  <c:v>0</c:v>
                </c:pt>
                <c:pt idx="8158">
                  <c:v>0</c:v>
                </c:pt>
                <c:pt idx="8159">
                  <c:v>0</c:v>
                </c:pt>
                <c:pt idx="8160">
                  <c:v>0</c:v>
                </c:pt>
                <c:pt idx="8161">
                  <c:v>0</c:v>
                </c:pt>
                <c:pt idx="8162">
                  <c:v>0</c:v>
                </c:pt>
                <c:pt idx="8163">
                  <c:v>0</c:v>
                </c:pt>
                <c:pt idx="8164">
                  <c:v>0</c:v>
                </c:pt>
                <c:pt idx="8165">
                  <c:v>0</c:v>
                </c:pt>
                <c:pt idx="8166">
                  <c:v>0</c:v>
                </c:pt>
                <c:pt idx="8167">
                  <c:v>0</c:v>
                </c:pt>
                <c:pt idx="8168">
                  <c:v>0</c:v>
                </c:pt>
                <c:pt idx="8169">
                  <c:v>0</c:v>
                </c:pt>
                <c:pt idx="8170">
                  <c:v>0</c:v>
                </c:pt>
                <c:pt idx="8171">
                  <c:v>0</c:v>
                </c:pt>
                <c:pt idx="8172">
                  <c:v>0</c:v>
                </c:pt>
                <c:pt idx="8173">
                  <c:v>0</c:v>
                </c:pt>
                <c:pt idx="8174">
                  <c:v>0</c:v>
                </c:pt>
                <c:pt idx="8175">
                  <c:v>0</c:v>
                </c:pt>
                <c:pt idx="8176">
                  <c:v>0</c:v>
                </c:pt>
                <c:pt idx="8177">
                  <c:v>0</c:v>
                </c:pt>
                <c:pt idx="8178">
                  <c:v>0</c:v>
                </c:pt>
                <c:pt idx="8179">
                  <c:v>0</c:v>
                </c:pt>
                <c:pt idx="8180">
                  <c:v>0</c:v>
                </c:pt>
                <c:pt idx="8181">
                  <c:v>0</c:v>
                </c:pt>
                <c:pt idx="8182">
                  <c:v>0</c:v>
                </c:pt>
                <c:pt idx="8183">
                  <c:v>0</c:v>
                </c:pt>
                <c:pt idx="8184">
                  <c:v>0</c:v>
                </c:pt>
                <c:pt idx="8185">
                  <c:v>0</c:v>
                </c:pt>
                <c:pt idx="8186">
                  <c:v>0</c:v>
                </c:pt>
                <c:pt idx="8187">
                  <c:v>0</c:v>
                </c:pt>
                <c:pt idx="8188">
                  <c:v>0</c:v>
                </c:pt>
                <c:pt idx="8189">
                  <c:v>0</c:v>
                </c:pt>
                <c:pt idx="8190">
                  <c:v>0</c:v>
                </c:pt>
                <c:pt idx="8191">
                  <c:v>0</c:v>
                </c:pt>
                <c:pt idx="8192">
                  <c:v>0</c:v>
                </c:pt>
                <c:pt idx="8193">
                  <c:v>0</c:v>
                </c:pt>
                <c:pt idx="8194">
                  <c:v>0</c:v>
                </c:pt>
                <c:pt idx="8195">
                  <c:v>0</c:v>
                </c:pt>
                <c:pt idx="8196">
                  <c:v>0</c:v>
                </c:pt>
                <c:pt idx="8197">
                  <c:v>0</c:v>
                </c:pt>
                <c:pt idx="8198">
                  <c:v>0</c:v>
                </c:pt>
                <c:pt idx="8199">
                  <c:v>0</c:v>
                </c:pt>
                <c:pt idx="8200">
                  <c:v>0</c:v>
                </c:pt>
                <c:pt idx="8201">
                  <c:v>0</c:v>
                </c:pt>
                <c:pt idx="8202">
                  <c:v>0</c:v>
                </c:pt>
                <c:pt idx="8203">
                  <c:v>0</c:v>
                </c:pt>
                <c:pt idx="8204">
                  <c:v>0</c:v>
                </c:pt>
                <c:pt idx="8205">
                  <c:v>0</c:v>
                </c:pt>
                <c:pt idx="8206">
                  <c:v>0</c:v>
                </c:pt>
                <c:pt idx="8207">
                  <c:v>0</c:v>
                </c:pt>
                <c:pt idx="8208">
                  <c:v>0</c:v>
                </c:pt>
                <c:pt idx="8209">
                  <c:v>0</c:v>
                </c:pt>
                <c:pt idx="8210">
                  <c:v>0</c:v>
                </c:pt>
                <c:pt idx="8211">
                  <c:v>0</c:v>
                </c:pt>
                <c:pt idx="8212">
                  <c:v>0</c:v>
                </c:pt>
                <c:pt idx="8213">
                  <c:v>0</c:v>
                </c:pt>
                <c:pt idx="8214">
                  <c:v>0</c:v>
                </c:pt>
                <c:pt idx="8215">
                  <c:v>0</c:v>
                </c:pt>
                <c:pt idx="8216">
                  <c:v>0</c:v>
                </c:pt>
                <c:pt idx="8217">
                  <c:v>0</c:v>
                </c:pt>
                <c:pt idx="8218">
                  <c:v>0</c:v>
                </c:pt>
                <c:pt idx="8219">
                  <c:v>0</c:v>
                </c:pt>
                <c:pt idx="8220">
                  <c:v>0</c:v>
                </c:pt>
                <c:pt idx="8221">
                  <c:v>0</c:v>
                </c:pt>
                <c:pt idx="8222">
                  <c:v>0</c:v>
                </c:pt>
                <c:pt idx="8223">
                  <c:v>0</c:v>
                </c:pt>
                <c:pt idx="8224">
                  <c:v>0</c:v>
                </c:pt>
                <c:pt idx="8225">
                  <c:v>0</c:v>
                </c:pt>
                <c:pt idx="8226">
                  <c:v>0</c:v>
                </c:pt>
                <c:pt idx="8227">
                  <c:v>0</c:v>
                </c:pt>
                <c:pt idx="8228">
                  <c:v>0</c:v>
                </c:pt>
                <c:pt idx="8229">
                  <c:v>0</c:v>
                </c:pt>
                <c:pt idx="8230">
                  <c:v>0</c:v>
                </c:pt>
                <c:pt idx="8231">
                  <c:v>0</c:v>
                </c:pt>
                <c:pt idx="8232">
                  <c:v>0</c:v>
                </c:pt>
                <c:pt idx="8233">
                  <c:v>0</c:v>
                </c:pt>
                <c:pt idx="8234">
                  <c:v>0</c:v>
                </c:pt>
                <c:pt idx="8235">
                  <c:v>0</c:v>
                </c:pt>
                <c:pt idx="8236">
                  <c:v>0</c:v>
                </c:pt>
                <c:pt idx="8237">
                  <c:v>0</c:v>
                </c:pt>
                <c:pt idx="8238">
                  <c:v>0</c:v>
                </c:pt>
                <c:pt idx="8239">
                  <c:v>0</c:v>
                </c:pt>
                <c:pt idx="8240">
                  <c:v>0</c:v>
                </c:pt>
                <c:pt idx="8241">
                  <c:v>0</c:v>
                </c:pt>
                <c:pt idx="8242">
                  <c:v>0</c:v>
                </c:pt>
                <c:pt idx="8243">
                  <c:v>0</c:v>
                </c:pt>
                <c:pt idx="8244">
                  <c:v>0</c:v>
                </c:pt>
                <c:pt idx="8245">
                  <c:v>0</c:v>
                </c:pt>
                <c:pt idx="8246">
                  <c:v>0</c:v>
                </c:pt>
                <c:pt idx="8247">
                  <c:v>0</c:v>
                </c:pt>
                <c:pt idx="8248">
                  <c:v>0</c:v>
                </c:pt>
                <c:pt idx="8249">
                  <c:v>0</c:v>
                </c:pt>
                <c:pt idx="8250">
                  <c:v>0</c:v>
                </c:pt>
                <c:pt idx="8251">
                  <c:v>0</c:v>
                </c:pt>
                <c:pt idx="8252">
                  <c:v>0</c:v>
                </c:pt>
                <c:pt idx="8253">
                  <c:v>0</c:v>
                </c:pt>
                <c:pt idx="8254">
                  <c:v>0</c:v>
                </c:pt>
                <c:pt idx="8255">
                  <c:v>0</c:v>
                </c:pt>
                <c:pt idx="8256">
                  <c:v>0</c:v>
                </c:pt>
                <c:pt idx="8257">
                  <c:v>0</c:v>
                </c:pt>
                <c:pt idx="8258">
                  <c:v>0</c:v>
                </c:pt>
                <c:pt idx="8259">
                  <c:v>0</c:v>
                </c:pt>
                <c:pt idx="8260">
                  <c:v>0</c:v>
                </c:pt>
                <c:pt idx="8261">
                  <c:v>0</c:v>
                </c:pt>
                <c:pt idx="8262">
                  <c:v>0</c:v>
                </c:pt>
                <c:pt idx="8263">
                  <c:v>0</c:v>
                </c:pt>
                <c:pt idx="8264">
                  <c:v>0</c:v>
                </c:pt>
                <c:pt idx="8265">
                  <c:v>0</c:v>
                </c:pt>
                <c:pt idx="8266">
                  <c:v>0</c:v>
                </c:pt>
                <c:pt idx="8267">
                  <c:v>0</c:v>
                </c:pt>
                <c:pt idx="8268">
                  <c:v>0</c:v>
                </c:pt>
                <c:pt idx="8269">
                  <c:v>0</c:v>
                </c:pt>
                <c:pt idx="8270">
                  <c:v>0</c:v>
                </c:pt>
                <c:pt idx="8271">
                  <c:v>0</c:v>
                </c:pt>
                <c:pt idx="8272">
                  <c:v>0</c:v>
                </c:pt>
                <c:pt idx="8273">
                  <c:v>0</c:v>
                </c:pt>
                <c:pt idx="8274">
                  <c:v>0</c:v>
                </c:pt>
                <c:pt idx="8275">
                  <c:v>0</c:v>
                </c:pt>
                <c:pt idx="8276">
                  <c:v>0</c:v>
                </c:pt>
                <c:pt idx="8277">
                  <c:v>0</c:v>
                </c:pt>
                <c:pt idx="8278">
                  <c:v>0</c:v>
                </c:pt>
                <c:pt idx="8279">
                  <c:v>0</c:v>
                </c:pt>
                <c:pt idx="8280">
                  <c:v>0</c:v>
                </c:pt>
                <c:pt idx="8281">
                  <c:v>0</c:v>
                </c:pt>
                <c:pt idx="8282">
                  <c:v>0</c:v>
                </c:pt>
                <c:pt idx="8283">
                  <c:v>0</c:v>
                </c:pt>
                <c:pt idx="8284">
                  <c:v>0</c:v>
                </c:pt>
                <c:pt idx="8285">
                  <c:v>0</c:v>
                </c:pt>
                <c:pt idx="8286">
                  <c:v>0</c:v>
                </c:pt>
                <c:pt idx="8287">
                  <c:v>0</c:v>
                </c:pt>
                <c:pt idx="8288">
                  <c:v>0</c:v>
                </c:pt>
                <c:pt idx="8289">
                  <c:v>0</c:v>
                </c:pt>
                <c:pt idx="8290">
                  <c:v>0</c:v>
                </c:pt>
                <c:pt idx="8291">
                  <c:v>0</c:v>
                </c:pt>
                <c:pt idx="8292">
                  <c:v>0</c:v>
                </c:pt>
                <c:pt idx="8293">
                  <c:v>0</c:v>
                </c:pt>
                <c:pt idx="8294">
                  <c:v>0</c:v>
                </c:pt>
                <c:pt idx="8295">
                  <c:v>0</c:v>
                </c:pt>
                <c:pt idx="8296">
                  <c:v>0</c:v>
                </c:pt>
                <c:pt idx="8297">
                  <c:v>0</c:v>
                </c:pt>
                <c:pt idx="8298">
                  <c:v>0</c:v>
                </c:pt>
                <c:pt idx="8299">
                  <c:v>0</c:v>
                </c:pt>
                <c:pt idx="8300">
                  <c:v>0</c:v>
                </c:pt>
                <c:pt idx="8301">
                  <c:v>0</c:v>
                </c:pt>
                <c:pt idx="8302">
                  <c:v>0</c:v>
                </c:pt>
                <c:pt idx="8303">
                  <c:v>0</c:v>
                </c:pt>
                <c:pt idx="8304">
                  <c:v>0</c:v>
                </c:pt>
                <c:pt idx="8305">
                  <c:v>0</c:v>
                </c:pt>
                <c:pt idx="8306">
                  <c:v>0</c:v>
                </c:pt>
                <c:pt idx="8307">
                  <c:v>0</c:v>
                </c:pt>
                <c:pt idx="8308">
                  <c:v>0</c:v>
                </c:pt>
                <c:pt idx="8309">
                  <c:v>0</c:v>
                </c:pt>
                <c:pt idx="8310">
                  <c:v>0</c:v>
                </c:pt>
                <c:pt idx="8311">
                  <c:v>0</c:v>
                </c:pt>
                <c:pt idx="8312">
                  <c:v>0</c:v>
                </c:pt>
                <c:pt idx="8313">
                  <c:v>0</c:v>
                </c:pt>
                <c:pt idx="8314">
                  <c:v>0</c:v>
                </c:pt>
                <c:pt idx="8315">
                  <c:v>0</c:v>
                </c:pt>
                <c:pt idx="8316">
                  <c:v>0</c:v>
                </c:pt>
                <c:pt idx="8317">
                  <c:v>0</c:v>
                </c:pt>
                <c:pt idx="8318">
                  <c:v>0</c:v>
                </c:pt>
                <c:pt idx="8319">
                  <c:v>0</c:v>
                </c:pt>
                <c:pt idx="8320">
                  <c:v>0</c:v>
                </c:pt>
                <c:pt idx="8321">
                  <c:v>0</c:v>
                </c:pt>
                <c:pt idx="8322">
                  <c:v>0</c:v>
                </c:pt>
                <c:pt idx="8323">
                  <c:v>0</c:v>
                </c:pt>
                <c:pt idx="8324">
                  <c:v>0</c:v>
                </c:pt>
                <c:pt idx="8325">
                  <c:v>0</c:v>
                </c:pt>
                <c:pt idx="8326">
                  <c:v>0</c:v>
                </c:pt>
                <c:pt idx="8327">
                  <c:v>0</c:v>
                </c:pt>
                <c:pt idx="8328">
                  <c:v>0</c:v>
                </c:pt>
                <c:pt idx="8329">
                  <c:v>0</c:v>
                </c:pt>
                <c:pt idx="8330">
                  <c:v>0</c:v>
                </c:pt>
                <c:pt idx="8331">
                  <c:v>0</c:v>
                </c:pt>
                <c:pt idx="8332">
                  <c:v>0</c:v>
                </c:pt>
                <c:pt idx="8333">
                  <c:v>0</c:v>
                </c:pt>
                <c:pt idx="8334">
                  <c:v>0</c:v>
                </c:pt>
                <c:pt idx="8335">
                  <c:v>0</c:v>
                </c:pt>
                <c:pt idx="8336">
                  <c:v>0</c:v>
                </c:pt>
                <c:pt idx="8337">
                  <c:v>0</c:v>
                </c:pt>
                <c:pt idx="8338">
                  <c:v>0</c:v>
                </c:pt>
                <c:pt idx="8339">
                  <c:v>0</c:v>
                </c:pt>
                <c:pt idx="8340">
                  <c:v>0</c:v>
                </c:pt>
                <c:pt idx="8341">
                  <c:v>0</c:v>
                </c:pt>
                <c:pt idx="8342">
                  <c:v>0</c:v>
                </c:pt>
                <c:pt idx="8343">
                  <c:v>0</c:v>
                </c:pt>
                <c:pt idx="8344">
                  <c:v>0</c:v>
                </c:pt>
                <c:pt idx="8345">
                  <c:v>0</c:v>
                </c:pt>
                <c:pt idx="8346">
                  <c:v>0</c:v>
                </c:pt>
                <c:pt idx="8347">
                  <c:v>0</c:v>
                </c:pt>
                <c:pt idx="8348">
                  <c:v>0</c:v>
                </c:pt>
                <c:pt idx="8349">
                  <c:v>0</c:v>
                </c:pt>
                <c:pt idx="8350">
                  <c:v>0</c:v>
                </c:pt>
                <c:pt idx="8351">
                  <c:v>0</c:v>
                </c:pt>
                <c:pt idx="8352">
                  <c:v>0</c:v>
                </c:pt>
                <c:pt idx="8353">
                  <c:v>0</c:v>
                </c:pt>
                <c:pt idx="8354">
                  <c:v>0</c:v>
                </c:pt>
                <c:pt idx="8355">
                  <c:v>0</c:v>
                </c:pt>
                <c:pt idx="8356">
                  <c:v>0</c:v>
                </c:pt>
                <c:pt idx="8357">
                  <c:v>0</c:v>
                </c:pt>
                <c:pt idx="8358">
                  <c:v>0</c:v>
                </c:pt>
                <c:pt idx="8359">
                  <c:v>0</c:v>
                </c:pt>
                <c:pt idx="8360">
                  <c:v>0</c:v>
                </c:pt>
                <c:pt idx="8361">
                  <c:v>0</c:v>
                </c:pt>
                <c:pt idx="8362">
                  <c:v>0</c:v>
                </c:pt>
                <c:pt idx="8363">
                  <c:v>0</c:v>
                </c:pt>
                <c:pt idx="8364">
                  <c:v>0</c:v>
                </c:pt>
                <c:pt idx="8365">
                  <c:v>0</c:v>
                </c:pt>
                <c:pt idx="8366">
                  <c:v>0</c:v>
                </c:pt>
                <c:pt idx="8367">
                  <c:v>0</c:v>
                </c:pt>
                <c:pt idx="8368">
                  <c:v>0</c:v>
                </c:pt>
                <c:pt idx="8369">
                  <c:v>0</c:v>
                </c:pt>
                <c:pt idx="8370">
                  <c:v>0</c:v>
                </c:pt>
                <c:pt idx="8371">
                  <c:v>0</c:v>
                </c:pt>
                <c:pt idx="8372">
                  <c:v>0</c:v>
                </c:pt>
                <c:pt idx="8373">
                  <c:v>0</c:v>
                </c:pt>
                <c:pt idx="8374">
                  <c:v>0</c:v>
                </c:pt>
                <c:pt idx="8375">
                  <c:v>0</c:v>
                </c:pt>
                <c:pt idx="8376">
                  <c:v>0</c:v>
                </c:pt>
                <c:pt idx="8377">
                  <c:v>0</c:v>
                </c:pt>
                <c:pt idx="8378">
                  <c:v>0</c:v>
                </c:pt>
                <c:pt idx="8379">
                  <c:v>0</c:v>
                </c:pt>
                <c:pt idx="8380">
                  <c:v>0</c:v>
                </c:pt>
                <c:pt idx="8381">
                  <c:v>0</c:v>
                </c:pt>
                <c:pt idx="8382">
                  <c:v>0</c:v>
                </c:pt>
                <c:pt idx="8383">
                  <c:v>0</c:v>
                </c:pt>
                <c:pt idx="8384">
                  <c:v>0</c:v>
                </c:pt>
                <c:pt idx="8385">
                  <c:v>0</c:v>
                </c:pt>
                <c:pt idx="8386">
                  <c:v>0</c:v>
                </c:pt>
                <c:pt idx="8387">
                  <c:v>0</c:v>
                </c:pt>
                <c:pt idx="8388">
                  <c:v>0</c:v>
                </c:pt>
                <c:pt idx="8389">
                  <c:v>0</c:v>
                </c:pt>
                <c:pt idx="8390">
                  <c:v>0</c:v>
                </c:pt>
                <c:pt idx="8391">
                  <c:v>0</c:v>
                </c:pt>
                <c:pt idx="8392">
                  <c:v>0</c:v>
                </c:pt>
                <c:pt idx="8393">
                  <c:v>0</c:v>
                </c:pt>
                <c:pt idx="8394">
                  <c:v>0</c:v>
                </c:pt>
                <c:pt idx="8395">
                  <c:v>0</c:v>
                </c:pt>
                <c:pt idx="8396">
                  <c:v>0</c:v>
                </c:pt>
                <c:pt idx="8397">
                  <c:v>0</c:v>
                </c:pt>
                <c:pt idx="8398">
                  <c:v>0</c:v>
                </c:pt>
                <c:pt idx="8399">
                  <c:v>0</c:v>
                </c:pt>
                <c:pt idx="8400">
                  <c:v>0</c:v>
                </c:pt>
                <c:pt idx="8401">
                  <c:v>0</c:v>
                </c:pt>
                <c:pt idx="8402">
                  <c:v>0</c:v>
                </c:pt>
                <c:pt idx="8403">
                  <c:v>0</c:v>
                </c:pt>
                <c:pt idx="8404">
                  <c:v>0</c:v>
                </c:pt>
                <c:pt idx="8405">
                  <c:v>0</c:v>
                </c:pt>
                <c:pt idx="8406">
                  <c:v>0</c:v>
                </c:pt>
                <c:pt idx="8407">
                  <c:v>0</c:v>
                </c:pt>
                <c:pt idx="8408">
                  <c:v>0</c:v>
                </c:pt>
                <c:pt idx="8409">
                  <c:v>0</c:v>
                </c:pt>
                <c:pt idx="8410">
                  <c:v>0</c:v>
                </c:pt>
                <c:pt idx="8411">
                  <c:v>0</c:v>
                </c:pt>
                <c:pt idx="8412">
                  <c:v>0</c:v>
                </c:pt>
                <c:pt idx="8413">
                  <c:v>0</c:v>
                </c:pt>
                <c:pt idx="8414">
                  <c:v>0</c:v>
                </c:pt>
                <c:pt idx="8415">
                  <c:v>0</c:v>
                </c:pt>
                <c:pt idx="8416">
                  <c:v>0</c:v>
                </c:pt>
                <c:pt idx="8417">
                  <c:v>0</c:v>
                </c:pt>
                <c:pt idx="8418">
                  <c:v>0</c:v>
                </c:pt>
                <c:pt idx="8419">
                  <c:v>0</c:v>
                </c:pt>
                <c:pt idx="8420">
                  <c:v>0</c:v>
                </c:pt>
                <c:pt idx="8421">
                  <c:v>0</c:v>
                </c:pt>
                <c:pt idx="8422">
                  <c:v>0</c:v>
                </c:pt>
                <c:pt idx="8423">
                  <c:v>0</c:v>
                </c:pt>
                <c:pt idx="8424">
                  <c:v>0</c:v>
                </c:pt>
                <c:pt idx="8425">
                  <c:v>0</c:v>
                </c:pt>
                <c:pt idx="8426">
                  <c:v>0</c:v>
                </c:pt>
                <c:pt idx="8427">
                  <c:v>0</c:v>
                </c:pt>
                <c:pt idx="8428">
                  <c:v>0</c:v>
                </c:pt>
                <c:pt idx="8429">
                  <c:v>0</c:v>
                </c:pt>
                <c:pt idx="8430">
                  <c:v>0</c:v>
                </c:pt>
                <c:pt idx="8431">
                  <c:v>0</c:v>
                </c:pt>
                <c:pt idx="8432">
                  <c:v>0</c:v>
                </c:pt>
                <c:pt idx="8433">
                  <c:v>0</c:v>
                </c:pt>
                <c:pt idx="8434">
                  <c:v>0</c:v>
                </c:pt>
                <c:pt idx="8435">
                  <c:v>0</c:v>
                </c:pt>
                <c:pt idx="8436">
                  <c:v>0</c:v>
                </c:pt>
                <c:pt idx="8437">
                  <c:v>0</c:v>
                </c:pt>
                <c:pt idx="8438">
                  <c:v>0</c:v>
                </c:pt>
                <c:pt idx="8439">
                  <c:v>0</c:v>
                </c:pt>
                <c:pt idx="8440">
                  <c:v>0</c:v>
                </c:pt>
                <c:pt idx="8441">
                  <c:v>0</c:v>
                </c:pt>
                <c:pt idx="8442">
                  <c:v>0</c:v>
                </c:pt>
                <c:pt idx="8443">
                  <c:v>0</c:v>
                </c:pt>
                <c:pt idx="8444">
                  <c:v>0</c:v>
                </c:pt>
                <c:pt idx="8445">
                  <c:v>0</c:v>
                </c:pt>
                <c:pt idx="8446">
                  <c:v>0</c:v>
                </c:pt>
                <c:pt idx="8447">
                  <c:v>0</c:v>
                </c:pt>
                <c:pt idx="8448">
                  <c:v>0</c:v>
                </c:pt>
                <c:pt idx="8449">
                  <c:v>0</c:v>
                </c:pt>
                <c:pt idx="8450">
                  <c:v>0</c:v>
                </c:pt>
                <c:pt idx="8451">
                  <c:v>0</c:v>
                </c:pt>
                <c:pt idx="8452">
                  <c:v>0</c:v>
                </c:pt>
                <c:pt idx="8453">
                  <c:v>0</c:v>
                </c:pt>
                <c:pt idx="8454">
                  <c:v>0</c:v>
                </c:pt>
                <c:pt idx="8455">
                  <c:v>0</c:v>
                </c:pt>
                <c:pt idx="8456">
                  <c:v>0</c:v>
                </c:pt>
                <c:pt idx="8457">
                  <c:v>0</c:v>
                </c:pt>
                <c:pt idx="8458">
                  <c:v>0</c:v>
                </c:pt>
                <c:pt idx="8459">
                  <c:v>0</c:v>
                </c:pt>
                <c:pt idx="8460">
                  <c:v>0</c:v>
                </c:pt>
                <c:pt idx="8461">
                  <c:v>0</c:v>
                </c:pt>
                <c:pt idx="8462">
                  <c:v>0</c:v>
                </c:pt>
                <c:pt idx="8463">
                  <c:v>0</c:v>
                </c:pt>
                <c:pt idx="8464">
                  <c:v>0</c:v>
                </c:pt>
                <c:pt idx="8465">
                  <c:v>0</c:v>
                </c:pt>
                <c:pt idx="8466">
                  <c:v>0</c:v>
                </c:pt>
                <c:pt idx="8467">
                  <c:v>0</c:v>
                </c:pt>
                <c:pt idx="8468">
                  <c:v>0</c:v>
                </c:pt>
                <c:pt idx="8469">
                  <c:v>0</c:v>
                </c:pt>
                <c:pt idx="8470">
                  <c:v>0</c:v>
                </c:pt>
                <c:pt idx="8471">
                  <c:v>0</c:v>
                </c:pt>
                <c:pt idx="8472">
                  <c:v>0</c:v>
                </c:pt>
                <c:pt idx="8473">
                  <c:v>0</c:v>
                </c:pt>
                <c:pt idx="8474">
                  <c:v>0</c:v>
                </c:pt>
                <c:pt idx="8475">
                  <c:v>0</c:v>
                </c:pt>
                <c:pt idx="8476">
                  <c:v>0</c:v>
                </c:pt>
                <c:pt idx="8477">
                  <c:v>0</c:v>
                </c:pt>
                <c:pt idx="8478">
                  <c:v>0</c:v>
                </c:pt>
                <c:pt idx="8479">
                  <c:v>0</c:v>
                </c:pt>
                <c:pt idx="8480">
                  <c:v>0</c:v>
                </c:pt>
                <c:pt idx="8481">
                  <c:v>0</c:v>
                </c:pt>
                <c:pt idx="8482">
                  <c:v>0</c:v>
                </c:pt>
                <c:pt idx="8483">
                  <c:v>0</c:v>
                </c:pt>
                <c:pt idx="8484">
                  <c:v>0</c:v>
                </c:pt>
                <c:pt idx="8485">
                  <c:v>0</c:v>
                </c:pt>
                <c:pt idx="8486">
                  <c:v>0</c:v>
                </c:pt>
                <c:pt idx="8487">
                  <c:v>0</c:v>
                </c:pt>
                <c:pt idx="8488">
                  <c:v>0</c:v>
                </c:pt>
                <c:pt idx="8489">
                  <c:v>0</c:v>
                </c:pt>
                <c:pt idx="8490">
                  <c:v>0</c:v>
                </c:pt>
                <c:pt idx="8491">
                  <c:v>0</c:v>
                </c:pt>
                <c:pt idx="8492">
                  <c:v>0</c:v>
                </c:pt>
                <c:pt idx="8493">
                  <c:v>0</c:v>
                </c:pt>
                <c:pt idx="8494">
                  <c:v>0</c:v>
                </c:pt>
                <c:pt idx="8495">
                  <c:v>0</c:v>
                </c:pt>
                <c:pt idx="8496">
                  <c:v>0</c:v>
                </c:pt>
                <c:pt idx="8497">
                  <c:v>0</c:v>
                </c:pt>
                <c:pt idx="8498">
                  <c:v>0</c:v>
                </c:pt>
                <c:pt idx="8499">
                  <c:v>0</c:v>
                </c:pt>
                <c:pt idx="8500">
                  <c:v>0</c:v>
                </c:pt>
                <c:pt idx="8501">
                  <c:v>0</c:v>
                </c:pt>
                <c:pt idx="8502">
                  <c:v>0</c:v>
                </c:pt>
                <c:pt idx="8503">
                  <c:v>0</c:v>
                </c:pt>
                <c:pt idx="8504">
                  <c:v>0</c:v>
                </c:pt>
                <c:pt idx="8505">
                  <c:v>0</c:v>
                </c:pt>
                <c:pt idx="8506">
                  <c:v>0</c:v>
                </c:pt>
                <c:pt idx="8507">
                  <c:v>0</c:v>
                </c:pt>
                <c:pt idx="8508">
                  <c:v>0</c:v>
                </c:pt>
                <c:pt idx="8509">
                  <c:v>0</c:v>
                </c:pt>
                <c:pt idx="8510">
                  <c:v>0</c:v>
                </c:pt>
                <c:pt idx="8511">
                  <c:v>0</c:v>
                </c:pt>
                <c:pt idx="8512">
                  <c:v>0</c:v>
                </c:pt>
                <c:pt idx="8513">
                  <c:v>0</c:v>
                </c:pt>
                <c:pt idx="8514">
                  <c:v>0</c:v>
                </c:pt>
                <c:pt idx="8515">
                  <c:v>0</c:v>
                </c:pt>
                <c:pt idx="8516">
                  <c:v>0</c:v>
                </c:pt>
                <c:pt idx="8517">
                  <c:v>0</c:v>
                </c:pt>
                <c:pt idx="8518">
                  <c:v>0</c:v>
                </c:pt>
                <c:pt idx="8519">
                  <c:v>0</c:v>
                </c:pt>
                <c:pt idx="8520">
                  <c:v>0</c:v>
                </c:pt>
                <c:pt idx="8521">
                  <c:v>0</c:v>
                </c:pt>
                <c:pt idx="8522">
                  <c:v>0</c:v>
                </c:pt>
                <c:pt idx="8523">
                  <c:v>0</c:v>
                </c:pt>
                <c:pt idx="8524">
                  <c:v>0</c:v>
                </c:pt>
                <c:pt idx="8525">
                  <c:v>0</c:v>
                </c:pt>
                <c:pt idx="8526">
                  <c:v>0</c:v>
                </c:pt>
                <c:pt idx="8527">
                  <c:v>0</c:v>
                </c:pt>
                <c:pt idx="8528">
                  <c:v>0</c:v>
                </c:pt>
                <c:pt idx="8529">
                  <c:v>0</c:v>
                </c:pt>
                <c:pt idx="8530">
                  <c:v>0</c:v>
                </c:pt>
                <c:pt idx="8531">
                  <c:v>0</c:v>
                </c:pt>
                <c:pt idx="8532">
                  <c:v>0</c:v>
                </c:pt>
                <c:pt idx="8533">
                  <c:v>0</c:v>
                </c:pt>
                <c:pt idx="8534">
                  <c:v>0</c:v>
                </c:pt>
                <c:pt idx="8535">
                  <c:v>0</c:v>
                </c:pt>
                <c:pt idx="8536">
                  <c:v>0</c:v>
                </c:pt>
                <c:pt idx="8537">
                  <c:v>0</c:v>
                </c:pt>
                <c:pt idx="8538">
                  <c:v>0</c:v>
                </c:pt>
                <c:pt idx="8539">
                  <c:v>0</c:v>
                </c:pt>
                <c:pt idx="8540">
                  <c:v>0</c:v>
                </c:pt>
                <c:pt idx="8541">
                  <c:v>0</c:v>
                </c:pt>
                <c:pt idx="8542">
                  <c:v>0</c:v>
                </c:pt>
                <c:pt idx="8543">
                  <c:v>0</c:v>
                </c:pt>
                <c:pt idx="8544">
                  <c:v>0</c:v>
                </c:pt>
                <c:pt idx="8545">
                  <c:v>0</c:v>
                </c:pt>
                <c:pt idx="8546">
                  <c:v>0</c:v>
                </c:pt>
                <c:pt idx="8547">
                  <c:v>0</c:v>
                </c:pt>
                <c:pt idx="8548">
                  <c:v>0</c:v>
                </c:pt>
                <c:pt idx="8549">
                  <c:v>0</c:v>
                </c:pt>
                <c:pt idx="8550">
                  <c:v>0</c:v>
                </c:pt>
                <c:pt idx="8551">
                  <c:v>0</c:v>
                </c:pt>
                <c:pt idx="8552">
                  <c:v>0</c:v>
                </c:pt>
                <c:pt idx="8553">
                  <c:v>0</c:v>
                </c:pt>
                <c:pt idx="8554">
                  <c:v>0</c:v>
                </c:pt>
                <c:pt idx="8555">
                  <c:v>0</c:v>
                </c:pt>
                <c:pt idx="8556">
                  <c:v>0</c:v>
                </c:pt>
                <c:pt idx="8557">
                  <c:v>0</c:v>
                </c:pt>
                <c:pt idx="8558">
                  <c:v>0</c:v>
                </c:pt>
                <c:pt idx="8559">
                  <c:v>0</c:v>
                </c:pt>
                <c:pt idx="8560">
                  <c:v>0</c:v>
                </c:pt>
                <c:pt idx="8561">
                  <c:v>0</c:v>
                </c:pt>
                <c:pt idx="8562">
                  <c:v>0</c:v>
                </c:pt>
                <c:pt idx="8563">
                  <c:v>0</c:v>
                </c:pt>
                <c:pt idx="8564">
                  <c:v>0</c:v>
                </c:pt>
                <c:pt idx="8565">
                  <c:v>0</c:v>
                </c:pt>
                <c:pt idx="8566">
                  <c:v>0</c:v>
                </c:pt>
                <c:pt idx="8567">
                  <c:v>0</c:v>
                </c:pt>
                <c:pt idx="8568">
                  <c:v>0</c:v>
                </c:pt>
                <c:pt idx="8569">
                  <c:v>0</c:v>
                </c:pt>
                <c:pt idx="8570">
                  <c:v>0</c:v>
                </c:pt>
                <c:pt idx="8571">
                  <c:v>0</c:v>
                </c:pt>
                <c:pt idx="8572">
                  <c:v>0</c:v>
                </c:pt>
                <c:pt idx="8573">
                  <c:v>0</c:v>
                </c:pt>
                <c:pt idx="8574">
                  <c:v>0</c:v>
                </c:pt>
                <c:pt idx="8575">
                  <c:v>0</c:v>
                </c:pt>
                <c:pt idx="8576">
                  <c:v>0</c:v>
                </c:pt>
                <c:pt idx="8577">
                  <c:v>0</c:v>
                </c:pt>
                <c:pt idx="8578">
                  <c:v>0</c:v>
                </c:pt>
                <c:pt idx="8579">
                  <c:v>0</c:v>
                </c:pt>
                <c:pt idx="8580">
                  <c:v>0</c:v>
                </c:pt>
                <c:pt idx="8581">
                  <c:v>0</c:v>
                </c:pt>
                <c:pt idx="8582">
                  <c:v>0</c:v>
                </c:pt>
                <c:pt idx="8583">
                  <c:v>0</c:v>
                </c:pt>
                <c:pt idx="8584">
                  <c:v>0</c:v>
                </c:pt>
                <c:pt idx="8585">
                  <c:v>0</c:v>
                </c:pt>
                <c:pt idx="8586">
                  <c:v>0</c:v>
                </c:pt>
                <c:pt idx="8587">
                  <c:v>0</c:v>
                </c:pt>
                <c:pt idx="8588">
                  <c:v>0</c:v>
                </c:pt>
                <c:pt idx="8589">
                  <c:v>0</c:v>
                </c:pt>
                <c:pt idx="8590">
                  <c:v>0</c:v>
                </c:pt>
                <c:pt idx="8591">
                  <c:v>0</c:v>
                </c:pt>
                <c:pt idx="8592">
                  <c:v>0</c:v>
                </c:pt>
                <c:pt idx="8593">
                  <c:v>0</c:v>
                </c:pt>
                <c:pt idx="8594">
                  <c:v>0</c:v>
                </c:pt>
                <c:pt idx="8595">
                  <c:v>0</c:v>
                </c:pt>
                <c:pt idx="8596">
                  <c:v>0</c:v>
                </c:pt>
                <c:pt idx="8597">
                  <c:v>0</c:v>
                </c:pt>
                <c:pt idx="8598">
                  <c:v>0</c:v>
                </c:pt>
                <c:pt idx="8599">
                  <c:v>0</c:v>
                </c:pt>
                <c:pt idx="8600">
                  <c:v>0</c:v>
                </c:pt>
                <c:pt idx="8601">
                  <c:v>0</c:v>
                </c:pt>
                <c:pt idx="8602">
                  <c:v>0</c:v>
                </c:pt>
                <c:pt idx="8603">
                  <c:v>0</c:v>
                </c:pt>
                <c:pt idx="8604">
                  <c:v>0</c:v>
                </c:pt>
                <c:pt idx="8605">
                  <c:v>0</c:v>
                </c:pt>
                <c:pt idx="8606">
                  <c:v>0</c:v>
                </c:pt>
                <c:pt idx="8607">
                  <c:v>0</c:v>
                </c:pt>
                <c:pt idx="8608">
                  <c:v>0</c:v>
                </c:pt>
                <c:pt idx="8609">
                  <c:v>0</c:v>
                </c:pt>
                <c:pt idx="8610">
                  <c:v>0</c:v>
                </c:pt>
                <c:pt idx="8611">
                  <c:v>0</c:v>
                </c:pt>
                <c:pt idx="8612">
                  <c:v>0</c:v>
                </c:pt>
                <c:pt idx="8613">
                  <c:v>0</c:v>
                </c:pt>
                <c:pt idx="8614">
                  <c:v>0</c:v>
                </c:pt>
                <c:pt idx="8615">
                  <c:v>0</c:v>
                </c:pt>
                <c:pt idx="8616">
                  <c:v>0</c:v>
                </c:pt>
                <c:pt idx="8617">
                  <c:v>0</c:v>
                </c:pt>
                <c:pt idx="8618">
                  <c:v>0</c:v>
                </c:pt>
                <c:pt idx="8619">
                  <c:v>0</c:v>
                </c:pt>
                <c:pt idx="8620">
                  <c:v>0</c:v>
                </c:pt>
                <c:pt idx="8621">
                  <c:v>0</c:v>
                </c:pt>
                <c:pt idx="8622">
                  <c:v>0</c:v>
                </c:pt>
                <c:pt idx="8623">
                  <c:v>0</c:v>
                </c:pt>
                <c:pt idx="8624">
                  <c:v>0</c:v>
                </c:pt>
                <c:pt idx="8625">
                  <c:v>0</c:v>
                </c:pt>
                <c:pt idx="8626">
                  <c:v>0</c:v>
                </c:pt>
                <c:pt idx="8627">
                  <c:v>0</c:v>
                </c:pt>
                <c:pt idx="8628">
                  <c:v>0</c:v>
                </c:pt>
                <c:pt idx="8629">
                  <c:v>0</c:v>
                </c:pt>
                <c:pt idx="8630">
                  <c:v>0</c:v>
                </c:pt>
                <c:pt idx="8631">
                  <c:v>0</c:v>
                </c:pt>
                <c:pt idx="8632">
                  <c:v>0</c:v>
                </c:pt>
                <c:pt idx="8633">
                  <c:v>0</c:v>
                </c:pt>
                <c:pt idx="8634">
                  <c:v>0</c:v>
                </c:pt>
                <c:pt idx="8635">
                  <c:v>0</c:v>
                </c:pt>
                <c:pt idx="8636">
                  <c:v>0</c:v>
                </c:pt>
                <c:pt idx="8637">
                  <c:v>0</c:v>
                </c:pt>
                <c:pt idx="8638">
                  <c:v>0</c:v>
                </c:pt>
                <c:pt idx="8639">
                  <c:v>0</c:v>
                </c:pt>
                <c:pt idx="8640">
                  <c:v>0</c:v>
                </c:pt>
                <c:pt idx="8641">
                  <c:v>0</c:v>
                </c:pt>
                <c:pt idx="8642">
                  <c:v>0</c:v>
                </c:pt>
                <c:pt idx="8643">
                  <c:v>0</c:v>
                </c:pt>
                <c:pt idx="8644">
                  <c:v>0</c:v>
                </c:pt>
                <c:pt idx="8645">
                  <c:v>0</c:v>
                </c:pt>
                <c:pt idx="8646">
                  <c:v>0</c:v>
                </c:pt>
                <c:pt idx="8647">
                  <c:v>0</c:v>
                </c:pt>
                <c:pt idx="8648">
                  <c:v>0</c:v>
                </c:pt>
                <c:pt idx="8649">
                  <c:v>0</c:v>
                </c:pt>
                <c:pt idx="8650">
                  <c:v>0</c:v>
                </c:pt>
                <c:pt idx="8651">
                  <c:v>0</c:v>
                </c:pt>
                <c:pt idx="8652">
                  <c:v>0</c:v>
                </c:pt>
                <c:pt idx="8653">
                  <c:v>0</c:v>
                </c:pt>
                <c:pt idx="8654">
                  <c:v>0</c:v>
                </c:pt>
                <c:pt idx="8655">
                  <c:v>0</c:v>
                </c:pt>
                <c:pt idx="8656">
                  <c:v>0</c:v>
                </c:pt>
                <c:pt idx="8657">
                  <c:v>0</c:v>
                </c:pt>
                <c:pt idx="8658">
                  <c:v>0</c:v>
                </c:pt>
                <c:pt idx="8659">
                  <c:v>0</c:v>
                </c:pt>
                <c:pt idx="8660">
                  <c:v>0</c:v>
                </c:pt>
                <c:pt idx="8661">
                  <c:v>0</c:v>
                </c:pt>
                <c:pt idx="8662">
                  <c:v>0</c:v>
                </c:pt>
                <c:pt idx="8663">
                  <c:v>0</c:v>
                </c:pt>
                <c:pt idx="8664">
                  <c:v>0</c:v>
                </c:pt>
                <c:pt idx="8665">
                  <c:v>0</c:v>
                </c:pt>
                <c:pt idx="8666">
                  <c:v>0</c:v>
                </c:pt>
                <c:pt idx="8667">
                  <c:v>0</c:v>
                </c:pt>
                <c:pt idx="8668">
                  <c:v>0</c:v>
                </c:pt>
                <c:pt idx="8669">
                  <c:v>0</c:v>
                </c:pt>
                <c:pt idx="8670">
                  <c:v>0</c:v>
                </c:pt>
                <c:pt idx="8671">
                  <c:v>0</c:v>
                </c:pt>
                <c:pt idx="8672">
                  <c:v>0</c:v>
                </c:pt>
                <c:pt idx="8673">
                  <c:v>0</c:v>
                </c:pt>
                <c:pt idx="8674">
                  <c:v>0</c:v>
                </c:pt>
                <c:pt idx="8675">
                  <c:v>0</c:v>
                </c:pt>
                <c:pt idx="8676">
                  <c:v>0</c:v>
                </c:pt>
                <c:pt idx="8677">
                  <c:v>0</c:v>
                </c:pt>
                <c:pt idx="8678">
                  <c:v>0</c:v>
                </c:pt>
                <c:pt idx="8679">
                  <c:v>0</c:v>
                </c:pt>
                <c:pt idx="8680">
                  <c:v>0</c:v>
                </c:pt>
                <c:pt idx="8681">
                  <c:v>0</c:v>
                </c:pt>
                <c:pt idx="8682">
                  <c:v>0</c:v>
                </c:pt>
                <c:pt idx="8683">
                  <c:v>0</c:v>
                </c:pt>
                <c:pt idx="8684">
                  <c:v>0</c:v>
                </c:pt>
                <c:pt idx="8685">
                  <c:v>0</c:v>
                </c:pt>
                <c:pt idx="8686">
                  <c:v>0</c:v>
                </c:pt>
                <c:pt idx="8687">
                  <c:v>0</c:v>
                </c:pt>
                <c:pt idx="8688">
                  <c:v>0</c:v>
                </c:pt>
                <c:pt idx="8689">
                  <c:v>0</c:v>
                </c:pt>
                <c:pt idx="8690">
                  <c:v>0</c:v>
                </c:pt>
                <c:pt idx="8691">
                  <c:v>0</c:v>
                </c:pt>
                <c:pt idx="8692">
                  <c:v>0</c:v>
                </c:pt>
                <c:pt idx="8693">
                  <c:v>0</c:v>
                </c:pt>
                <c:pt idx="8694">
                  <c:v>0</c:v>
                </c:pt>
                <c:pt idx="8695">
                  <c:v>0</c:v>
                </c:pt>
                <c:pt idx="8696">
                  <c:v>0</c:v>
                </c:pt>
                <c:pt idx="8697">
                  <c:v>0</c:v>
                </c:pt>
                <c:pt idx="8698">
                  <c:v>0</c:v>
                </c:pt>
                <c:pt idx="8699">
                  <c:v>0</c:v>
                </c:pt>
                <c:pt idx="8700">
                  <c:v>0</c:v>
                </c:pt>
                <c:pt idx="8701">
                  <c:v>0</c:v>
                </c:pt>
                <c:pt idx="8702">
                  <c:v>0</c:v>
                </c:pt>
                <c:pt idx="8703">
                  <c:v>0</c:v>
                </c:pt>
                <c:pt idx="8704">
                  <c:v>0</c:v>
                </c:pt>
                <c:pt idx="8705">
                  <c:v>0</c:v>
                </c:pt>
                <c:pt idx="8706">
                  <c:v>0</c:v>
                </c:pt>
                <c:pt idx="8707">
                  <c:v>0</c:v>
                </c:pt>
                <c:pt idx="8708">
                  <c:v>0</c:v>
                </c:pt>
                <c:pt idx="8709">
                  <c:v>0</c:v>
                </c:pt>
                <c:pt idx="8710">
                  <c:v>0</c:v>
                </c:pt>
                <c:pt idx="8711">
                  <c:v>0</c:v>
                </c:pt>
                <c:pt idx="8712">
                  <c:v>0</c:v>
                </c:pt>
                <c:pt idx="8713">
                  <c:v>0</c:v>
                </c:pt>
                <c:pt idx="8714">
                  <c:v>0</c:v>
                </c:pt>
                <c:pt idx="8715">
                  <c:v>0</c:v>
                </c:pt>
                <c:pt idx="8716">
                  <c:v>0</c:v>
                </c:pt>
                <c:pt idx="8717">
                  <c:v>0</c:v>
                </c:pt>
                <c:pt idx="8718">
                  <c:v>0</c:v>
                </c:pt>
                <c:pt idx="8719">
                  <c:v>0</c:v>
                </c:pt>
                <c:pt idx="8720">
                  <c:v>0</c:v>
                </c:pt>
                <c:pt idx="8721">
                  <c:v>0</c:v>
                </c:pt>
                <c:pt idx="8722">
                  <c:v>0</c:v>
                </c:pt>
                <c:pt idx="8723">
                  <c:v>0</c:v>
                </c:pt>
                <c:pt idx="8724">
                  <c:v>0</c:v>
                </c:pt>
                <c:pt idx="8725">
                  <c:v>0</c:v>
                </c:pt>
                <c:pt idx="8726">
                  <c:v>0</c:v>
                </c:pt>
                <c:pt idx="8727">
                  <c:v>0</c:v>
                </c:pt>
                <c:pt idx="8728">
                  <c:v>0</c:v>
                </c:pt>
                <c:pt idx="8729">
                  <c:v>0</c:v>
                </c:pt>
                <c:pt idx="8730">
                  <c:v>0</c:v>
                </c:pt>
                <c:pt idx="8731">
                  <c:v>0</c:v>
                </c:pt>
                <c:pt idx="8732">
                  <c:v>0</c:v>
                </c:pt>
                <c:pt idx="8733">
                  <c:v>0</c:v>
                </c:pt>
                <c:pt idx="8734">
                  <c:v>0</c:v>
                </c:pt>
                <c:pt idx="8735">
                  <c:v>0</c:v>
                </c:pt>
                <c:pt idx="8736">
                  <c:v>0</c:v>
                </c:pt>
                <c:pt idx="8737">
                  <c:v>0</c:v>
                </c:pt>
                <c:pt idx="8738">
                  <c:v>0</c:v>
                </c:pt>
                <c:pt idx="8739">
                  <c:v>0</c:v>
                </c:pt>
                <c:pt idx="8740">
                  <c:v>0</c:v>
                </c:pt>
                <c:pt idx="8741">
                  <c:v>0</c:v>
                </c:pt>
                <c:pt idx="8742">
                  <c:v>0</c:v>
                </c:pt>
                <c:pt idx="8743">
                  <c:v>0</c:v>
                </c:pt>
                <c:pt idx="8744">
                  <c:v>0</c:v>
                </c:pt>
                <c:pt idx="8745">
                  <c:v>0</c:v>
                </c:pt>
                <c:pt idx="8746">
                  <c:v>0</c:v>
                </c:pt>
                <c:pt idx="8747">
                  <c:v>0</c:v>
                </c:pt>
                <c:pt idx="8748">
                  <c:v>0</c:v>
                </c:pt>
                <c:pt idx="8749">
                  <c:v>0</c:v>
                </c:pt>
                <c:pt idx="8750">
                  <c:v>0</c:v>
                </c:pt>
                <c:pt idx="8751">
                  <c:v>0</c:v>
                </c:pt>
                <c:pt idx="8752">
                  <c:v>0</c:v>
                </c:pt>
                <c:pt idx="8753">
                  <c:v>0</c:v>
                </c:pt>
                <c:pt idx="8754">
                  <c:v>0</c:v>
                </c:pt>
                <c:pt idx="8755">
                  <c:v>0</c:v>
                </c:pt>
                <c:pt idx="8756">
                  <c:v>0</c:v>
                </c:pt>
                <c:pt idx="8757">
                  <c:v>0</c:v>
                </c:pt>
                <c:pt idx="8758">
                  <c:v>0</c:v>
                </c:pt>
                <c:pt idx="8759">
                  <c:v>0</c:v>
                </c:pt>
                <c:pt idx="8760">
                  <c:v>0</c:v>
                </c:pt>
              </c:numCache>
            </c:numRef>
          </c:val>
          <c:smooth val="0"/>
          <c:extLst>
            <c:ext xmlns:c16="http://schemas.microsoft.com/office/drawing/2014/chart" uri="{C3380CC4-5D6E-409C-BE32-E72D297353CC}">
              <c16:uniqueId val="{00000000-22EE-45F4-888D-DD26CCDAE1CB}"/>
            </c:ext>
          </c:extLst>
        </c:ser>
        <c:ser>
          <c:idx val="6"/>
          <c:order val="1"/>
          <c:tx>
            <c:strRef>
              <c:f>'HU 16.1 Varighedskurver GCA40'!$G$4</c:f>
              <c:strCache>
                <c:ptCount val="1"/>
                <c:pt idx="0">
                  <c:v>GCA Reference</c:v>
                </c:pt>
              </c:strCache>
            </c:strRef>
          </c:tx>
          <c:spPr>
            <a:ln w="25400">
              <a:solidFill>
                <a:schemeClr val="accent2"/>
              </a:solidFill>
            </a:ln>
          </c:spPr>
          <c:marker>
            <c:symbol val="none"/>
          </c:marker>
          <c:val>
            <c:numRef>
              <c:f>'HU 16.1 Varighedskurver GCA40'!$G$5:$G$8765</c:f>
              <c:numCache>
                <c:formatCode>#,##0.####</c:formatCode>
                <c:ptCount val="8761"/>
                <c:pt idx="0">
                  <c:v>1937.0002458499998</c:v>
                </c:pt>
                <c:pt idx="1">
                  <c:v>1937.0001192000002</c:v>
                </c:pt>
                <c:pt idx="2">
                  <c:v>1937.0000074500001</c:v>
                </c:pt>
                <c:pt idx="3">
                  <c:v>1936.9258203500001</c:v>
                </c:pt>
                <c:pt idx="4">
                  <c:v>1936.9254776500002</c:v>
                </c:pt>
                <c:pt idx="5">
                  <c:v>1936.9253659000001</c:v>
                </c:pt>
                <c:pt idx="6">
                  <c:v>1936.92523925</c:v>
                </c:pt>
                <c:pt idx="7">
                  <c:v>1936.8509776500002</c:v>
                </c:pt>
                <c:pt idx="8">
                  <c:v>1936.85087335</c:v>
                </c:pt>
                <c:pt idx="9">
                  <c:v>1917.3302641499999</c:v>
                </c:pt>
                <c:pt idx="10">
                  <c:v>1688.3919578500002</c:v>
                </c:pt>
                <c:pt idx="11">
                  <c:v>1617.8540243</c:v>
                </c:pt>
                <c:pt idx="12">
                  <c:v>1617.8206483000001</c:v>
                </c:pt>
                <c:pt idx="13">
                  <c:v>1617.8203354</c:v>
                </c:pt>
                <c:pt idx="14">
                  <c:v>1616.2789751</c:v>
                </c:pt>
                <c:pt idx="15">
                  <c:v>1616.27855045</c:v>
                </c:pt>
                <c:pt idx="16">
                  <c:v>1564.9311985500001</c:v>
                </c:pt>
                <c:pt idx="17">
                  <c:v>1564.7199314499999</c:v>
                </c:pt>
                <c:pt idx="18">
                  <c:v>1564.7195440500002</c:v>
                </c:pt>
                <c:pt idx="19">
                  <c:v>1544.7118762</c:v>
                </c:pt>
                <c:pt idx="20">
                  <c:v>1537.4153089500001</c:v>
                </c:pt>
                <c:pt idx="21">
                  <c:v>1534.5315555000002</c:v>
                </c:pt>
                <c:pt idx="22">
                  <c:v>1534.5312202500002</c:v>
                </c:pt>
                <c:pt idx="23">
                  <c:v>1489.9998286500002</c:v>
                </c:pt>
                <c:pt idx="24">
                  <c:v>1489.9255521499999</c:v>
                </c:pt>
                <c:pt idx="25">
                  <c:v>1489.92520945</c:v>
                </c:pt>
                <c:pt idx="26">
                  <c:v>1353.56133325</c:v>
                </c:pt>
                <c:pt idx="27">
                  <c:v>1353.5612066000001</c:v>
                </c:pt>
                <c:pt idx="28">
                  <c:v>1353.56113955</c:v>
                </c:pt>
                <c:pt idx="29">
                  <c:v>1353.5609234999999</c:v>
                </c:pt>
                <c:pt idx="30">
                  <c:v>1353.5086617499999</c:v>
                </c:pt>
                <c:pt idx="31">
                  <c:v>1318.4481496999999</c:v>
                </c:pt>
                <c:pt idx="32">
                  <c:v>1318.4479932499999</c:v>
                </c:pt>
                <c:pt idx="33">
                  <c:v>1318.4477325</c:v>
                </c:pt>
                <c:pt idx="34">
                  <c:v>1318.3737167500001</c:v>
                </c:pt>
                <c:pt idx="35">
                  <c:v>1245.6987059999999</c:v>
                </c:pt>
                <c:pt idx="36">
                  <c:v>1209.5481174000001</c:v>
                </c:pt>
                <c:pt idx="37">
                  <c:v>1209.54423595</c:v>
                </c:pt>
                <c:pt idx="38">
                  <c:v>1209.4741910499999</c:v>
                </c:pt>
                <c:pt idx="39">
                  <c:v>1209.3954594499999</c:v>
                </c:pt>
                <c:pt idx="40">
                  <c:v>1209.3951987</c:v>
                </c:pt>
                <c:pt idx="41">
                  <c:v>1209.3209594500001</c:v>
                </c:pt>
                <c:pt idx="42">
                  <c:v>1209.02246775</c:v>
                </c:pt>
                <c:pt idx="43">
                  <c:v>1172.4838235500001</c:v>
                </c:pt>
                <c:pt idx="44">
                  <c:v>1172.4078335500001</c:v>
                </c:pt>
                <c:pt idx="45">
                  <c:v>1172.4076696500001</c:v>
                </c:pt>
                <c:pt idx="46">
                  <c:v>1172.3341456000001</c:v>
                </c:pt>
                <c:pt idx="47">
                  <c:v>1172.3333112</c:v>
                </c:pt>
                <c:pt idx="48">
                  <c:v>1172.3321638999998</c:v>
                </c:pt>
                <c:pt idx="49">
                  <c:v>1172.33215645</c:v>
                </c:pt>
                <c:pt idx="50">
                  <c:v>1172.3320595999999</c:v>
                </c:pt>
                <c:pt idx="51">
                  <c:v>1172.1096324</c:v>
                </c:pt>
                <c:pt idx="52">
                  <c:v>1172.1090215000002</c:v>
                </c:pt>
                <c:pt idx="53">
                  <c:v>1150.4498898000002</c:v>
                </c:pt>
                <c:pt idx="54">
                  <c:v>1150.4498078500001</c:v>
                </c:pt>
                <c:pt idx="55">
                  <c:v>1150.449711</c:v>
                </c:pt>
                <c:pt idx="56">
                  <c:v>1150.4493757499999</c:v>
                </c:pt>
                <c:pt idx="57">
                  <c:v>1150.3752333499999</c:v>
                </c:pt>
                <c:pt idx="58">
                  <c:v>1128.3588220000001</c:v>
                </c:pt>
                <c:pt idx="59">
                  <c:v>1128.2844411999999</c:v>
                </c:pt>
                <c:pt idx="60">
                  <c:v>1128.2841879</c:v>
                </c:pt>
                <c:pt idx="61">
                  <c:v>1099.32670095</c:v>
                </c:pt>
                <c:pt idx="62">
                  <c:v>1099.3261943500002</c:v>
                </c:pt>
                <c:pt idx="63">
                  <c:v>1099.3226556000002</c:v>
                </c:pt>
                <c:pt idx="64">
                  <c:v>1099.322596</c:v>
                </c:pt>
                <c:pt idx="65">
                  <c:v>1099.2480289499999</c:v>
                </c:pt>
                <c:pt idx="66">
                  <c:v>1091.1422427</c:v>
                </c:pt>
                <c:pt idx="67">
                  <c:v>1091.1420192</c:v>
                </c:pt>
                <c:pt idx="68">
                  <c:v>1091.1419298000001</c:v>
                </c:pt>
                <c:pt idx="69">
                  <c:v>1091.1416168999999</c:v>
                </c:pt>
                <c:pt idx="70">
                  <c:v>1090.03364545</c:v>
                </c:pt>
                <c:pt idx="71">
                  <c:v>1090.03358585</c:v>
                </c:pt>
                <c:pt idx="72">
                  <c:v>1090.03334</c:v>
                </c:pt>
                <c:pt idx="73">
                  <c:v>1089.7893971999999</c:v>
                </c:pt>
                <c:pt idx="74">
                  <c:v>1059.6414673000002</c:v>
                </c:pt>
                <c:pt idx="75">
                  <c:v>1059.6414225999999</c:v>
                </c:pt>
                <c:pt idx="76">
                  <c:v>1039.7751929999999</c:v>
                </c:pt>
                <c:pt idx="77">
                  <c:v>1039.6265804</c:v>
                </c:pt>
                <c:pt idx="78">
                  <c:v>1039.6265431500001</c:v>
                </c:pt>
                <c:pt idx="79">
                  <c:v>1032.36686085</c:v>
                </c:pt>
                <c:pt idx="80">
                  <c:v>1032.29248005</c:v>
                </c:pt>
                <c:pt idx="81">
                  <c:v>1032.2921224500001</c:v>
                </c:pt>
                <c:pt idx="82">
                  <c:v>1032.2850896499999</c:v>
                </c:pt>
                <c:pt idx="83">
                  <c:v>1032.2849779000001</c:v>
                </c:pt>
                <c:pt idx="84">
                  <c:v>1032.2845234500001</c:v>
                </c:pt>
                <c:pt idx="85">
                  <c:v>1032.2110143</c:v>
                </c:pt>
                <c:pt idx="86">
                  <c:v>1032.2107833499999</c:v>
                </c:pt>
                <c:pt idx="87">
                  <c:v>1032.2105896500002</c:v>
                </c:pt>
                <c:pt idx="88">
                  <c:v>1032.21045555</c:v>
                </c:pt>
                <c:pt idx="89">
                  <c:v>1032.2102320499998</c:v>
                </c:pt>
                <c:pt idx="90">
                  <c:v>1032.1943784499999</c:v>
                </c:pt>
                <c:pt idx="91">
                  <c:v>1032.14027655</c:v>
                </c:pt>
                <c:pt idx="92">
                  <c:v>1032.1402244000001</c:v>
                </c:pt>
                <c:pt idx="93">
                  <c:v>1032.1398593500001</c:v>
                </c:pt>
                <c:pt idx="94">
                  <c:v>1032.1397103500001</c:v>
                </c:pt>
                <c:pt idx="95">
                  <c:v>1032.1202882</c:v>
                </c:pt>
                <c:pt idx="96">
                  <c:v>1032.1202360499999</c:v>
                </c:pt>
                <c:pt idx="97">
                  <c:v>1032.1201839</c:v>
                </c:pt>
                <c:pt idx="98">
                  <c:v>1032.1201317499999</c:v>
                </c:pt>
                <c:pt idx="99">
                  <c:v>1032.1200870500002</c:v>
                </c:pt>
                <c:pt idx="100">
                  <c:v>1032.1200572499999</c:v>
                </c:pt>
                <c:pt idx="101">
                  <c:v>1032.12002745</c:v>
                </c:pt>
                <c:pt idx="102">
                  <c:v>1032.11998275</c:v>
                </c:pt>
                <c:pt idx="103">
                  <c:v>1032.1199157000001</c:v>
                </c:pt>
                <c:pt idx="104">
                  <c:v>1032.11980395</c:v>
                </c:pt>
                <c:pt idx="105">
                  <c:v>1032.1196474999999</c:v>
                </c:pt>
                <c:pt idx="106">
                  <c:v>1032.1195953500001</c:v>
                </c:pt>
                <c:pt idx="107">
                  <c:v>1030.4307697500001</c:v>
                </c:pt>
                <c:pt idx="108">
                  <c:v>1030.4306729</c:v>
                </c:pt>
                <c:pt idx="109">
                  <c:v>1030.38851335</c:v>
                </c:pt>
                <c:pt idx="110">
                  <c:v>1030.3573723499999</c:v>
                </c:pt>
                <c:pt idx="111">
                  <c:v>1030.3560238999999</c:v>
                </c:pt>
                <c:pt idx="112">
                  <c:v>1030.3557854999999</c:v>
                </c:pt>
                <c:pt idx="113">
                  <c:v>1030.3552863499999</c:v>
                </c:pt>
                <c:pt idx="114">
                  <c:v>1009.9660891000001</c:v>
                </c:pt>
                <c:pt idx="115">
                  <c:v>1009.9655378</c:v>
                </c:pt>
                <c:pt idx="116">
                  <c:v>1009.8917157500001</c:v>
                </c:pt>
                <c:pt idx="117">
                  <c:v>1009.8916784999999</c:v>
                </c:pt>
                <c:pt idx="118">
                  <c:v>1009.89162635</c:v>
                </c:pt>
                <c:pt idx="119">
                  <c:v>1009.8916114500001</c:v>
                </c:pt>
                <c:pt idx="120">
                  <c:v>1009.8915965499999</c:v>
                </c:pt>
                <c:pt idx="121">
                  <c:v>1009.89153695</c:v>
                </c:pt>
                <c:pt idx="122">
                  <c:v>1009.8915145999999</c:v>
                </c:pt>
                <c:pt idx="123">
                  <c:v>1009.8914922499999</c:v>
                </c:pt>
                <c:pt idx="124">
                  <c:v>1009.89143265</c:v>
                </c:pt>
                <c:pt idx="125">
                  <c:v>1009.8913954000001</c:v>
                </c:pt>
                <c:pt idx="126">
                  <c:v>1009.89134325</c:v>
                </c:pt>
                <c:pt idx="127">
                  <c:v>1009.8912836500001</c:v>
                </c:pt>
                <c:pt idx="128">
                  <c:v>1009.8912836500001</c:v>
                </c:pt>
                <c:pt idx="129">
                  <c:v>1009.8912762000001</c:v>
                </c:pt>
                <c:pt idx="130">
                  <c:v>1009.89125385</c:v>
                </c:pt>
                <c:pt idx="131">
                  <c:v>1009.8912315</c:v>
                </c:pt>
                <c:pt idx="132">
                  <c:v>1009.8912017000001</c:v>
                </c:pt>
                <c:pt idx="133">
                  <c:v>1009.8911793499999</c:v>
                </c:pt>
                <c:pt idx="134">
                  <c:v>1009.89116445</c:v>
                </c:pt>
                <c:pt idx="135">
                  <c:v>1009.89107505</c:v>
                </c:pt>
                <c:pt idx="136">
                  <c:v>1009.89104525</c:v>
                </c:pt>
                <c:pt idx="137">
                  <c:v>1009.8910378</c:v>
                </c:pt>
                <c:pt idx="138">
                  <c:v>1009.8907621499999</c:v>
                </c:pt>
                <c:pt idx="139">
                  <c:v>1009.89040455</c:v>
                </c:pt>
                <c:pt idx="140">
                  <c:v>1009.8903375</c:v>
                </c:pt>
                <c:pt idx="141">
                  <c:v>1009.89012145</c:v>
                </c:pt>
                <c:pt idx="142">
                  <c:v>1009.8899724500001</c:v>
                </c:pt>
                <c:pt idx="143">
                  <c:v>1009.81782665</c:v>
                </c:pt>
                <c:pt idx="144">
                  <c:v>1009.8172306500001</c:v>
                </c:pt>
                <c:pt idx="145">
                  <c:v>1009.81709655</c:v>
                </c:pt>
                <c:pt idx="146">
                  <c:v>1009.81709655</c:v>
                </c:pt>
                <c:pt idx="147">
                  <c:v>1009.8169997</c:v>
                </c:pt>
                <c:pt idx="148">
                  <c:v>1009.8167910999999</c:v>
                </c:pt>
                <c:pt idx="149">
                  <c:v>1009.8167389500001</c:v>
                </c:pt>
                <c:pt idx="150">
                  <c:v>1009.8165378</c:v>
                </c:pt>
                <c:pt idx="151">
                  <c:v>1009.8164558499999</c:v>
                </c:pt>
                <c:pt idx="152">
                  <c:v>1009.8156587000001</c:v>
                </c:pt>
                <c:pt idx="153">
                  <c:v>1009.8154650000001</c:v>
                </c:pt>
                <c:pt idx="154">
                  <c:v>1009.7437066</c:v>
                </c:pt>
                <c:pt idx="155">
                  <c:v>1009.74279025</c:v>
                </c:pt>
                <c:pt idx="156">
                  <c:v>1009.7424401000001</c:v>
                </c:pt>
                <c:pt idx="157">
                  <c:v>1009.7422613000001</c:v>
                </c:pt>
                <c:pt idx="158">
                  <c:v>1009.7422464000001</c:v>
                </c:pt>
                <c:pt idx="159">
                  <c:v>1009.74220915</c:v>
                </c:pt>
                <c:pt idx="160">
                  <c:v>1009.74211975</c:v>
                </c:pt>
                <c:pt idx="161">
                  <c:v>1009.74186645</c:v>
                </c:pt>
                <c:pt idx="162">
                  <c:v>1009.7417472500001</c:v>
                </c:pt>
                <c:pt idx="163">
                  <c:v>1009.7415312000001</c:v>
                </c:pt>
                <c:pt idx="164">
                  <c:v>1009.74147905</c:v>
                </c:pt>
                <c:pt idx="165">
                  <c:v>1009.74146415</c:v>
                </c:pt>
                <c:pt idx="166">
                  <c:v>1009.74144925</c:v>
                </c:pt>
                <c:pt idx="167">
                  <c:v>1009.7410618499999</c:v>
                </c:pt>
                <c:pt idx="168">
                  <c:v>1009.7410618499999</c:v>
                </c:pt>
                <c:pt idx="169">
                  <c:v>1009.7410246000001</c:v>
                </c:pt>
                <c:pt idx="170">
                  <c:v>1009.740965</c:v>
                </c:pt>
                <c:pt idx="171">
                  <c:v>1009.6694003</c:v>
                </c:pt>
                <c:pt idx="172">
                  <c:v>1009.6693481499999</c:v>
                </c:pt>
                <c:pt idx="173">
                  <c:v>1009.6692066000001</c:v>
                </c:pt>
                <c:pt idx="174">
                  <c:v>1009.6687819500002</c:v>
                </c:pt>
                <c:pt idx="175">
                  <c:v>1009.6675079999999</c:v>
                </c:pt>
                <c:pt idx="176">
                  <c:v>1009.6673291999999</c:v>
                </c:pt>
                <c:pt idx="177">
                  <c:v>1009.6672025500001</c:v>
                </c:pt>
                <c:pt idx="178">
                  <c:v>1009.66717275</c:v>
                </c:pt>
                <c:pt idx="179">
                  <c:v>1009.59508655</c:v>
                </c:pt>
                <c:pt idx="180">
                  <c:v>1009.5950195</c:v>
                </c:pt>
                <c:pt idx="181">
                  <c:v>1009.5949449999999</c:v>
                </c:pt>
                <c:pt idx="182">
                  <c:v>1009.5948332500001</c:v>
                </c:pt>
                <c:pt idx="183">
                  <c:v>1009.5946619</c:v>
                </c:pt>
                <c:pt idx="184">
                  <c:v>1009.5946470000001</c:v>
                </c:pt>
                <c:pt idx="185">
                  <c:v>1009.59457995</c:v>
                </c:pt>
                <c:pt idx="186">
                  <c:v>1009.5945277999999</c:v>
                </c:pt>
                <c:pt idx="187">
                  <c:v>1009.5945129</c:v>
                </c:pt>
                <c:pt idx="188">
                  <c:v>1009.5944160500001</c:v>
                </c:pt>
                <c:pt idx="189">
                  <c:v>1009.5943788</c:v>
                </c:pt>
                <c:pt idx="190">
                  <c:v>1009.5930825</c:v>
                </c:pt>
                <c:pt idx="191">
                  <c:v>1009.5922928000001</c:v>
                </c:pt>
                <c:pt idx="192">
                  <c:v>1009.592263</c:v>
                </c:pt>
                <c:pt idx="193">
                  <c:v>1009.5919650000001</c:v>
                </c:pt>
                <c:pt idx="194">
                  <c:v>1009.5700843500001</c:v>
                </c:pt>
                <c:pt idx="195">
                  <c:v>1009.5203183499999</c:v>
                </c:pt>
                <c:pt idx="196">
                  <c:v>1009.5203183499999</c:v>
                </c:pt>
                <c:pt idx="197">
                  <c:v>1009.5202513000002</c:v>
                </c:pt>
                <c:pt idx="198">
                  <c:v>1009.5200874000001</c:v>
                </c:pt>
                <c:pt idx="199">
                  <c:v>1009.52005015</c:v>
                </c:pt>
                <c:pt idx="200">
                  <c:v>1009.5199682</c:v>
                </c:pt>
                <c:pt idx="201">
                  <c:v>1009.5199533</c:v>
                </c:pt>
                <c:pt idx="202">
                  <c:v>1009.51979685</c:v>
                </c:pt>
                <c:pt idx="203">
                  <c:v>1009.4953310499999</c:v>
                </c:pt>
                <c:pt idx="204">
                  <c:v>1009.49522675</c:v>
                </c:pt>
                <c:pt idx="205">
                  <c:v>1009.44572895</c:v>
                </c:pt>
                <c:pt idx="206">
                  <c:v>1009.4452819500001</c:v>
                </c:pt>
                <c:pt idx="207">
                  <c:v>1009.3713704999999</c:v>
                </c:pt>
                <c:pt idx="208">
                  <c:v>1009.3712140499999</c:v>
                </c:pt>
                <c:pt idx="209">
                  <c:v>1009.3712140499999</c:v>
                </c:pt>
                <c:pt idx="210">
                  <c:v>1009.3711470000001</c:v>
                </c:pt>
                <c:pt idx="211">
                  <c:v>1009.3710650500001</c:v>
                </c:pt>
                <c:pt idx="212">
                  <c:v>1009.3708638999999</c:v>
                </c:pt>
                <c:pt idx="213">
                  <c:v>1009.3707596</c:v>
                </c:pt>
                <c:pt idx="214">
                  <c:v>1009.22182665</c:v>
                </c:pt>
                <c:pt idx="215">
                  <c:v>1009.197413</c:v>
                </c:pt>
                <c:pt idx="216">
                  <c:v>1009.1476544500001</c:v>
                </c:pt>
                <c:pt idx="217">
                  <c:v>998.14858620000007</c:v>
                </c:pt>
                <c:pt idx="218">
                  <c:v>997.99913920000006</c:v>
                </c:pt>
                <c:pt idx="219">
                  <c:v>997.99889335000012</c:v>
                </c:pt>
                <c:pt idx="220">
                  <c:v>995.78501410000001</c:v>
                </c:pt>
                <c:pt idx="221">
                  <c:v>987.41034244999992</c:v>
                </c:pt>
                <c:pt idx="222">
                  <c:v>987.40967194999996</c:v>
                </c:pt>
                <c:pt idx="223">
                  <c:v>983.58613079999998</c:v>
                </c:pt>
                <c:pt idx="224">
                  <c:v>983.51202565000006</c:v>
                </c:pt>
                <c:pt idx="225">
                  <c:v>983.51186175000009</c:v>
                </c:pt>
                <c:pt idx="226">
                  <c:v>983.51150415000006</c:v>
                </c:pt>
                <c:pt idx="227">
                  <c:v>983.33777014999998</c:v>
                </c:pt>
                <c:pt idx="228">
                  <c:v>979.75140720000002</c:v>
                </c:pt>
                <c:pt idx="229">
                  <c:v>979.75116879999996</c:v>
                </c:pt>
                <c:pt idx="230">
                  <c:v>979.75107939999998</c:v>
                </c:pt>
                <c:pt idx="231">
                  <c:v>979.75096020000012</c:v>
                </c:pt>
                <c:pt idx="232">
                  <c:v>979.75087825000003</c:v>
                </c:pt>
                <c:pt idx="233">
                  <c:v>979.72674025000003</c:v>
                </c:pt>
                <c:pt idx="234">
                  <c:v>979.72635285000001</c:v>
                </c:pt>
                <c:pt idx="235">
                  <c:v>979.70131340000012</c:v>
                </c:pt>
                <c:pt idx="236">
                  <c:v>979.70126125000002</c:v>
                </c:pt>
                <c:pt idx="237">
                  <c:v>979.67697425000017</c:v>
                </c:pt>
                <c:pt idx="238">
                  <c:v>979.65162935000001</c:v>
                </c:pt>
                <c:pt idx="239">
                  <c:v>979.62739449999992</c:v>
                </c:pt>
                <c:pt idx="240">
                  <c:v>979.62711139999999</c:v>
                </c:pt>
                <c:pt idx="241">
                  <c:v>979.62692515000003</c:v>
                </c:pt>
                <c:pt idx="242">
                  <c:v>979.60260835000008</c:v>
                </c:pt>
                <c:pt idx="243">
                  <c:v>979.6025264000001</c:v>
                </c:pt>
                <c:pt idx="244">
                  <c:v>979.60231779999992</c:v>
                </c:pt>
                <c:pt idx="245">
                  <c:v>979.60228055000005</c:v>
                </c:pt>
                <c:pt idx="246">
                  <c:v>979.60227310000005</c:v>
                </c:pt>
                <c:pt idx="247">
                  <c:v>979.60224329999994</c:v>
                </c:pt>
                <c:pt idx="248">
                  <c:v>979.60214644999996</c:v>
                </c:pt>
                <c:pt idx="249">
                  <c:v>979.60211665000008</c:v>
                </c:pt>
                <c:pt idx="250">
                  <c:v>979.60202724999999</c:v>
                </c:pt>
                <c:pt idx="251">
                  <c:v>979.60188570000003</c:v>
                </c:pt>
                <c:pt idx="252">
                  <c:v>979.57769555000004</c:v>
                </c:pt>
                <c:pt idx="253">
                  <c:v>979.57730070000002</c:v>
                </c:pt>
                <c:pt idx="254">
                  <c:v>979.57726345000015</c:v>
                </c:pt>
                <c:pt idx="255">
                  <c:v>979.55268590000014</c:v>
                </c:pt>
                <c:pt idx="256">
                  <c:v>979.55261140000005</c:v>
                </c:pt>
                <c:pt idx="257">
                  <c:v>979.52803385000016</c:v>
                </c:pt>
                <c:pt idx="258">
                  <c:v>979.52792954999995</c:v>
                </c:pt>
                <c:pt idx="259">
                  <c:v>979.52787740000008</c:v>
                </c:pt>
                <c:pt idx="260">
                  <c:v>979.52769860000012</c:v>
                </c:pt>
                <c:pt idx="261">
                  <c:v>979.52769115000012</c:v>
                </c:pt>
                <c:pt idx="262">
                  <c:v>979.52747510000006</c:v>
                </c:pt>
                <c:pt idx="263">
                  <c:v>979.50318809999999</c:v>
                </c:pt>
                <c:pt idx="264">
                  <c:v>979.50318809999999</c:v>
                </c:pt>
                <c:pt idx="265">
                  <c:v>979.50306890000002</c:v>
                </c:pt>
                <c:pt idx="266">
                  <c:v>979.50294970000016</c:v>
                </c:pt>
                <c:pt idx="267">
                  <c:v>979.50291245000005</c:v>
                </c:pt>
                <c:pt idx="268">
                  <c:v>979.50289755000006</c:v>
                </c:pt>
                <c:pt idx="269">
                  <c:v>979.50283049999996</c:v>
                </c:pt>
                <c:pt idx="270">
                  <c:v>979.50262935000012</c:v>
                </c:pt>
                <c:pt idx="271">
                  <c:v>979.50254740000014</c:v>
                </c:pt>
                <c:pt idx="272">
                  <c:v>979.50253995000014</c:v>
                </c:pt>
                <c:pt idx="273">
                  <c:v>979.47843175000003</c:v>
                </c:pt>
                <c:pt idx="274">
                  <c:v>979.47837960000015</c:v>
                </c:pt>
                <c:pt idx="275">
                  <c:v>979.47833490000005</c:v>
                </c:pt>
                <c:pt idx="276">
                  <c:v>979.47827529999995</c:v>
                </c:pt>
                <c:pt idx="277">
                  <c:v>979.47824550000007</c:v>
                </c:pt>
                <c:pt idx="278">
                  <c:v>979.47806670000011</c:v>
                </c:pt>
                <c:pt idx="279">
                  <c:v>979.47788790000004</c:v>
                </c:pt>
                <c:pt idx="280">
                  <c:v>979.47779850000006</c:v>
                </c:pt>
                <c:pt idx="281">
                  <c:v>979.47774635000007</c:v>
                </c:pt>
                <c:pt idx="282">
                  <c:v>979.45359344999997</c:v>
                </c:pt>
                <c:pt idx="283">
                  <c:v>979.45357110000009</c:v>
                </c:pt>
                <c:pt idx="284">
                  <c:v>979.45355620000009</c:v>
                </c:pt>
                <c:pt idx="285">
                  <c:v>979.45335505000003</c:v>
                </c:pt>
                <c:pt idx="286">
                  <c:v>979.45334760000003</c:v>
                </c:pt>
                <c:pt idx="287">
                  <c:v>979.45328799999993</c:v>
                </c:pt>
                <c:pt idx="288">
                  <c:v>979.45328054999993</c:v>
                </c:pt>
                <c:pt idx="289">
                  <c:v>979.45324330000005</c:v>
                </c:pt>
                <c:pt idx="290">
                  <c:v>979.45319859999995</c:v>
                </c:pt>
                <c:pt idx="291">
                  <c:v>979.45316880000007</c:v>
                </c:pt>
                <c:pt idx="292">
                  <c:v>979.45313154999997</c:v>
                </c:pt>
                <c:pt idx="293">
                  <c:v>979.45310919999997</c:v>
                </c:pt>
                <c:pt idx="294">
                  <c:v>979.45295274999989</c:v>
                </c:pt>
                <c:pt idx="295">
                  <c:v>979.45232695000004</c:v>
                </c:pt>
                <c:pt idx="296">
                  <c:v>979.45215560000008</c:v>
                </c:pt>
                <c:pt idx="297">
                  <c:v>979.42852419999997</c:v>
                </c:pt>
                <c:pt idx="298">
                  <c:v>979.40386469999999</c:v>
                </c:pt>
                <c:pt idx="299">
                  <c:v>979.40385724999999</c:v>
                </c:pt>
                <c:pt idx="300">
                  <c:v>979.40376040000001</c:v>
                </c:pt>
                <c:pt idx="301">
                  <c:v>979.40368590000003</c:v>
                </c:pt>
                <c:pt idx="302">
                  <c:v>979.40353689999995</c:v>
                </c:pt>
                <c:pt idx="303">
                  <c:v>979.40352200000007</c:v>
                </c:pt>
                <c:pt idx="304">
                  <c:v>979.40344749999997</c:v>
                </c:pt>
                <c:pt idx="305">
                  <c:v>979.40338044999999</c:v>
                </c:pt>
                <c:pt idx="306">
                  <c:v>979.40335809999999</c:v>
                </c:pt>
                <c:pt idx="307">
                  <c:v>979.40317930000003</c:v>
                </c:pt>
                <c:pt idx="308">
                  <c:v>979.37909345000014</c:v>
                </c:pt>
                <c:pt idx="309">
                  <c:v>979.37901150000005</c:v>
                </c:pt>
                <c:pt idx="310">
                  <c:v>979.37896679999994</c:v>
                </c:pt>
                <c:pt idx="311">
                  <c:v>979.37896679999994</c:v>
                </c:pt>
                <c:pt idx="312">
                  <c:v>979.37888484999996</c:v>
                </c:pt>
                <c:pt idx="313">
                  <c:v>979.37886994999997</c:v>
                </c:pt>
                <c:pt idx="314">
                  <c:v>979.37886994999997</c:v>
                </c:pt>
                <c:pt idx="315">
                  <c:v>979.37884015000009</c:v>
                </c:pt>
                <c:pt idx="316">
                  <c:v>979.37880289999998</c:v>
                </c:pt>
                <c:pt idx="317">
                  <c:v>979.37878799999999</c:v>
                </c:pt>
                <c:pt idx="318">
                  <c:v>979.37874330000011</c:v>
                </c:pt>
                <c:pt idx="319">
                  <c:v>979.3786538999999</c:v>
                </c:pt>
                <c:pt idx="320">
                  <c:v>979.37861665000003</c:v>
                </c:pt>
                <c:pt idx="321">
                  <c:v>979.37854215000004</c:v>
                </c:pt>
                <c:pt idx="322">
                  <c:v>979.37848999999994</c:v>
                </c:pt>
                <c:pt idx="323">
                  <c:v>979.37841550000007</c:v>
                </c:pt>
                <c:pt idx="324">
                  <c:v>979.37762580000003</c:v>
                </c:pt>
                <c:pt idx="325">
                  <c:v>979.35415829999999</c:v>
                </c:pt>
                <c:pt idx="326">
                  <c:v>979.35412105</c:v>
                </c:pt>
                <c:pt idx="327">
                  <c:v>979.35400184999992</c:v>
                </c:pt>
                <c:pt idx="328">
                  <c:v>979.32943920000014</c:v>
                </c:pt>
                <c:pt idx="329">
                  <c:v>979.32919335000008</c:v>
                </c:pt>
                <c:pt idx="330">
                  <c:v>979.30451894999987</c:v>
                </c:pt>
                <c:pt idx="331">
                  <c:v>979.30445935000012</c:v>
                </c:pt>
                <c:pt idx="332">
                  <c:v>979.30437740000002</c:v>
                </c:pt>
                <c:pt idx="333">
                  <c:v>979.30436995000014</c:v>
                </c:pt>
                <c:pt idx="334">
                  <c:v>979.30434759999991</c:v>
                </c:pt>
                <c:pt idx="335">
                  <c:v>979.30434014999992</c:v>
                </c:pt>
                <c:pt idx="336">
                  <c:v>979.30431780000004</c:v>
                </c:pt>
                <c:pt idx="337">
                  <c:v>979.30430290000004</c:v>
                </c:pt>
                <c:pt idx="338">
                  <c:v>979.30430290000004</c:v>
                </c:pt>
                <c:pt idx="339">
                  <c:v>979.30425074999994</c:v>
                </c:pt>
                <c:pt idx="340">
                  <c:v>979.30425074999994</c:v>
                </c:pt>
                <c:pt idx="341">
                  <c:v>979.30423585000005</c:v>
                </c:pt>
                <c:pt idx="342">
                  <c:v>979.30422840000006</c:v>
                </c:pt>
                <c:pt idx="343">
                  <c:v>979.30418369999995</c:v>
                </c:pt>
                <c:pt idx="344">
                  <c:v>979.30416879999996</c:v>
                </c:pt>
                <c:pt idx="345">
                  <c:v>979.30413155000008</c:v>
                </c:pt>
                <c:pt idx="346">
                  <c:v>979.30412410000008</c:v>
                </c:pt>
                <c:pt idx="347">
                  <c:v>979.30411665000008</c:v>
                </c:pt>
                <c:pt idx="348">
                  <c:v>979.3040496000001</c:v>
                </c:pt>
                <c:pt idx="349">
                  <c:v>979.30399745</c:v>
                </c:pt>
                <c:pt idx="350">
                  <c:v>979.30398255</c:v>
                </c:pt>
                <c:pt idx="351">
                  <c:v>979.30352065000011</c:v>
                </c:pt>
                <c:pt idx="352">
                  <c:v>979.30331205000005</c:v>
                </c:pt>
                <c:pt idx="353">
                  <c:v>979.30327480000005</c:v>
                </c:pt>
                <c:pt idx="354">
                  <c:v>979.30326735000017</c:v>
                </c:pt>
                <c:pt idx="355">
                  <c:v>979.30324499999995</c:v>
                </c:pt>
                <c:pt idx="356">
                  <c:v>979.27971790000004</c:v>
                </c:pt>
                <c:pt idx="357">
                  <c:v>979.27968809999993</c:v>
                </c:pt>
                <c:pt idx="358">
                  <c:v>979.27950184999997</c:v>
                </c:pt>
                <c:pt idx="359">
                  <c:v>979.27948694999998</c:v>
                </c:pt>
                <c:pt idx="360">
                  <c:v>979.27947950000009</c:v>
                </c:pt>
                <c:pt idx="361">
                  <c:v>979.2794571500001</c:v>
                </c:pt>
                <c:pt idx="362">
                  <c:v>979.27936775000012</c:v>
                </c:pt>
                <c:pt idx="363">
                  <c:v>979.27932305000002</c:v>
                </c:pt>
                <c:pt idx="364">
                  <c:v>979.25446985000008</c:v>
                </c:pt>
                <c:pt idx="365">
                  <c:v>979.25433575</c:v>
                </c:pt>
                <c:pt idx="366">
                  <c:v>979.20480069999996</c:v>
                </c:pt>
                <c:pt idx="367">
                  <c:v>979.18011884999999</c:v>
                </c:pt>
                <c:pt idx="368">
                  <c:v>979.15516135000007</c:v>
                </c:pt>
                <c:pt idx="369">
                  <c:v>979.15504959999998</c:v>
                </c:pt>
                <c:pt idx="370">
                  <c:v>979.15502724999999</c:v>
                </c:pt>
                <c:pt idx="371">
                  <c:v>979.15502724999999</c:v>
                </c:pt>
                <c:pt idx="372">
                  <c:v>979.15499000000011</c:v>
                </c:pt>
                <c:pt idx="373">
                  <c:v>979.1304422500001</c:v>
                </c:pt>
                <c:pt idx="374">
                  <c:v>979.03137215000015</c:v>
                </c:pt>
                <c:pt idx="375">
                  <c:v>979.03125294999995</c:v>
                </c:pt>
                <c:pt idx="376">
                  <c:v>979.03108159999999</c:v>
                </c:pt>
                <c:pt idx="377">
                  <c:v>979.03070165000008</c:v>
                </c:pt>
                <c:pt idx="378">
                  <c:v>979.00590805000002</c:v>
                </c:pt>
                <c:pt idx="379">
                  <c:v>978.95682000000011</c:v>
                </c:pt>
                <c:pt idx="380">
                  <c:v>978.83254655000007</c:v>
                </c:pt>
                <c:pt idx="381">
                  <c:v>978.63348999999994</c:v>
                </c:pt>
                <c:pt idx="382">
                  <c:v>976.79500135000012</c:v>
                </c:pt>
                <c:pt idx="383">
                  <c:v>975.29323035000004</c:v>
                </c:pt>
                <c:pt idx="384">
                  <c:v>975.29301429999998</c:v>
                </c:pt>
                <c:pt idx="385">
                  <c:v>969.91403235000007</c:v>
                </c:pt>
                <c:pt idx="386">
                  <c:v>969.83956215000012</c:v>
                </c:pt>
                <c:pt idx="387">
                  <c:v>969.83952490000001</c:v>
                </c:pt>
                <c:pt idx="388">
                  <c:v>969.83951000000002</c:v>
                </c:pt>
                <c:pt idx="389">
                  <c:v>958.46559500000001</c:v>
                </c:pt>
                <c:pt idx="390">
                  <c:v>958.46559500000001</c:v>
                </c:pt>
                <c:pt idx="391">
                  <c:v>958.46559500000001</c:v>
                </c:pt>
                <c:pt idx="392">
                  <c:v>958.39109500000006</c:v>
                </c:pt>
                <c:pt idx="393">
                  <c:v>943.50972000000002</c:v>
                </c:pt>
                <c:pt idx="394">
                  <c:v>943.43527960000006</c:v>
                </c:pt>
                <c:pt idx="395">
                  <c:v>943.43524980000007</c:v>
                </c:pt>
                <c:pt idx="396">
                  <c:v>943.36072745000001</c:v>
                </c:pt>
                <c:pt idx="397">
                  <c:v>940.73104879999994</c:v>
                </c:pt>
                <c:pt idx="398">
                  <c:v>940.73087744999998</c:v>
                </c:pt>
                <c:pt idx="399">
                  <c:v>935.34154000000001</c:v>
                </c:pt>
                <c:pt idx="400">
                  <c:v>931.32455960000004</c:v>
                </c:pt>
                <c:pt idx="401">
                  <c:v>931.25002980000011</c:v>
                </c:pt>
                <c:pt idx="402">
                  <c:v>931.17583524999998</c:v>
                </c:pt>
                <c:pt idx="403">
                  <c:v>931.1758129000001</c:v>
                </c:pt>
                <c:pt idx="404">
                  <c:v>931.17576075000011</c:v>
                </c:pt>
                <c:pt idx="405">
                  <c:v>931.1757533</c:v>
                </c:pt>
                <c:pt idx="406">
                  <c:v>931.17566390000002</c:v>
                </c:pt>
                <c:pt idx="407">
                  <c:v>931.17564900000002</c:v>
                </c:pt>
                <c:pt idx="408">
                  <c:v>931.17562665000003</c:v>
                </c:pt>
                <c:pt idx="409">
                  <c:v>931.17549999999994</c:v>
                </c:pt>
                <c:pt idx="410">
                  <c:v>931.17549999999994</c:v>
                </c:pt>
                <c:pt idx="411">
                  <c:v>931.0263212000001</c:v>
                </c:pt>
                <c:pt idx="412">
                  <c:v>929.85673080000004</c:v>
                </c:pt>
                <c:pt idx="413">
                  <c:v>928.03995144999999</c:v>
                </c:pt>
                <c:pt idx="414">
                  <c:v>925.10386919999996</c:v>
                </c:pt>
                <c:pt idx="415">
                  <c:v>923.07545025000002</c:v>
                </c:pt>
                <c:pt idx="416">
                  <c:v>922.85225570000011</c:v>
                </c:pt>
                <c:pt idx="417">
                  <c:v>922.85220355000001</c:v>
                </c:pt>
                <c:pt idx="418">
                  <c:v>922.85217375000002</c:v>
                </c:pt>
                <c:pt idx="419">
                  <c:v>922.85207689999993</c:v>
                </c:pt>
                <c:pt idx="420">
                  <c:v>922.85192045000008</c:v>
                </c:pt>
                <c:pt idx="421">
                  <c:v>922.85186084999998</c:v>
                </c:pt>
                <c:pt idx="422">
                  <c:v>922.85181614999999</c:v>
                </c:pt>
                <c:pt idx="423">
                  <c:v>922.23649085</c:v>
                </c:pt>
                <c:pt idx="424">
                  <c:v>922.16248999999993</c:v>
                </c:pt>
                <c:pt idx="425">
                  <c:v>922.16190144999996</c:v>
                </c:pt>
                <c:pt idx="426">
                  <c:v>913.38415500000008</c:v>
                </c:pt>
                <c:pt idx="427">
                  <c:v>913.38415500000008</c:v>
                </c:pt>
                <c:pt idx="428">
                  <c:v>913.3097295</c:v>
                </c:pt>
                <c:pt idx="429">
                  <c:v>913.30966245000002</c:v>
                </c:pt>
                <c:pt idx="430">
                  <c:v>913.30965500000002</c:v>
                </c:pt>
                <c:pt idx="431">
                  <c:v>913.30965500000002</c:v>
                </c:pt>
                <c:pt idx="432">
                  <c:v>913.30965500000002</c:v>
                </c:pt>
                <c:pt idx="433">
                  <c:v>913.30965500000002</c:v>
                </c:pt>
                <c:pt idx="434">
                  <c:v>913.12191500000006</c:v>
                </c:pt>
                <c:pt idx="435">
                  <c:v>913.04741500000011</c:v>
                </c:pt>
                <c:pt idx="436">
                  <c:v>910.56361479999998</c:v>
                </c:pt>
                <c:pt idx="437">
                  <c:v>910.19135320000009</c:v>
                </c:pt>
                <c:pt idx="438">
                  <c:v>910.19108500000004</c:v>
                </c:pt>
                <c:pt idx="439">
                  <c:v>910.11763545000008</c:v>
                </c:pt>
                <c:pt idx="440">
                  <c:v>910.11758329999998</c:v>
                </c:pt>
                <c:pt idx="441">
                  <c:v>910.11733000000004</c:v>
                </c:pt>
                <c:pt idx="442">
                  <c:v>910.11716609999996</c:v>
                </c:pt>
                <c:pt idx="443">
                  <c:v>910.11659989999998</c:v>
                </c:pt>
                <c:pt idx="444">
                  <c:v>910.1165850000001</c:v>
                </c:pt>
                <c:pt idx="445">
                  <c:v>910.1165850000001</c:v>
                </c:pt>
                <c:pt idx="446">
                  <c:v>910.1165850000001</c:v>
                </c:pt>
                <c:pt idx="447">
                  <c:v>910.04208500000004</c:v>
                </c:pt>
                <c:pt idx="448">
                  <c:v>909.89316695000002</c:v>
                </c:pt>
                <c:pt idx="449">
                  <c:v>909.89313715000003</c:v>
                </c:pt>
                <c:pt idx="450">
                  <c:v>909.89308500000004</c:v>
                </c:pt>
                <c:pt idx="451">
                  <c:v>904.09403480000003</c:v>
                </c:pt>
                <c:pt idx="452">
                  <c:v>904.01925170000004</c:v>
                </c:pt>
                <c:pt idx="453">
                  <c:v>904.01914740000007</c:v>
                </c:pt>
                <c:pt idx="454">
                  <c:v>904.01911759999996</c:v>
                </c:pt>
                <c:pt idx="455">
                  <c:v>900.56020180000007</c:v>
                </c:pt>
                <c:pt idx="456">
                  <c:v>900.41167860000007</c:v>
                </c:pt>
                <c:pt idx="457">
                  <c:v>900.33698489999995</c:v>
                </c:pt>
                <c:pt idx="458">
                  <c:v>900.26266370000008</c:v>
                </c:pt>
                <c:pt idx="459">
                  <c:v>900.26261155000009</c:v>
                </c:pt>
                <c:pt idx="460">
                  <c:v>900.2624849</c:v>
                </c:pt>
                <c:pt idx="461">
                  <c:v>900.26247000000001</c:v>
                </c:pt>
                <c:pt idx="462">
                  <c:v>900.26247000000001</c:v>
                </c:pt>
                <c:pt idx="463">
                  <c:v>900.26247000000001</c:v>
                </c:pt>
                <c:pt idx="464">
                  <c:v>900.18805195000004</c:v>
                </c:pt>
                <c:pt idx="465">
                  <c:v>900.16338499999995</c:v>
                </c:pt>
                <c:pt idx="466">
                  <c:v>900.11364134999997</c:v>
                </c:pt>
                <c:pt idx="467">
                  <c:v>896.01597000000004</c:v>
                </c:pt>
                <c:pt idx="468">
                  <c:v>895.79246999999998</c:v>
                </c:pt>
                <c:pt idx="469">
                  <c:v>895.71812645</c:v>
                </c:pt>
                <c:pt idx="470">
                  <c:v>895.71799980000003</c:v>
                </c:pt>
                <c:pt idx="471">
                  <c:v>895.71798490000003</c:v>
                </c:pt>
                <c:pt idx="472">
                  <c:v>895.71797000000004</c:v>
                </c:pt>
                <c:pt idx="473">
                  <c:v>895.71797000000004</c:v>
                </c:pt>
                <c:pt idx="474">
                  <c:v>895.71797000000004</c:v>
                </c:pt>
                <c:pt idx="475">
                  <c:v>895.71797000000004</c:v>
                </c:pt>
                <c:pt idx="476">
                  <c:v>891.37490309999998</c:v>
                </c:pt>
                <c:pt idx="477">
                  <c:v>891.37488074999999</c:v>
                </c:pt>
                <c:pt idx="478">
                  <c:v>891.30018704999998</c:v>
                </c:pt>
                <c:pt idx="479">
                  <c:v>891.30014979999999</c:v>
                </c:pt>
                <c:pt idx="480">
                  <c:v>891.30012000000011</c:v>
                </c:pt>
                <c:pt idx="481">
                  <c:v>888.66133000000002</c:v>
                </c:pt>
                <c:pt idx="482">
                  <c:v>888.66133000000002</c:v>
                </c:pt>
                <c:pt idx="483">
                  <c:v>888.66133000000002</c:v>
                </c:pt>
                <c:pt idx="484">
                  <c:v>885.22765479999998</c:v>
                </c:pt>
                <c:pt idx="485">
                  <c:v>885.15354220000006</c:v>
                </c:pt>
                <c:pt idx="486">
                  <c:v>885.15354220000006</c:v>
                </c:pt>
                <c:pt idx="487">
                  <c:v>885.15328145000001</c:v>
                </c:pt>
                <c:pt idx="488">
                  <c:v>885.15322930000002</c:v>
                </c:pt>
                <c:pt idx="489">
                  <c:v>885.15313989999993</c:v>
                </c:pt>
                <c:pt idx="490">
                  <c:v>885.15312500000005</c:v>
                </c:pt>
                <c:pt idx="491">
                  <c:v>885.15312500000005</c:v>
                </c:pt>
                <c:pt idx="492">
                  <c:v>885.15312500000005</c:v>
                </c:pt>
                <c:pt idx="493">
                  <c:v>885.15312500000005</c:v>
                </c:pt>
                <c:pt idx="494">
                  <c:v>885.15312500000005</c:v>
                </c:pt>
                <c:pt idx="495">
                  <c:v>885.15303560000007</c:v>
                </c:pt>
                <c:pt idx="496">
                  <c:v>885.07904965</c:v>
                </c:pt>
                <c:pt idx="497">
                  <c:v>885.07900495000001</c:v>
                </c:pt>
                <c:pt idx="498">
                  <c:v>885.07884850000005</c:v>
                </c:pt>
                <c:pt idx="499">
                  <c:v>885.07881870000006</c:v>
                </c:pt>
                <c:pt idx="500">
                  <c:v>885.07881870000006</c:v>
                </c:pt>
                <c:pt idx="501">
                  <c:v>885.07881125000006</c:v>
                </c:pt>
                <c:pt idx="502">
                  <c:v>885.07876655000007</c:v>
                </c:pt>
                <c:pt idx="503">
                  <c:v>885.07874419999996</c:v>
                </c:pt>
                <c:pt idx="504">
                  <c:v>885.07871439999997</c:v>
                </c:pt>
                <c:pt idx="505">
                  <c:v>885.07870694999997</c:v>
                </c:pt>
                <c:pt idx="506">
                  <c:v>885.07869949999997</c:v>
                </c:pt>
                <c:pt idx="507">
                  <c:v>885.00547345000007</c:v>
                </c:pt>
                <c:pt idx="508">
                  <c:v>885.00524995000012</c:v>
                </c:pt>
                <c:pt idx="509">
                  <c:v>885.00456455000005</c:v>
                </c:pt>
                <c:pt idx="510">
                  <c:v>885.0043187</c:v>
                </c:pt>
                <c:pt idx="511">
                  <c:v>885.00428890000001</c:v>
                </c:pt>
                <c:pt idx="512">
                  <c:v>885.00427400000001</c:v>
                </c:pt>
                <c:pt idx="513">
                  <c:v>885.00420695000003</c:v>
                </c:pt>
                <c:pt idx="514">
                  <c:v>885.00415479999992</c:v>
                </c:pt>
                <c:pt idx="515">
                  <c:v>885.00412500000004</c:v>
                </c:pt>
                <c:pt idx="516">
                  <c:v>885.00412500000004</c:v>
                </c:pt>
                <c:pt idx="517">
                  <c:v>885.00412500000004</c:v>
                </c:pt>
                <c:pt idx="518">
                  <c:v>884.93092875000002</c:v>
                </c:pt>
                <c:pt idx="519">
                  <c:v>884.93047430000001</c:v>
                </c:pt>
                <c:pt idx="520">
                  <c:v>884.92999005000001</c:v>
                </c:pt>
                <c:pt idx="521">
                  <c:v>884.92969950000008</c:v>
                </c:pt>
                <c:pt idx="522">
                  <c:v>884.92965480000009</c:v>
                </c:pt>
                <c:pt idx="523">
                  <c:v>884.92962499999999</c:v>
                </c:pt>
                <c:pt idx="524">
                  <c:v>884.78137000000004</c:v>
                </c:pt>
                <c:pt idx="525">
                  <c:v>884.78110924999999</c:v>
                </c:pt>
                <c:pt idx="526">
                  <c:v>884.78062499999999</c:v>
                </c:pt>
                <c:pt idx="527">
                  <c:v>884.55712500000004</c:v>
                </c:pt>
                <c:pt idx="528">
                  <c:v>884.40890724999997</c:v>
                </c:pt>
                <c:pt idx="529">
                  <c:v>884.40886999999998</c:v>
                </c:pt>
                <c:pt idx="530">
                  <c:v>884.40886999999998</c:v>
                </c:pt>
                <c:pt idx="531">
                  <c:v>884.25987744999998</c:v>
                </c:pt>
                <c:pt idx="532">
                  <c:v>883.86062449999997</c:v>
                </c:pt>
                <c:pt idx="533">
                  <c:v>883.8605649000001</c:v>
                </c:pt>
                <c:pt idx="534">
                  <c:v>883.78613195000003</c:v>
                </c:pt>
                <c:pt idx="535">
                  <c:v>880.78495905</c:v>
                </c:pt>
                <c:pt idx="536">
                  <c:v>880.78450459999999</c:v>
                </c:pt>
                <c:pt idx="537">
                  <c:v>880.78445245</c:v>
                </c:pt>
                <c:pt idx="538">
                  <c:v>880.78437050000002</c:v>
                </c:pt>
                <c:pt idx="539">
                  <c:v>880.78431090000004</c:v>
                </c:pt>
                <c:pt idx="540">
                  <c:v>880.63544500000012</c:v>
                </c:pt>
                <c:pt idx="541">
                  <c:v>879.99176499999999</c:v>
                </c:pt>
                <c:pt idx="542">
                  <c:v>876.78971030000002</c:v>
                </c:pt>
                <c:pt idx="543">
                  <c:v>865.06175640000004</c:v>
                </c:pt>
                <c:pt idx="544">
                  <c:v>863.59804000000008</c:v>
                </c:pt>
                <c:pt idx="545">
                  <c:v>863.59804000000008</c:v>
                </c:pt>
                <c:pt idx="546">
                  <c:v>863.59804000000008</c:v>
                </c:pt>
                <c:pt idx="547">
                  <c:v>863.59804000000008</c:v>
                </c:pt>
                <c:pt idx="548">
                  <c:v>861.24234999999999</c:v>
                </c:pt>
                <c:pt idx="549">
                  <c:v>861.24234999999999</c:v>
                </c:pt>
                <c:pt idx="550">
                  <c:v>861.24234999999999</c:v>
                </c:pt>
                <c:pt idx="551">
                  <c:v>860.23287500000004</c:v>
                </c:pt>
                <c:pt idx="552">
                  <c:v>860.23287500000004</c:v>
                </c:pt>
                <c:pt idx="553">
                  <c:v>860.21608270000002</c:v>
                </c:pt>
                <c:pt idx="554">
                  <c:v>860.19888064999998</c:v>
                </c:pt>
                <c:pt idx="555">
                  <c:v>860.05860459999997</c:v>
                </c:pt>
                <c:pt idx="556">
                  <c:v>859.56535499999995</c:v>
                </c:pt>
                <c:pt idx="557">
                  <c:v>859.49085500000001</c:v>
                </c:pt>
                <c:pt idx="558">
                  <c:v>859.49085500000001</c:v>
                </c:pt>
                <c:pt idx="559">
                  <c:v>859.49011000000007</c:v>
                </c:pt>
                <c:pt idx="560">
                  <c:v>859.49011000000007</c:v>
                </c:pt>
                <c:pt idx="561">
                  <c:v>859.4156547</c:v>
                </c:pt>
                <c:pt idx="562">
                  <c:v>859.34185500000001</c:v>
                </c:pt>
                <c:pt idx="563">
                  <c:v>859.34152719999997</c:v>
                </c:pt>
                <c:pt idx="564">
                  <c:v>859.34123665000004</c:v>
                </c:pt>
                <c:pt idx="565">
                  <c:v>859.34116960000006</c:v>
                </c:pt>
                <c:pt idx="566">
                  <c:v>859.34111000000007</c:v>
                </c:pt>
                <c:pt idx="567">
                  <c:v>859.34111000000007</c:v>
                </c:pt>
                <c:pt idx="568">
                  <c:v>859.34111000000007</c:v>
                </c:pt>
                <c:pt idx="569">
                  <c:v>859.34111000000007</c:v>
                </c:pt>
                <c:pt idx="570">
                  <c:v>859.34111000000007</c:v>
                </c:pt>
                <c:pt idx="571">
                  <c:v>859.26661000000001</c:v>
                </c:pt>
                <c:pt idx="572">
                  <c:v>859.26661000000001</c:v>
                </c:pt>
                <c:pt idx="573">
                  <c:v>859.26661000000001</c:v>
                </c:pt>
                <c:pt idx="574">
                  <c:v>859.19285500000001</c:v>
                </c:pt>
                <c:pt idx="575">
                  <c:v>855.61073109999995</c:v>
                </c:pt>
                <c:pt idx="576">
                  <c:v>855.61050760000001</c:v>
                </c:pt>
                <c:pt idx="577">
                  <c:v>855.61027664999995</c:v>
                </c:pt>
                <c:pt idx="578">
                  <c:v>855.61021705000007</c:v>
                </c:pt>
                <c:pt idx="579">
                  <c:v>855.61017234999997</c:v>
                </c:pt>
                <c:pt idx="580">
                  <c:v>855.61016490000009</c:v>
                </c:pt>
                <c:pt idx="581">
                  <c:v>855.61015745000009</c:v>
                </c:pt>
                <c:pt idx="582">
                  <c:v>855.61014999999998</c:v>
                </c:pt>
                <c:pt idx="583">
                  <c:v>855.61014999999998</c:v>
                </c:pt>
                <c:pt idx="584">
                  <c:v>855.61014999999998</c:v>
                </c:pt>
                <c:pt idx="585">
                  <c:v>855.61014999999998</c:v>
                </c:pt>
                <c:pt idx="586">
                  <c:v>855.61014999999998</c:v>
                </c:pt>
                <c:pt idx="587">
                  <c:v>855.61014999999998</c:v>
                </c:pt>
                <c:pt idx="588">
                  <c:v>855.61014999999998</c:v>
                </c:pt>
                <c:pt idx="589">
                  <c:v>855.61014999999998</c:v>
                </c:pt>
                <c:pt idx="590">
                  <c:v>855.61014999999998</c:v>
                </c:pt>
                <c:pt idx="591">
                  <c:v>855.61014999999998</c:v>
                </c:pt>
                <c:pt idx="592">
                  <c:v>855.61014999999998</c:v>
                </c:pt>
                <c:pt idx="593">
                  <c:v>855.51114695000001</c:v>
                </c:pt>
                <c:pt idx="594">
                  <c:v>855.51109480000002</c:v>
                </c:pt>
                <c:pt idx="595">
                  <c:v>855.51107245000003</c:v>
                </c:pt>
                <c:pt idx="596">
                  <c:v>855.51107245000003</c:v>
                </c:pt>
                <c:pt idx="597">
                  <c:v>855.51106499999992</c:v>
                </c:pt>
                <c:pt idx="598">
                  <c:v>855.51091600000007</c:v>
                </c:pt>
                <c:pt idx="599">
                  <c:v>855.5107074</c:v>
                </c:pt>
                <c:pt idx="600">
                  <c:v>855.43664695000007</c:v>
                </c:pt>
                <c:pt idx="601">
                  <c:v>855.43660225000008</c:v>
                </c:pt>
                <c:pt idx="602">
                  <c:v>855.43656500000009</c:v>
                </c:pt>
                <c:pt idx="603">
                  <c:v>855.21306500000003</c:v>
                </c:pt>
                <c:pt idx="604">
                  <c:v>854.38694940000005</c:v>
                </c:pt>
                <c:pt idx="605">
                  <c:v>854.31186085000002</c:v>
                </c:pt>
                <c:pt idx="606">
                  <c:v>853.16086565000001</c:v>
                </c:pt>
                <c:pt idx="607">
                  <c:v>853.08683500000006</c:v>
                </c:pt>
                <c:pt idx="608">
                  <c:v>853.08683500000006</c:v>
                </c:pt>
                <c:pt idx="609">
                  <c:v>853.08683500000006</c:v>
                </c:pt>
                <c:pt idx="610">
                  <c:v>853.08683500000006</c:v>
                </c:pt>
                <c:pt idx="611">
                  <c:v>853.08683500000006</c:v>
                </c:pt>
                <c:pt idx="612">
                  <c:v>853.08683500000006</c:v>
                </c:pt>
                <c:pt idx="613">
                  <c:v>853.08644015000004</c:v>
                </c:pt>
                <c:pt idx="614">
                  <c:v>853.08641034999994</c:v>
                </c:pt>
                <c:pt idx="615">
                  <c:v>853.08635819999995</c:v>
                </c:pt>
                <c:pt idx="616">
                  <c:v>853.08619429999999</c:v>
                </c:pt>
                <c:pt idx="617">
                  <c:v>853.0861496</c:v>
                </c:pt>
                <c:pt idx="618">
                  <c:v>853.01237225</c:v>
                </c:pt>
                <c:pt idx="619">
                  <c:v>853.01233500000001</c:v>
                </c:pt>
                <c:pt idx="620">
                  <c:v>853.01233500000001</c:v>
                </c:pt>
                <c:pt idx="621">
                  <c:v>853.01173155000004</c:v>
                </c:pt>
                <c:pt idx="622">
                  <c:v>852.98700500000007</c:v>
                </c:pt>
                <c:pt idx="623">
                  <c:v>852.93788715000005</c:v>
                </c:pt>
                <c:pt idx="624">
                  <c:v>852.93783499999995</c:v>
                </c:pt>
                <c:pt idx="625">
                  <c:v>852.93783499999995</c:v>
                </c:pt>
                <c:pt idx="626">
                  <c:v>852.93783499999995</c:v>
                </c:pt>
                <c:pt idx="627">
                  <c:v>852.93783499999995</c:v>
                </c:pt>
                <c:pt idx="628">
                  <c:v>852.93723899999998</c:v>
                </c:pt>
                <c:pt idx="629">
                  <c:v>852.93719429999999</c:v>
                </c:pt>
                <c:pt idx="630">
                  <c:v>852.86333500000001</c:v>
                </c:pt>
                <c:pt idx="631">
                  <c:v>847.81099085000005</c:v>
                </c:pt>
                <c:pt idx="632">
                  <c:v>847.73634185000003</c:v>
                </c:pt>
                <c:pt idx="633">
                  <c:v>846.650035</c:v>
                </c:pt>
                <c:pt idx="634">
                  <c:v>846.650035</c:v>
                </c:pt>
                <c:pt idx="635">
                  <c:v>846.650035</c:v>
                </c:pt>
                <c:pt idx="636">
                  <c:v>846.650035</c:v>
                </c:pt>
                <c:pt idx="637">
                  <c:v>844.80094500000007</c:v>
                </c:pt>
                <c:pt idx="638">
                  <c:v>839.26116969999998</c:v>
                </c:pt>
                <c:pt idx="639">
                  <c:v>839.18605880000007</c:v>
                </c:pt>
                <c:pt idx="640">
                  <c:v>837.40260330000001</c:v>
                </c:pt>
                <c:pt idx="641">
                  <c:v>837.40240960000006</c:v>
                </c:pt>
                <c:pt idx="642">
                  <c:v>837.40237234999995</c:v>
                </c:pt>
                <c:pt idx="643">
                  <c:v>837.40235000000007</c:v>
                </c:pt>
                <c:pt idx="644">
                  <c:v>837.40235000000007</c:v>
                </c:pt>
                <c:pt idx="645">
                  <c:v>837.32794684999999</c:v>
                </c:pt>
                <c:pt idx="646">
                  <c:v>837.25360330000001</c:v>
                </c:pt>
                <c:pt idx="647">
                  <c:v>837.25343194999994</c:v>
                </c:pt>
                <c:pt idx="648">
                  <c:v>837.25336490000007</c:v>
                </c:pt>
                <c:pt idx="649">
                  <c:v>837.25334999999995</c:v>
                </c:pt>
                <c:pt idx="650">
                  <c:v>837.25334999999995</c:v>
                </c:pt>
                <c:pt idx="651">
                  <c:v>833.22365245000003</c:v>
                </c:pt>
                <c:pt idx="652">
                  <c:v>833.22365245000003</c:v>
                </c:pt>
                <c:pt idx="653">
                  <c:v>833.22364500000003</c:v>
                </c:pt>
                <c:pt idx="654">
                  <c:v>833.22364500000003</c:v>
                </c:pt>
                <c:pt idx="655">
                  <c:v>830.70165610000004</c:v>
                </c:pt>
                <c:pt idx="656">
                  <c:v>830.70158160000005</c:v>
                </c:pt>
                <c:pt idx="657">
                  <c:v>830.7013432</c:v>
                </c:pt>
                <c:pt idx="658">
                  <c:v>830.70109734999994</c:v>
                </c:pt>
                <c:pt idx="659">
                  <c:v>830.70107500000006</c:v>
                </c:pt>
                <c:pt idx="660">
                  <c:v>830.62694750000003</c:v>
                </c:pt>
                <c:pt idx="661">
                  <c:v>830.62665694999998</c:v>
                </c:pt>
                <c:pt idx="662">
                  <c:v>830.6266346000001</c:v>
                </c:pt>
                <c:pt idx="663">
                  <c:v>830.62661969999999</c:v>
                </c:pt>
                <c:pt idx="664">
                  <c:v>830.62659735</c:v>
                </c:pt>
                <c:pt idx="665">
                  <c:v>830.62658245</c:v>
                </c:pt>
                <c:pt idx="666">
                  <c:v>830.62658245</c:v>
                </c:pt>
                <c:pt idx="667">
                  <c:v>830.626575</c:v>
                </c:pt>
                <c:pt idx="668">
                  <c:v>830.626575</c:v>
                </c:pt>
                <c:pt idx="669">
                  <c:v>830.626575</c:v>
                </c:pt>
                <c:pt idx="670">
                  <c:v>830.626575</c:v>
                </c:pt>
                <c:pt idx="671">
                  <c:v>830.626575</c:v>
                </c:pt>
                <c:pt idx="672">
                  <c:v>830.626575</c:v>
                </c:pt>
                <c:pt idx="673">
                  <c:v>830.626575</c:v>
                </c:pt>
                <c:pt idx="674">
                  <c:v>830.626575</c:v>
                </c:pt>
                <c:pt idx="675">
                  <c:v>830.626575</c:v>
                </c:pt>
                <c:pt idx="676">
                  <c:v>830.626575</c:v>
                </c:pt>
                <c:pt idx="677">
                  <c:v>830.626575</c:v>
                </c:pt>
                <c:pt idx="678">
                  <c:v>830.626575</c:v>
                </c:pt>
                <c:pt idx="679">
                  <c:v>830.626575</c:v>
                </c:pt>
                <c:pt idx="680">
                  <c:v>830.626575</c:v>
                </c:pt>
                <c:pt idx="681">
                  <c:v>830.62607585000001</c:v>
                </c:pt>
                <c:pt idx="682">
                  <c:v>830.55208990000006</c:v>
                </c:pt>
                <c:pt idx="683">
                  <c:v>830.55207500000006</c:v>
                </c:pt>
                <c:pt idx="684">
                  <c:v>830.55207500000006</c:v>
                </c:pt>
                <c:pt idx="685">
                  <c:v>830.55207500000006</c:v>
                </c:pt>
                <c:pt idx="686">
                  <c:v>830.55207500000006</c:v>
                </c:pt>
                <c:pt idx="687">
                  <c:v>830.55207500000006</c:v>
                </c:pt>
                <c:pt idx="688">
                  <c:v>830.55207500000006</c:v>
                </c:pt>
                <c:pt idx="689">
                  <c:v>830.55207500000006</c:v>
                </c:pt>
                <c:pt idx="690">
                  <c:v>830.55180680000001</c:v>
                </c:pt>
                <c:pt idx="691">
                  <c:v>830.47798475000002</c:v>
                </c:pt>
                <c:pt idx="692">
                  <c:v>830.47778360000007</c:v>
                </c:pt>
                <c:pt idx="693">
                  <c:v>830.47778360000007</c:v>
                </c:pt>
                <c:pt idx="694">
                  <c:v>830.47776124999996</c:v>
                </c:pt>
                <c:pt idx="695">
                  <c:v>830.47760480000011</c:v>
                </c:pt>
                <c:pt idx="696">
                  <c:v>830.477575</c:v>
                </c:pt>
                <c:pt idx="697">
                  <c:v>830.477575</c:v>
                </c:pt>
                <c:pt idx="698">
                  <c:v>830.477575</c:v>
                </c:pt>
                <c:pt idx="699">
                  <c:v>830.477575</c:v>
                </c:pt>
                <c:pt idx="700">
                  <c:v>830.477575</c:v>
                </c:pt>
                <c:pt idx="701">
                  <c:v>830.477575</c:v>
                </c:pt>
                <c:pt idx="702">
                  <c:v>830.477575</c:v>
                </c:pt>
                <c:pt idx="703">
                  <c:v>830.477575</c:v>
                </c:pt>
                <c:pt idx="704">
                  <c:v>830.477575</c:v>
                </c:pt>
                <c:pt idx="705">
                  <c:v>830.477575</c:v>
                </c:pt>
                <c:pt idx="706">
                  <c:v>830.477575</c:v>
                </c:pt>
                <c:pt idx="707">
                  <c:v>830.477575</c:v>
                </c:pt>
                <c:pt idx="708">
                  <c:v>830.47743345000004</c:v>
                </c:pt>
                <c:pt idx="709">
                  <c:v>830.47729934999995</c:v>
                </c:pt>
                <c:pt idx="710">
                  <c:v>830.47726209999996</c:v>
                </c:pt>
                <c:pt idx="711">
                  <c:v>830.40336554999999</c:v>
                </c:pt>
                <c:pt idx="712">
                  <c:v>830.40314205000004</c:v>
                </c:pt>
                <c:pt idx="713">
                  <c:v>830.40307499999994</c:v>
                </c:pt>
                <c:pt idx="714">
                  <c:v>830.40307499999994</c:v>
                </c:pt>
                <c:pt idx="715">
                  <c:v>830.40307499999994</c:v>
                </c:pt>
                <c:pt idx="716">
                  <c:v>830.377745</c:v>
                </c:pt>
                <c:pt idx="717">
                  <c:v>830.32874635000007</c:v>
                </c:pt>
                <c:pt idx="718">
                  <c:v>830.32863459999999</c:v>
                </c:pt>
                <c:pt idx="719">
                  <c:v>830.32857500000011</c:v>
                </c:pt>
                <c:pt idx="720">
                  <c:v>830.25426125000001</c:v>
                </c:pt>
                <c:pt idx="721">
                  <c:v>830.25414950000004</c:v>
                </c:pt>
                <c:pt idx="722">
                  <c:v>830.25407500000006</c:v>
                </c:pt>
                <c:pt idx="723">
                  <c:v>830.228745</c:v>
                </c:pt>
                <c:pt idx="724">
                  <c:v>830.228745</c:v>
                </c:pt>
                <c:pt idx="725">
                  <c:v>830.228745</c:v>
                </c:pt>
                <c:pt idx="726">
                  <c:v>824.93871605000004</c:v>
                </c:pt>
                <c:pt idx="727">
                  <c:v>824.86432780000007</c:v>
                </c:pt>
                <c:pt idx="728">
                  <c:v>824.86429054999996</c:v>
                </c:pt>
                <c:pt idx="729">
                  <c:v>824.86414900000011</c:v>
                </c:pt>
                <c:pt idx="730">
                  <c:v>824.8641341</c:v>
                </c:pt>
                <c:pt idx="731">
                  <c:v>824.86408195000001</c:v>
                </c:pt>
                <c:pt idx="732">
                  <c:v>824.86406705000002</c:v>
                </c:pt>
                <c:pt idx="733">
                  <c:v>824.86402235000003</c:v>
                </c:pt>
                <c:pt idx="734">
                  <c:v>824.86400000000003</c:v>
                </c:pt>
                <c:pt idx="735">
                  <c:v>824.86400000000003</c:v>
                </c:pt>
                <c:pt idx="736">
                  <c:v>824.86400000000003</c:v>
                </c:pt>
                <c:pt idx="737">
                  <c:v>824.86400000000003</c:v>
                </c:pt>
                <c:pt idx="738">
                  <c:v>824.86400000000003</c:v>
                </c:pt>
                <c:pt idx="739">
                  <c:v>824.86400000000003</c:v>
                </c:pt>
                <c:pt idx="740">
                  <c:v>824.86400000000003</c:v>
                </c:pt>
                <c:pt idx="741">
                  <c:v>824.86391805000005</c:v>
                </c:pt>
                <c:pt idx="742">
                  <c:v>824.78982035000001</c:v>
                </c:pt>
                <c:pt idx="743">
                  <c:v>824.78980545000002</c:v>
                </c:pt>
                <c:pt idx="744">
                  <c:v>824.78971605000004</c:v>
                </c:pt>
                <c:pt idx="745">
                  <c:v>824.78961175000006</c:v>
                </c:pt>
                <c:pt idx="746">
                  <c:v>824.78951490000009</c:v>
                </c:pt>
                <c:pt idx="747">
                  <c:v>824.78951490000009</c:v>
                </c:pt>
                <c:pt idx="748">
                  <c:v>824.78950745000009</c:v>
                </c:pt>
                <c:pt idx="749">
                  <c:v>824.78949999999998</c:v>
                </c:pt>
                <c:pt idx="750">
                  <c:v>824.76428175000001</c:v>
                </c:pt>
                <c:pt idx="751">
                  <c:v>824.71500000000003</c:v>
                </c:pt>
                <c:pt idx="752">
                  <c:v>824.71500000000003</c:v>
                </c:pt>
                <c:pt idx="753">
                  <c:v>824.64055214999996</c:v>
                </c:pt>
                <c:pt idx="754">
                  <c:v>824.64049999999997</c:v>
                </c:pt>
                <c:pt idx="755">
                  <c:v>824.64049999999997</c:v>
                </c:pt>
                <c:pt idx="756">
                  <c:v>824.64049999999997</c:v>
                </c:pt>
                <c:pt idx="757">
                  <c:v>824.64049999999997</c:v>
                </c:pt>
                <c:pt idx="758">
                  <c:v>824.64049999999997</c:v>
                </c:pt>
                <c:pt idx="759">
                  <c:v>824.59058500000003</c:v>
                </c:pt>
                <c:pt idx="760">
                  <c:v>824.59058500000003</c:v>
                </c:pt>
                <c:pt idx="761">
                  <c:v>824.59058500000003</c:v>
                </c:pt>
                <c:pt idx="762">
                  <c:v>824.59058500000003</c:v>
                </c:pt>
                <c:pt idx="763">
                  <c:v>824.59058500000003</c:v>
                </c:pt>
                <c:pt idx="764">
                  <c:v>824.56604470000002</c:v>
                </c:pt>
                <c:pt idx="765">
                  <c:v>824.56604470000002</c:v>
                </c:pt>
                <c:pt idx="766">
                  <c:v>824.56600000000003</c:v>
                </c:pt>
                <c:pt idx="767">
                  <c:v>824.56600000000003</c:v>
                </c:pt>
                <c:pt idx="768">
                  <c:v>824.56600000000003</c:v>
                </c:pt>
                <c:pt idx="769">
                  <c:v>824.56600000000003</c:v>
                </c:pt>
                <c:pt idx="770">
                  <c:v>824.54141500000003</c:v>
                </c:pt>
                <c:pt idx="771">
                  <c:v>824.49150000000009</c:v>
                </c:pt>
                <c:pt idx="772">
                  <c:v>824.46691500000009</c:v>
                </c:pt>
                <c:pt idx="773">
                  <c:v>824.41700000000003</c:v>
                </c:pt>
                <c:pt idx="774">
                  <c:v>822.71638105</c:v>
                </c:pt>
                <c:pt idx="775">
                  <c:v>822.27125845</c:v>
                </c:pt>
                <c:pt idx="776">
                  <c:v>822.26916500000004</c:v>
                </c:pt>
                <c:pt idx="777">
                  <c:v>822.26916500000004</c:v>
                </c:pt>
                <c:pt idx="778">
                  <c:v>822.26916500000004</c:v>
                </c:pt>
                <c:pt idx="779">
                  <c:v>822.26916500000004</c:v>
                </c:pt>
                <c:pt idx="780">
                  <c:v>822.26916500000004</c:v>
                </c:pt>
                <c:pt idx="781">
                  <c:v>822.26916500000004</c:v>
                </c:pt>
                <c:pt idx="782">
                  <c:v>822.26916500000004</c:v>
                </c:pt>
                <c:pt idx="783">
                  <c:v>822.26916500000004</c:v>
                </c:pt>
                <c:pt idx="784">
                  <c:v>822.26916500000004</c:v>
                </c:pt>
                <c:pt idx="785">
                  <c:v>822.19495555000003</c:v>
                </c:pt>
                <c:pt idx="786">
                  <c:v>822.19494065000004</c:v>
                </c:pt>
                <c:pt idx="787">
                  <c:v>822.19485870000005</c:v>
                </c:pt>
                <c:pt idx="788">
                  <c:v>822.19476930000008</c:v>
                </c:pt>
                <c:pt idx="789">
                  <c:v>822.19471714999997</c:v>
                </c:pt>
                <c:pt idx="790">
                  <c:v>822.19467244999998</c:v>
                </c:pt>
                <c:pt idx="791">
                  <c:v>822.19466499999999</c:v>
                </c:pt>
                <c:pt idx="792">
                  <c:v>822.19466499999999</c:v>
                </c:pt>
                <c:pt idx="793">
                  <c:v>822.19466499999999</c:v>
                </c:pt>
                <c:pt idx="794">
                  <c:v>822.19466499999999</c:v>
                </c:pt>
                <c:pt idx="795">
                  <c:v>822.19466499999999</c:v>
                </c:pt>
                <c:pt idx="796">
                  <c:v>822.19466499999999</c:v>
                </c:pt>
                <c:pt idx="797">
                  <c:v>822.19466499999999</c:v>
                </c:pt>
                <c:pt idx="798">
                  <c:v>822.19466499999999</c:v>
                </c:pt>
                <c:pt idx="799">
                  <c:v>822.19466499999999</c:v>
                </c:pt>
                <c:pt idx="800">
                  <c:v>822.12093235000009</c:v>
                </c:pt>
                <c:pt idx="801">
                  <c:v>822.12090999999998</c:v>
                </c:pt>
                <c:pt idx="802">
                  <c:v>822.12090999999998</c:v>
                </c:pt>
                <c:pt idx="803">
                  <c:v>822.12086529999999</c:v>
                </c:pt>
                <c:pt idx="804">
                  <c:v>822.12051515000007</c:v>
                </c:pt>
                <c:pt idx="805">
                  <c:v>822.12044809999998</c:v>
                </c:pt>
                <c:pt idx="806">
                  <c:v>822.12040339999999</c:v>
                </c:pt>
                <c:pt idx="807">
                  <c:v>822.12037359999999</c:v>
                </c:pt>
                <c:pt idx="808">
                  <c:v>822.12030655000001</c:v>
                </c:pt>
                <c:pt idx="809">
                  <c:v>822.12028420000001</c:v>
                </c:pt>
                <c:pt idx="810">
                  <c:v>822.12027675000002</c:v>
                </c:pt>
                <c:pt idx="811">
                  <c:v>822.12023950000003</c:v>
                </c:pt>
                <c:pt idx="812">
                  <c:v>822.12023205000003</c:v>
                </c:pt>
                <c:pt idx="813">
                  <c:v>822.12022460000003</c:v>
                </c:pt>
                <c:pt idx="814">
                  <c:v>822.12022460000003</c:v>
                </c:pt>
                <c:pt idx="815">
                  <c:v>822.12019480000004</c:v>
                </c:pt>
                <c:pt idx="816">
                  <c:v>822.12017990000004</c:v>
                </c:pt>
                <c:pt idx="817">
                  <c:v>822.12017990000004</c:v>
                </c:pt>
                <c:pt idx="818">
                  <c:v>822.12017990000004</c:v>
                </c:pt>
                <c:pt idx="819">
                  <c:v>822.12017245000004</c:v>
                </c:pt>
                <c:pt idx="820">
                  <c:v>822.12016499999993</c:v>
                </c:pt>
                <c:pt idx="821">
                  <c:v>822.12016499999993</c:v>
                </c:pt>
                <c:pt idx="822">
                  <c:v>822.12016499999993</c:v>
                </c:pt>
                <c:pt idx="823">
                  <c:v>822.12016499999993</c:v>
                </c:pt>
                <c:pt idx="824">
                  <c:v>822.12016499999993</c:v>
                </c:pt>
                <c:pt idx="825">
                  <c:v>822.12016499999993</c:v>
                </c:pt>
                <c:pt idx="826">
                  <c:v>822.12016499999993</c:v>
                </c:pt>
                <c:pt idx="827">
                  <c:v>822.12016499999993</c:v>
                </c:pt>
                <c:pt idx="828">
                  <c:v>822.12016499999993</c:v>
                </c:pt>
                <c:pt idx="829">
                  <c:v>822.12016499999993</c:v>
                </c:pt>
                <c:pt idx="830">
                  <c:v>822.12016499999993</c:v>
                </c:pt>
                <c:pt idx="831">
                  <c:v>822.12016499999993</c:v>
                </c:pt>
                <c:pt idx="832">
                  <c:v>822.12016499999993</c:v>
                </c:pt>
                <c:pt idx="833">
                  <c:v>822.12016499999993</c:v>
                </c:pt>
                <c:pt idx="834">
                  <c:v>822.12016499999993</c:v>
                </c:pt>
                <c:pt idx="835">
                  <c:v>822.12016499999993</c:v>
                </c:pt>
                <c:pt idx="836">
                  <c:v>822.12016499999993</c:v>
                </c:pt>
                <c:pt idx="837">
                  <c:v>822.12016499999993</c:v>
                </c:pt>
                <c:pt idx="838">
                  <c:v>822.12016499999993</c:v>
                </c:pt>
                <c:pt idx="839">
                  <c:v>822.12016499999993</c:v>
                </c:pt>
                <c:pt idx="840">
                  <c:v>822.12016499999993</c:v>
                </c:pt>
                <c:pt idx="841">
                  <c:v>822.12016499999993</c:v>
                </c:pt>
                <c:pt idx="842">
                  <c:v>822.12016499999993</c:v>
                </c:pt>
                <c:pt idx="843">
                  <c:v>822.12016499999993</c:v>
                </c:pt>
                <c:pt idx="844">
                  <c:v>822.04573950000008</c:v>
                </c:pt>
                <c:pt idx="845">
                  <c:v>822.04568734999998</c:v>
                </c:pt>
                <c:pt idx="846">
                  <c:v>822.04566499999999</c:v>
                </c:pt>
                <c:pt idx="847">
                  <c:v>822.04566499999999</c:v>
                </c:pt>
                <c:pt idx="848">
                  <c:v>822.04566499999999</c:v>
                </c:pt>
                <c:pt idx="849">
                  <c:v>822.04566499999999</c:v>
                </c:pt>
                <c:pt idx="850">
                  <c:v>821.97116500000004</c:v>
                </c:pt>
                <c:pt idx="851">
                  <c:v>821.97116500000004</c:v>
                </c:pt>
                <c:pt idx="852">
                  <c:v>821.89741000000004</c:v>
                </c:pt>
                <c:pt idx="853">
                  <c:v>821.74766499999998</c:v>
                </c:pt>
                <c:pt idx="854">
                  <c:v>821.4496650000001</c:v>
                </c:pt>
                <c:pt idx="855">
                  <c:v>819.64602000000002</c:v>
                </c:pt>
                <c:pt idx="856">
                  <c:v>818.904</c:v>
                </c:pt>
                <c:pt idx="857">
                  <c:v>818.904</c:v>
                </c:pt>
                <c:pt idx="858">
                  <c:v>818.904</c:v>
                </c:pt>
                <c:pt idx="859">
                  <c:v>818.904</c:v>
                </c:pt>
                <c:pt idx="860">
                  <c:v>817.52873</c:v>
                </c:pt>
                <c:pt idx="861">
                  <c:v>816.57148695000001</c:v>
                </c:pt>
                <c:pt idx="862">
                  <c:v>816.57129325000005</c:v>
                </c:pt>
                <c:pt idx="863">
                  <c:v>816.44699000000003</c:v>
                </c:pt>
                <c:pt idx="864">
                  <c:v>816.39761140000007</c:v>
                </c:pt>
                <c:pt idx="865">
                  <c:v>816.32264950000001</c:v>
                </c:pt>
                <c:pt idx="866">
                  <c:v>816.31438000000003</c:v>
                </c:pt>
                <c:pt idx="867">
                  <c:v>816.29724499999998</c:v>
                </c:pt>
                <c:pt idx="868">
                  <c:v>816.24819420000006</c:v>
                </c:pt>
                <c:pt idx="869">
                  <c:v>816.24813459999996</c:v>
                </c:pt>
                <c:pt idx="870">
                  <c:v>816.2480303000001</c:v>
                </c:pt>
                <c:pt idx="871">
                  <c:v>816.23999920000006</c:v>
                </c:pt>
                <c:pt idx="872">
                  <c:v>816.23226610000006</c:v>
                </c:pt>
                <c:pt idx="873">
                  <c:v>816.2320426</c:v>
                </c:pt>
                <c:pt idx="874">
                  <c:v>816.23187869999992</c:v>
                </c:pt>
                <c:pt idx="875">
                  <c:v>816.23178929999995</c:v>
                </c:pt>
                <c:pt idx="876">
                  <c:v>816.23175204999995</c:v>
                </c:pt>
                <c:pt idx="877">
                  <c:v>816.23169989999997</c:v>
                </c:pt>
                <c:pt idx="878">
                  <c:v>816.23168500000008</c:v>
                </c:pt>
                <c:pt idx="879">
                  <c:v>816.23168500000008</c:v>
                </c:pt>
                <c:pt idx="880">
                  <c:v>816.23168500000008</c:v>
                </c:pt>
                <c:pt idx="881">
                  <c:v>816.22357940000006</c:v>
                </c:pt>
                <c:pt idx="882">
                  <c:v>816.22348999999997</c:v>
                </c:pt>
                <c:pt idx="883">
                  <c:v>816.22348999999997</c:v>
                </c:pt>
                <c:pt idx="884">
                  <c:v>816.21529499999997</c:v>
                </c:pt>
                <c:pt idx="885">
                  <c:v>816.16836000000001</c:v>
                </c:pt>
                <c:pt idx="886">
                  <c:v>816.16836000000001</c:v>
                </c:pt>
                <c:pt idx="887">
                  <c:v>816.16836000000001</c:v>
                </c:pt>
                <c:pt idx="888">
                  <c:v>816.16836000000001</c:v>
                </c:pt>
                <c:pt idx="889">
                  <c:v>816.16836000000001</c:v>
                </c:pt>
                <c:pt idx="890">
                  <c:v>816.16836000000001</c:v>
                </c:pt>
                <c:pt idx="891">
                  <c:v>816.16836000000001</c:v>
                </c:pt>
                <c:pt idx="892">
                  <c:v>816.16836000000001</c:v>
                </c:pt>
                <c:pt idx="893">
                  <c:v>816.15740104999998</c:v>
                </c:pt>
                <c:pt idx="894">
                  <c:v>816.15725205000001</c:v>
                </c:pt>
                <c:pt idx="895">
                  <c:v>816.15724460000001</c:v>
                </c:pt>
                <c:pt idx="896">
                  <c:v>816.14926564999996</c:v>
                </c:pt>
                <c:pt idx="897">
                  <c:v>816.1490943</c:v>
                </c:pt>
                <c:pt idx="898">
                  <c:v>816.14875904999997</c:v>
                </c:pt>
                <c:pt idx="899">
                  <c:v>816.14866964999999</c:v>
                </c:pt>
                <c:pt idx="900">
                  <c:v>816.14824499999997</c:v>
                </c:pt>
                <c:pt idx="901">
                  <c:v>816.14824499999997</c:v>
                </c:pt>
                <c:pt idx="902">
                  <c:v>816.14086950000001</c:v>
                </c:pt>
                <c:pt idx="903">
                  <c:v>816.14084715000001</c:v>
                </c:pt>
                <c:pt idx="904">
                  <c:v>816.14079500000003</c:v>
                </c:pt>
                <c:pt idx="905">
                  <c:v>816.14079500000003</c:v>
                </c:pt>
                <c:pt idx="906">
                  <c:v>816.14079500000003</c:v>
                </c:pt>
                <c:pt idx="907">
                  <c:v>816.14079500000003</c:v>
                </c:pt>
                <c:pt idx="908">
                  <c:v>816.14079500000003</c:v>
                </c:pt>
                <c:pt idx="909">
                  <c:v>816.14079500000003</c:v>
                </c:pt>
                <c:pt idx="910">
                  <c:v>816.14079500000003</c:v>
                </c:pt>
                <c:pt idx="911">
                  <c:v>816.14079500000003</c:v>
                </c:pt>
                <c:pt idx="912">
                  <c:v>816.08268500000008</c:v>
                </c:pt>
                <c:pt idx="913">
                  <c:v>816.07472095000003</c:v>
                </c:pt>
                <c:pt idx="914">
                  <c:v>816.07470605000003</c:v>
                </c:pt>
                <c:pt idx="915">
                  <c:v>816.07454214999996</c:v>
                </c:pt>
                <c:pt idx="916">
                  <c:v>816.07451235000008</c:v>
                </c:pt>
                <c:pt idx="917">
                  <c:v>816.07450489999997</c:v>
                </c:pt>
                <c:pt idx="918">
                  <c:v>816.07449744999997</c:v>
                </c:pt>
                <c:pt idx="919">
                  <c:v>816.07448999999997</c:v>
                </c:pt>
                <c:pt idx="920">
                  <c:v>816.07448999999997</c:v>
                </c:pt>
                <c:pt idx="921">
                  <c:v>816.07448999999997</c:v>
                </c:pt>
                <c:pt idx="922">
                  <c:v>816.07448999999997</c:v>
                </c:pt>
                <c:pt idx="923">
                  <c:v>816.07448999999997</c:v>
                </c:pt>
                <c:pt idx="924">
                  <c:v>816.07448999999997</c:v>
                </c:pt>
                <c:pt idx="925">
                  <c:v>816.07448999999997</c:v>
                </c:pt>
                <c:pt idx="926">
                  <c:v>816.07448999999997</c:v>
                </c:pt>
                <c:pt idx="927">
                  <c:v>816.07448999999997</c:v>
                </c:pt>
                <c:pt idx="928">
                  <c:v>816.07448999999997</c:v>
                </c:pt>
                <c:pt idx="929">
                  <c:v>816.07448999999997</c:v>
                </c:pt>
                <c:pt idx="930">
                  <c:v>816.07448999999997</c:v>
                </c:pt>
                <c:pt idx="931">
                  <c:v>816.07448999999997</c:v>
                </c:pt>
                <c:pt idx="932">
                  <c:v>816.07447510000009</c:v>
                </c:pt>
                <c:pt idx="933">
                  <c:v>816.07414730000005</c:v>
                </c:pt>
                <c:pt idx="934">
                  <c:v>816.06633225000007</c:v>
                </c:pt>
                <c:pt idx="935">
                  <c:v>816.06629500000008</c:v>
                </c:pt>
                <c:pt idx="936">
                  <c:v>816.06629500000008</c:v>
                </c:pt>
                <c:pt idx="937">
                  <c:v>816.06629500000008</c:v>
                </c:pt>
                <c:pt idx="938">
                  <c:v>816.00818500000003</c:v>
                </c:pt>
                <c:pt idx="939">
                  <c:v>816.00001235000002</c:v>
                </c:pt>
                <c:pt idx="940">
                  <c:v>815.99999000000003</c:v>
                </c:pt>
                <c:pt idx="941">
                  <c:v>815.99186950000001</c:v>
                </c:pt>
                <c:pt idx="942">
                  <c:v>815.99179500000002</c:v>
                </c:pt>
                <c:pt idx="943">
                  <c:v>815.99179500000002</c:v>
                </c:pt>
                <c:pt idx="944">
                  <c:v>815.98360000000002</c:v>
                </c:pt>
                <c:pt idx="945">
                  <c:v>815.92551234999996</c:v>
                </c:pt>
                <c:pt idx="946">
                  <c:v>815.92549000000008</c:v>
                </c:pt>
                <c:pt idx="947">
                  <c:v>815.92549000000008</c:v>
                </c:pt>
                <c:pt idx="948">
                  <c:v>815.84280245000002</c:v>
                </c:pt>
                <c:pt idx="949">
                  <c:v>815.84279500000002</c:v>
                </c:pt>
                <c:pt idx="950">
                  <c:v>815.70199745000002</c:v>
                </c:pt>
                <c:pt idx="951">
                  <c:v>813.85662500000012</c:v>
                </c:pt>
                <c:pt idx="952">
                  <c:v>813.6845821500001</c:v>
                </c:pt>
                <c:pt idx="953">
                  <c:v>813.68453</c:v>
                </c:pt>
                <c:pt idx="954">
                  <c:v>813.6102535</c:v>
                </c:pt>
                <c:pt idx="955">
                  <c:v>813.61014175000003</c:v>
                </c:pt>
                <c:pt idx="956">
                  <c:v>813.61010450000003</c:v>
                </c:pt>
                <c:pt idx="957">
                  <c:v>813.61008215000004</c:v>
                </c:pt>
                <c:pt idx="958">
                  <c:v>813.61008215000004</c:v>
                </c:pt>
                <c:pt idx="959">
                  <c:v>813.61005234999993</c:v>
                </c:pt>
                <c:pt idx="960">
                  <c:v>813.61003000000005</c:v>
                </c:pt>
                <c:pt idx="961">
                  <c:v>813.61003000000005</c:v>
                </c:pt>
                <c:pt idx="962">
                  <c:v>813.61003000000005</c:v>
                </c:pt>
                <c:pt idx="963">
                  <c:v>813.61003000000005</c:v>
                </c:pt>
                <c:pt idx="964">
                  <c:v>813.5485898500001</c:v>
                </c:pt>
                <c:pt idx="965">
                  <c:v>813.53853979999997</c:v>
                </c:pt>
                <c:pt idx="966">
                  <c:v>813.53793635000011</c:v>
                </c:pt>
                <c:pt idx="967">
                  <c:v>813.5355449000001</c:v>
                </c:pt>
                <c:pt idx="968">
                  <c:v>813.53552999999999</c:v>
                </c:pt>
                <c:pt idx="969">
                  <c:v>813.53552999999999</c:v>
                </c:pt>
                <c:pt idx="970">
                  <c:v>813.53552999999999</c:v>
                </c:pt>
                <c:pt idx="971">
                  <c:v>813.53552999999999</c:v>
                </c:pt>
                <c:pt idx="972">
                  <c:v>813.53552999999999</c:v>
                </c:pt>
                <c:pt idx="973">
                  <c:v>813.53552999999999</c:v>
                </c:pt>
                <c:pt idx="974">
                  <c:v>813.53552999999999</c:v>
                </c:pt>
                <c:pt idx="975">
                  <c:v>813.47449960000006</c:v>
                </c:pt>
                <c:pt idx="976">
                  <c:v>813.47446980000007</c:v>
                </c:pt>
                <c:pt idx="977">
                  <c:v>813.47445490000007</c:v>
                </c:pt>
                <c:pt idx="978">
                  <c:v>813.47443999999996</c:v>
                </c:pt>
                <c:pt idx="979">
                  <c:v>813.47443999999996</c:v>
                </c:pt>
                <c:pt idx="980">
                  <c:v>813.47443999999996</c:v>
                </c:pt>
                <c:pt idx="981">
                  <c:v>813.47443999999996</c:v>
                </c:pt>
                <c:pt idx="982">
                  <c:v>813.47443999999996</c:v>
                </c:pt>
                <c:pt idx="983">
                  <c:v>813.47443999999996</c:v>
                </c:pt>
                <c:pt idx="984">
                  <c:v>813.47443999999996</c:v>
                </c:pt>
                <c:pt idx="985">
                  <c:v>813.47443999999996</c:v>
                </c:pt>
                <c:pt idx="986">
                  <c:v>813.47443999999996</c:v>
                </c:pt>
                <c:pt idx="987">
                  <c:v>813.47443999999996</c:v>
                </c:pt>
                <c:pt idx="988">
                  <c:v>813.47443999999996</c:v>
                </c:pt>
                <c:pt idx="989">
                  <c:v>813.47443999999996</c:v>
                </c:pt>
                <c:pt idx="990">
                  <c:v>813.46109705000003</c:v>
                </c:pt>
                <c:pt idx="991">
                  <c:v>813.46103000000005</c:v>
                </c:pt>
                <c:pt idx="992">
                  <c:v>813.46103000000005</c:v>
                </c:pt>
                <c:pt idx="993">
                  <c:v>813.46103000000005</c:v>
                </c:pt>
                <c:pt idx="994">
                  <c:v>813.46103000000005</c:v>
                </c:pt>
                <c:pt idx="995">
                  <c:v>813.46103000000005</c:v>
                </c:pt>
                <c:pt idx="996">
                  <c:v>813.46103000000005</c:v>
                </c:pt>
                <c:pt idx="997">
                  <c:v>813.46103000000005</c:v>
                </c:pt>
                <c:pt idx="998">
                  <c:v>813.46103000000005</c:v>
                </c:pt>
                <c:pt idx="999">
                  <c:v>813.46103000000005</c:v>
                </c:pt>
                <c:pt idx="1000">
                  <c:v>813.46103000000005</c:v>
                </c:pt>
                <c:pt idx="1001">
                  <c:v>813.46103000000005</c:v>
                </c:pt>
                <c:pt idx="1002">
                  <c:v>813.46103000000005</c:v>
                </c:pt>
                <c:pt idx="1003">
                  <c:v>813.46103000000005</c:v>
                </c:pt>
                <c:pt idx="1004">
                  <c:v>813.46103000000005</c:v>
                </c:pt>
                <c:pt idx="1005">
                  <c:v>813.46103000000005</c:v>
                </c:pt>
                <c:pt idx="1006">
                  <c:v>813.46103000000005</c:v>
                </c:pt>
                <c:pt idx="1007">
                  <c:v>813.46103000000005</c:v>
                </c:pt>
                <c:pt idx="1008">
                  <c:v>813.46103000000005</c:v>
                </c:pt>
                <c:pt idx="1009">
                  <c:v>813.39994000000002</c:v>
                </c:pt>
                <c:pt idx="1010">
                  <c:v>813.39994000000002</c:v>
                </c:pt>
                <c:pt idx="1011">
                  <c:v>813.39994000000002</c:v>
                </c:pt>
                <c:pt idx="1012">
                  <c:v>813.38652999999999</c:v>
                </c:pt>
                <c:pt idx="1013">
                  <c:v>813.38652999999999</c:v>
                </c:pt>
                <c:pt idx="1014">
                  <c:v>813.38652999999999</c:v>
                </c:pt>
                <c:pt idx="1015">
                  <c:v>813.32543999999996</c:v>
                </c:pt>
                <c:pt idx="1016">
                  <c:v>813.32543999999996</c:v>
                </c:pt>
                <c:pt idx="1017">
                  <c:v>813.31202999999994</c:v>
                </c:pt>
                <c:pt idx="1018">
                  <c:v>813.31202999999994</c:v>
                </c:pt>
                <c:pt idx="1019">
                  <c:v>813.25094000000001</c:v>
                </c:pt>
                <c:pt idx="1020">
                  <c:v>813.25094000000001</c:v>
                </c:pt>
                <c:pt idx="1021">
                  <c:v>813.25094000000001</c:v>
                </c:pt>
                <c:pt idx="1022">
                  <c:v>813.22560999999996</c:v>
                </c:pt>
                <c:pt idx="1023">
                  <c:v>811.57618000000002</c:v>
                </c:pt>
                <c:pt idx="1024">
                  <c:v>811.56969105000007</c:v>
                </c:pt>
                <c:pt idx="1025">
                  <c:v>810.06245920000003</c:v>
                </c:pt>
                <c:pt idx="1026">
                  <c:v>809.98791449999999</c:v>
                </c:pt>
                <c:pt idx="1027">
                  <c:v>809.98784000000001</c:v>
                </c:pt>
                <c:pt idx="1028">
                  <c:v>809.98784000000001</c:v>
                </c:pt>
                <c:pt idx="1029">
                  <c:v>809.9618246</c:v>
                </c:pt>
                <c:pt idx="1030">
                  <c:v>809.81276500000013</c:v>
                </c:pt>
                <c:pt idx="1031">
                  <c:v>809.66376500000001</c:v>
                </c:pt>
                <c:pt idx="1032">
                  <c:v>802.18918000000008</c:v>
                </c:pt>
                <c:pt idx="1033">
                  <c:v>802.18918000000008</c:v>
                </c:pt>
                <c:pt idx="1034">
                  <c:v>802.18918000000008</c:v>
                </c:pt>
                <c:pt idx="1035">
                  <c:v>802.18918000000008</c:v>
                </c:pt>
                <c:pt idx="1036">
                  <c:v>802.04092500000002</c:v>
                </c:pt>
                <c:pt idx="1037">
                  <c:v>802.04022470000007</c:v>
                </c:pt>
                <c:pt idx="1038">
                  <c:v>802.04022470000007</c:v>
                </c:pt>
                <c:pt idx="1039">
                  <c:v>802.04018745000008</c:v>
                </c:pt>
                <c:pt idx="1040">
                  <c:v>802.04018000000008</c:v>
                </c:pt>
                <c:pt idx="1041">
                  <c:v>802.04018000000008</c:v>
                </c:pt>
                <c:pt idx="1042">
                  <c:v>802.04018000000008</c:v>
                </c:pt>
                <c:pt idx="1043">
                  <c:v>802.03971064999996</c:v>
                </c:pt>
                <c:pt idx="1044">
                  <c:v>800.6354154500001</c:v>
                </c:pt>
                <c:pt idx="1045">
                  <c:v>800.63540799999998</c:v>
                </c:pt>
                <c:pt idx="1046">
                  <c:v>800.63527390000002</c:v>
                </c:pt>
                <c:pt idx="1047">
                  <c:v>800.63510999999994</c:v>
                </c:pt>
                <c:pt idx="1048">
                  <c:v>800.19108999999992</c:v>
                </c:pt>
                <c:pt idx="1049">
                  <c:v>800.04209000000003</c:v>
                </c:pt>
                <c:pt idx="1050">
                  <c:v>799.39021500000001</c:v>
                </c:pt>
                <c:pt idx="1051">
                  <c:v>799.39021500000001</c:v>
                </c:pt>
                <c:pt idx="1052">
                  <c:v>799.24121500000001</c:v>
                </c:pt>
                <c:pt idx="1053">
                  <c:v>792.30685185000004</c:v>
                </c:pt>
                <c:pt idx="1054">
                  <c:v>790.69755499999997</c:v>
                </c:pt>
                <c:pt idx="1055">
                  <c:v>788.29642000000001</c:v>
                </c:pt>
                <c:pt idx="1056">
                  <c:v>787.17149234999999</c:v>
                </c:pt>
                <c:pt idx="1057">
                  <c:v>787.17132844999992</c:v>
                </c:pt>
                <c:pt idx="1058">
                  <c:v>785.94610890000001</c:v>
                </c:pt>
                <c:pt idx="1059">
                  <c:v>785.79720574999999</c:v>
                </c:pt>
                <c:pt idx="1060">
                  <c:v>785.67298445000006</c:v>
                </c:pt>
                <c:pt idx="1061">
                  <c:v>785.67270880000001</c:v>
                </c:pt>
                <c:pt idx="1062">
                  <c:v>785.67267900000002</c:v>
                </c:pt>
                <c:pt idx="1063">
                  <c:v>785.52431224999998</c:v>
                </c:pt>
                <c:pt idx="1064">
                  <c:v>785.52427499999999</c:v>
                </c:pt>
                <c:pt idx="1065">
                  <c:v>785.52427499999999</c:v>
                </c:pt>
                <c:pt idx="1066">
                  <c:v>785.52427499999999</c:v>
                </c:pt>
                <c:pt idx="1067">
                  <c:v>785.52427499999999</c:v>
                </c:pt>
                <c:pt idx="1068">
                  <c:v>785.52427499999999</c:v>
                </c:pt>
                <c:pt idx="1069">
                  <c:v>785.52427499999999</c:v>
                </c:pt>
                <c:pt idx="1070">
                  <c:v>785.52427499999999</c:v>
                </c:pt>
                <c:pt idx="1071">
                  <c:v>785.52427499999999</c:v>
                </c:pt>
                <c:pt idx="1072">
                  <c:v>785.52368645000001</c:v>
                </c:pt>
                <c:pt idx="1073">
                  <c:v>785.52364175000002</c:v>
                </c:pt>
                <c:pt idx="1074">
                  <c:v>785.52362685000003</c:v>
                </c:pt>
                <c:pt idx="1075">
                  <c:v>785.52361940000003</c:v>
                </c:pt>
                <c:pt idx="1076">
                  <c:v>785.44977500000005</c:v>
                </c:pt>
                <c:pt idx="1077">
                  <c:v>785.44977500000005</c:v>
                </c:pt>
                <c:pt idx="1078">
                  <c:v>785.37527499999999</c:v>
                </c:pt>
                <c:pt idx="1079">
                  <c:v>785.37527499999999</c:v>
                </c:pt>
                <c:pt idx="1080">
                  <c:v>785.37527499999999</c:v>
                </c:pt>
                <c:pt idx="1081">
                  <c:v>785.30003000000011</c:v>
                </c:pt>
                <c:pt idx="1082">
                  <c:v>778.63024615000006</c:v>
                </c:pt>
                <c:pt idx="1083">
                  <c:v>778.63015675000008</c:v>
                </c:pt>
                <c:pt idx="1084">
                  <c:v>778.630045</c:v>
                </c:pt>
                <c:pt idx="1085">
                  <c:v>778.55588024999997</c:v>
                </c:pt>
                <c:pt idx="1086">
                  <c:v>778.55579829999999</c:v>
                </c:pt>
                <c:pt idx="1087">
                  <c:v>778.55561205000004</c:v>
                </c:pt>
                <c:pt idx="1088">
                  <c:v>778.55537364999998</c:v>
                </c:pt>
                <c:pt idx="1089">
                  <c:v>778.48104499999999</c:v>
                </c:pt>
                <c:pt idx="1090">
                  <c:v>778.48104499999999</c:v>
                </c:pt>
                <c:pt idx="1091">
                  <c:v>778.40654500000005</c:v>
                </c:pt>
                <c:pt idx="1092">
                  <c:v>778.18304499999999</c:v>
                </c:pt>
                <c:pt idx="1093">
                  <c:v>775.13301500000011</c:v>
                </c:pt>
                <c:pt idx="1094">
                  <c:v>775.13301500000011</c:v>
                </c:pt>
                <c:pt idx="1095">
                  <c:v>775.13301500000011</c:v>
                </c:pt>
                <c:pt idx="1096">
                  <c:v>774.26151399999992</c:v>
                </c:pt>
                <c:pt idx="1097">
                  <c:v>774.18687245000001</c:v>
                </c:pt>
                <c:pt idx="1098">
                  <c:v>774.17198734999999</c:v>
                </c:pt>
                <c:pt idx="1099">
                  <c:v>773.13492499999995</c:v>
                </c:pt>
                <c:pt idx="1100">
                  <c:v>773.13492499999995</c:v>
                </c:pt>
                <c:pt idx="1101">
                  <c:v>773.06042500000001</c:v>
                </c:pt>
                <c:pt idx="1102">
                  <c:v>772.91142500000001</c:v>
                </c:pt>
                <c:pt idx="1103">
                  <c:v>769.92472000000009</c:v>
                </c:pt>
                <c:pt idx="1104">
                  <c:v>766.56476999999995</c:v>
                </c:pt>
                <c:pt idx="1105">
                  <c:v>766.49027000000001</c:v>
                </c:pt>
                <c:pt idx="1106">
                  <c:v>766.41579234999995</c:v>
                </c:pt>
                <c:pt idx="1107">
                  <c:v>766.41577744999995</c:v>
                </c:pt>
                <c:pt idx="1108">
                  <c:v>766.26677000000007</c:v>
                </c:pt>
                <c:pt idx="1109">
                  <c:v>766.26677000000007</c:v>
                </c:pt>
                <c:pt idx="1110">
                  <c:v>766.19227000000001</c:v>
                </c:pt>
                <c:pt idx="1111">
                  <c:v>766.19227000000001</c:v>
                </c:pt>
                <c:pt idx="1112">
                  <c:v>766.19227000000001</c:v>
                </c:pt>
                <c:pt idx="1113">
                  <c:v>766.19227000000001</c:v>
                </c:pt>
                <c:pt idx="1114">
                  <c:v>766.118515</c:v>
                </c:pt>
                <c:pt idx="1115">
                  <c:v>766.118515</c:v>
                </c:pt>
                <c:pt idx="1116">
                  <c:v>766.11776999999995</c:v>
                </c:pt>
                <c:pt idx="1117">
                  <c:v>765.01607890000002</c:v>
                </c:pt>
                <c:pt idx="1118">
                  <c:v>765.01607890000002</c:v>
                </c:pt>
                <c:pt idx="1119">
                  <c:v>765.01595970000005</c:v>
                </c:pt>
                <c:pt idx="1120">
                  <c:v>765.01591500000006</c:v>
                </c:pt>
                <c:pt idx="1121">
                  <c:v>765.01591500000006</c:v>
                </c:pt>
                <c:pt idx="1122">
                  <c:v>765.01591500000006</c:v>
                </c:pt>
                <c:pt idx="1123">
                  <c:v>765.01591500000006</c:v>
                </c:pt>
                <c:pt idx="1124">
                  <c:v>765.01591500000006</c:v>
                </c:pt>
                <c:pt idx="1125">
                  <c:v>765.01591500000006</c:v>
                </c:pt>
                <c:pt idx="1126">
                  <c:v>764.94142245</c:v>
                </c:pt>
                <c:pt idx="1127">
                  <c:v>764.94141500000001</c:v>
                </c:pt>
                <c:pt idx="1128">
                  <c:v>760.79028245000006</c:v>
                </c:pt>
                <c:pt idx="1129">
                  <c:v>760.79027500000007</c:v>
                </c:pt>
                <c:pt idx="1130">
                  <c:v>760.71577500000001</c:v>
                </c:pt>
                <c:pt idx="1131">
                  <c:v>760.5668420500001</c:v>
                </c:pt>
                <c:pt idx="1132">
                  <c:v>760.56677500000001</c:v>
                </c:pt>
                <c:pt idx="1133">
                  <c:v>760.56677500000001</c:v>
                </c:pt>
                <c:pt idx="1134">
                  <c:v>760.56677500000001</c:v>
                </c:pt>
                <c:pt idx="1135">
                  <c:v>760.56677500000001</c:v>
                </c:pt>
                <c:pt idx="1136">
                  <c:v>760.56677500000001</c:v>
                </c:pt>
                <c:pt idx="1137">
                  <c:v>760.56677500000001</c:v>
                </c:pt>
                <c:pt idx="1138">
                  <c:v>760.56677500000001</c:v>
                </c:pt>
                <c:pt idx="1139">
                  <c:v>760.56677500000001</c:v>
                </c:pt>
                <c:pt idx="1140">
                  <c:v>760.56677500000001</c:v>
                </c:pt>
                <c:pt idx="1141">
                  <c:v>760.49229735000006</c:v>
                </c:pt>
                <c:pt idx="1142">
                  <c:v>760.49227499999995</c:v>
                </c:pt>
                <c:pt idx="1143">
                  <c:v>760.49227499999995</c:v>
                </c:pt>
                <c:pt idx="1144">
                  <c:v>760.41777500000001</c:v>
                </c:pt>
                <c:pt idx="1145">
                  <c:v>760.41777500000001</c:v>
                </c:pt>
                <c:pt idx="1146">
                  <c:v>757.56740500000001</c:v>
                </c:pt>
                <c:pt idx="1147">
                  <c:v>757.12114999999994</c:v>
                </c:pt>
                <c:pt idx="1148">
                  <c:v>757.02802500000007</c:v>
                </c:pt>
                <c:pt idx="1149">
                  <c:v>756.87902499999996</c:v>
                </c:pt>
                <c:pt idx="1150">
                  <c:v>756.87902499999996</c:v>
                </c:pt>
                <c:pt idx="1151">
                  <c:v>756.87902499999996</c:v>
                </c:pt>
                <c:pt idx="1152">
                  <c:v>756.87902499999996</c:v>
                </c:pt>
                <c:pt idx="1153">
                  <c:v>756.87902499999996</c:v>
                </c:pt>
                <c:pt idx="1154">
                  <c:v>756.87902499999996</c:v>
                </c:pt>
                <c:pt idx="1155">
                  <c:v>756.87902499999996</c:v>
                </c:pt>
                <c:pt idx="1156">
                  <c:v>756.87902499999996</c:v>
                </c:pt>
                <c:pt idx="1157">
                  <c:v>756.87902499999996</c:v>
                </c:pt>
                <c:pt idx="1158">
                  <c:v>756.87902499999996</c:v>
                </c:pt>
                <c:pt idx="1159">
                  <c:v>756.87902499999996</c:v>
                </c:pt>
                <c:pt idx="1160">
                  <c:v>756.87902499999996</c:v>
                </c:pt>
                <c:pt idx="1161">
                  <c:v>756.87902499999996</c:v>
                </c:pt>
                <c:pt idx="1162">
                  <c:v>756.87902499999996</c:v>
                </c:pt>
                <c:pt idx="1163">
                  <c:v>756.80452500000001</c:v>
                </c:pt>
                <c:pt idx="1164">
                  <c:v>756.65552500000001</c:v>
                </c:pt>
                <c:pt idx="1165">
                  <c:v>755.40913999999998</c:v>
                </c:pt>
                <c:pt idx="1166">
                  <c:v>754.49279000000001</c:v>
                </c:pt>
                <c:pt idx="1167">
                  <c:v>747.36239499999999</c:v>
                </c:pt>
                <c:pt idx="1168">
                  <c:v>747.35494500000004</c:v>
                </c:pt>
                <c:pt idx="1169">
                  <c:v>747.35494500000004</c:v>
                </c:pt>
                <c:pt idx="1170">
                  <c:v>747.35494500000004</c:v>
                </c:pt>
                <c:pt idx="1171">
                  <c:v>747.20594499999993</c:v>
                </c:pt>
                <c:pt idx="1172">
                  <c:v>745.07459685000003</c:v>
                </c:pt>
                <c:pt idx="1173">
                  <c:v>745.07453725000005</c:v>
                </c:pt>
                <c:pt idx="1174">
                  <c:v>745.07450000000006</c:v>
                </c:pt>
                <c:pt idx="1175">
                  <c:v>745.00000745</c:v>
                </c:pt>
                <c:pt idx="1176">
                  <c:v>744.92551490000005</c:v>
                </c:pt>
                <c:pt idx="1177">
                  <c:v>744.92544784999995</c:v>
                </c:pt>
                <c:pt idx="1178">
                  <c:v>744.851</c:v>
                </c:pt>
                <c:pt idx="1179">
                  <c:v>742.37789799999996</c:v>
                </c:pt>
                <c:pt idx="1180">
                  <c:v>742.30339800000002</c:v>
                </c:pt>
                <c:pt idx="1181">
                  <c:v>742.30339800000002</c:v>
                </c:pt>
                <c:pt idx="1182">
                  <c:v>742.30339800000002</c:v>
                </c:pt>
                <c:pt idx="1183">
                  <c:v>742.30339800000002</c:v>
                </c:pt>
                <c:pt idx="1184">
                  <c:v>742.30339800000002</c:v>
                </c:pt>
                <c:pt idx="1185">
                  <c:v>741.38976724999998</c:v>
                </c:pt>
                <c:pt idx="1186">
                  <c:v>741.38973744999998</c:v>
                </c:pt>
                <c:pt idx="1187">
                  <c:v>741.38972999999999</c:v>
                </c:pt>
                <c:pt idx="1188">
                  <c:v>741.38972999999999</c:v>
                </c:pt>
                <c:pt idx="1189">
                  <c:v>741.38972999999999</c:v>
                </c:pt>
                <c:pt idx="1190">
                  <c:v>741.2407300000001</c:v>
                </c:pt>
                <c:pt idx="1191">
                  <c:v>741.2407225500001</c:v>
                </c:pt>
                <c:pt idx="1192">
                  <c:v>741.09172999999998</c:v>
                </c:pt>
                <c:pt idx="1193">
                  <c:v>740.96560150000005</c:v>
                </c:pt>
                <c:pt idx="1194">
                  <c:v>740.96560150000005</c:v>
                </c:pt>
                <c:pt idx="1195">
                  <c:v>740.96560150000005</c:v>
                </c:pt>
                <c:pt idx="1196">
                  <c:v>740.96560150000005</c:v>
                </c:pt>
                <c:pt idx="1197">
                  <c:v>740.96560150000005</c:v>
                </c:pt>
                <c:pt idx="1198">
                  <c:v>740.41266250000001</c:v>
                </c:pt>
                <c:pt idx="1199">
                  <c:v>740.33808799999997</c:v>
                </c:pt>
                <c:pt idx="1200">
                  <c:v>740.26358800000003</c:v>
                </c:pt>
                <c:pt idx="1201">
                  <c:v>739.98294650000003</c:v>
                </c:pt>
                <c:pt idx="1202">
                  <c:v>738.60462199999995</c:v>
                </c:pt>
                <c:pt idx="1203">
                  <c:v>737.61521730000004</c:v>
                </c:pt>
                <c:pt idx="1204">
                  <c:v>735.14864150000005</c:v>
                </c:pt>
                <c:pt idx="1205">
                  <c:v>735.09641699999997</c:v>
                </c:pt>
                <c:pt idx="1206">
                  <c:v>735.02199150000001</c:v>
                </c:pt>
                <c:pt idx="1207">
                  <c:v>734.85691440000005</c:v>
                </c:pt>
                <c:pt idx="1208">
                  <c:v>734.85689949999994</c:v>
                </c:pt>
                <c:pt idx="1209">
                  <c:v>734.85689949999994</c:v>
                </c:pt>
                <c:pt idx="1210">
                  <c:v>734.85689949999994</c:v>
                </c:pt>
                <c:pt idx="1211">
                  <c:v>734.85689949999994</c:v>
                </c:pt>
                <c:pt idx="1212">
                  <c:v>734.85689949999994</c:v>
                </c:pt>
                <c:pt idx="1213">
                  <c:v>734.85689949999994</c:v>
                </c:pt>
                <c:pt idx="1214">
                  <c:v>734.85689949999994</c:v>
                </c:pt>
                <c:pt idx="1215">
                  <c:v>734.85689949999994</c:v>
                </c:pt>
                <c:pt idx="1216">
                  <c:v>734.85689949999994</c:v>
                </c:pt>
                <c:pt idx="1217">
                  <c:v>734.85689205000006</c:v>
                </c:pt>
                <c:pt idx="1218">
                  <c:v>734.85688460000006</c:v>
                </c:pt>
                <c:pt idx="1219">
                  <c:v>734.83209844999999</c:v>
                </c:pt>
                <c:pt idx="1220">
                  <c:v>734.8320910000001</c:v>
                </c:pt>
                <c:pt idx="1221">
                  <c:v>734.8320910000001</c:v>
                </c:pt>
                <c:pt idx="1222">
                  <c:v>734.80728250000004</c:v>
                </c:pt>
                <c:pt idx="1223">
                  <c:v>734.78239950000011</c:v>
                </c:pt>
                <c:pt idx="1224">
                  <c:v>734.78239950000011</c:v>
                </c:pt>
                <c:pt idx="1225">
                  <c:v>734.75866380000002</c:v>
                </c:pt>
                <c:pt idx="1226">
                  <c:v>734.75865635000002</c:v>
                </c:pt>
                <c:pt idx="1227">
                  <c:v>734.75760589999993</c:v>
                </c:pt>
                <c:pt idx="1228">
                  <c:v>734.75759845000005</c:v>
                </c:pt>
                <c:pt idx="1229">
                  <c:v>734.75759100000005</c:v>
                </c:pt>
                <c:pt idx="1230">
                  <c:v>734.75759100000005</c:v>
                </c:pt>
                <c:pt idx="1231">
                  <c:v>734.75759100000005</c:v>
                </c:pt>
                <c:pt idx="1232">
                  <c:v>734.75759100000005</c:v>
                </c:pt>
                <c:pt idx="1233">
                  <c:v>734.75759100000005</c:v>
                </c:pt>
                <c:pt idx="1234">
                  <c:v>734.75759100000005</c:v>
                </c:pt>
                <c:pt idx="1235">
                  <c:v>734.75759100000005</c:v>
                </c:pt>
                <c:pt idx="1236">
                  <c:v>734.75759100000005</c:v>
                </c:pt>
                <c:pt idx="1237">
                  <c:v>734.75759100000005</c:v>
                </c:pt>
                <c:pt idx="1238">
                  <c:v>734.75759100000005</c:v>
                </c:pt>
                <c:pt idx="1239">
                  <c:v>734.75759100000005</c:v>
                </c:pt>
                <c:pt idx="1240">
                  <c:v>734.75759100000005</c:v>
                </c:pt>
                <c:pt idx="1241">
                  <c:v>734.75759100000005</c:v>
                </c:pt>
                <c:pt idx="1242">
                  <c:v>734.75759100000005</c:v>
                </c:pt>
                <c:pt idx="1243">
                  <c:v>734.75759100000005</c:v>
                </c:pt>
                <c:pt idx="1244">
                  <c:v>734.75758355000005</c:v>
                </c:pt>
                <c:pt idx="1245">
                  <c:v>734.75755375000006</c:v>
                </c:pt>
                <c:pt idx="1246">
                  <c:v>734.74634150000009</c:v>
                </c:pt>
                <c:pt idx="1247">
                  <c:v>734.73273035</c:v>
                </c:pt>
                <c:pt idx="1248">
                  <c:v>734.70789950000005</c:v>
                </c:pt>
                <c:pt idx="1249">
                  <c:v>734.70789950000005</c:v>
                </c:pt>
                <c:pt idx="1250">
                  <c:v>734.70789950000005</c:v>
                </c:pt>
                <c:pt idx="1251">
                  <c:v>734.70789950000005</c:v>
                </c:pt>
                <c:pt idx="1252">
                  <c:v>734.70789950000005</c:v>
                </c:pt>
                <c:pt idx="1253">
                  <c:v>734.70789950000005</c:v>
                </c:pt>
                <c:pt idx="1254">
                  <c:v>734.70789950000005</c:v>
                </c:pt>
                <c:pt idx="1255">
                  <c:v>734.70789950000005</c:v>
                </c:pt>
                <c:pt idx="1256">
                  <c:v>734.70789950000005</c:v>
                </c:pt>
                <c:pt idx="1257">
                  <c:v>734.70789950000005</c:v>
                </c:pt>
                <c:pt idx="1258">
                  <c:v>734.70789950000005</c:v>
                </c:pt>
                <c:pt idx="1259">
                  <c:v>734.70789950000005</c:v>
                </c:pt>
                <c:pt idx="1260">
                  <c:v>734.70789950000005</c:v>
                </c:pt>
                <c:pt idx="1261">
                  <c:v>734.70789950000005</c:v>
                </c:pt>
                <c:pt idx="1262">
                  <c:v>734.70789950000005</c:v>
                </c:pt>
                <c:pt idx="1263">
                  <c:v>734.70789950000005</c:v>
                </c:pt>
                <c:pt idx="1264">
                  <c:v>734.70789950000005</c:v>
                </c:pt>
                <c:pt idx="1265">
                  <c:v>734.69417660000011</c:v>
                </c:pt>
                <c:pt idx="1266">
                  <c:v>734.6831059000001</c:v>
                </c:pt>
                <c:pt idx="1267">
                  <c:v>734.6830984500001</c:v>
                </c:pt>
                <c:pt idx="1268">
                  <c:v>734.68308354999999</c:v>
                </c:pt>
                <c:pt idx="1269">
                  <c:v>734.68307609999999</c:v>
                </c:pt>
                <c:pt idx="1270">
                  <c:v>734.68306865</c:v>
                </c:pt>
                <c:pt idx="1271">
                  <c:v>734.68303885</c:v>
                </c:pt>
                <c:pt idx="1272">
                  <c:v>734.68302395000001</c:v>
                </c:pt>
                <c:pt idx="1273">
                  <c:v>734.68301650000001</c:v>
                </c:pt>
                <c:pt idx="1274">
                  <c:v>734.68301650000001</c:v>
                </c:pt>
                <c:pt idx="1275">
                  <c:v>734.68301650000001</c:v>
                </c:pt>
                <c:pt idx="1276">
                  <c:v>734.68301650000001</c:v>
                </c:pt>
                <c:pt idx="1277">
                  <c:v>734.68301650000001</c:v>
                </c:pt>
                <c:pt idx="1278">
                  <c:v>734.68301650000001</c:v>
                </c:pt>
                <c:pt idx="1279">
                  <c:v>734.68301650000001</c:v>
                </c:pt>
                <c:pt idx="1280">
                  <c:v>734.68301650000001</c:v>
                </c:pt>
                <c:pt idx="1281">
                  <c:v>734.68301650000001</c:v>
                </c:pt>
                <c:pt idx="1282">
                  <c:v>734.68301650000001</c:v>
                </c:pt>
                <c:pt idx="1283">
                  <c:v>734.68301650000001</c:v>
                </c:pt>
                <c:pt idx="1284">
                  <c:v>734.68301650000001</c:v>
                </c:pt>
                <c:pt idx="1285">
                  <c:v>734.68301650000001</c:v>
                </c:pt>
                <c:pt idx="1286">
                  <c:v>734.68301650000001</c:v>
                </c:pt>
                <c:pt idx="1287">
                  <c:v>734.68301650000001</c:v>
                </c:pt>
                <c:pt idx="1288">
                  <c:v>734.68301650000001</c:v>
                </c:pt>
                <c:pt idx="1289">
                  <c:v>734.68301650000001</c:v>
                </c:pt>
                <c:pt idx="1290">
                  <c:v>734.68301650000001</c:v>
                </c:pt>
                <c:pt idx="1291">
                  <c:v>734.68301650000001</c:v>
                </c:pt>
                <c:pt idx="1292">
                  <c:v>734.68301650000001</c:v>
                </c:pt>
                <c:pt idx="1293">
                  <c:v>734.68301650000001</c:v>
                </c:pt>
                <c:pt idx="1294">
                  <c:v>734.68301650000001</c:v>
                </c:pt>
                <c:pt idx="1295">
                  <c:v>734.68301650000001</c:v>
                </c:pt>
                <c:pt idx="1296">
                  <c:v>734.68301650000001</c:v>
                </c:pt>
                <c:pt idx="1297">
                  <c:v>734.68301650000001</c:v>
                </c:pt>
                <c:pt idx="1298">
                  <c:v>734.68301650000001</c:v>
                </c:pt>
                <c:pt idx="1299">
                  <c:v>734.68301650000001</c:v>
                </c:pt>
                <c:pt idx="1300">
                  <c:v>734.68301650000001</c:v>
                </c:pt>
                <c:pt idx="1301">
                  <c:v>734.68301650000001</c:v>
                </c:pt>
                <c:pt idx="1302">
                  <c:v>734.68301650000001</c:v>
                </c:pt>
                <c:pt idx="1303">
                  <c:v>734.68301650000001</c:v>
                </c:pt>
                <c:pt idx="1304">
                  <c:v>734.68301650000001</c:v>
                </c:pt>
                <c:pt idx="1305">
                  <c:v>734.68301650000001</c:v>
                </c:pt>
                <c:pt idx="1306">
                  <c:v>734.68301650000001</c:v>
                </c:pt>
                <c:pt idx="1307">
                  <c:v>734.68301650000001</c:v>
                </c:pt>
                <c:pt idx="1308">
                  <c:v>734.6681165</c:v>
                </c:pt>
                <c:pt idx="1309">
                  <c:v>734.65828250000004</c:v>
                </c:pt>
                <c:pt idx="1310">
                  <c:v>734.65828250000004</c:v>
                </c:pt>
                <c:pt idx="1311">
                  <c:v>734.65828250000004</c:v>
                </c:pt>
                <c:pt idx="1312">
                  <c:v>734.65828250000004</c:v>
                </c:pt>
                <c:pt idx="1313">
                  <c:v>734.65828250000004</c:v>
                </c:pt>
                <c:pt idx="1314">
                  <c:v>734.65828250000004</c:v>
                </c:pt>
                <c:pt idx="1315">
                  <c:v>734.65820800000006</c:v>
                </c:pt>
                <c:pt idx="1316">
                  <c:v>734.65820800000006</c:v>
                </c:pt>
                <c:pt idx="1317">
                  <c:v>734.65329100000008</c:v>
                </c:pt>
                <c:pt idx="1318">
                  <c:v>734.63831650000009</c:v>
                </c:pt>
                <c:pt idx="1319">
                  <c:v>734.63340694999999</c:v>
                </c:pt>
                <c:pt idx="1320">
                  <c:v>734.6333995</c:v>
                </c:pt>
                <c:pt idx="1321">
                  <c:v>734.6333995</c:v>
                </c:pt>
                <c:pt idx="1322">
                  <c:v>734.6333995</c:v>
                </c:pt>
                <c:pt idx="1323">
                  <c:v>734.6333995</c:v>
                </c:pt>
                <c:pt idx="1324">
                  <c:v>734.6333995</c:v>
                </c:pt>
                <c:pt idx="1325">
                  <c:v>734.6333995</c:v>
                </c:pt>
                <c:pt idx="1326">
                  <c:v>734.6333995</c:v>
                </c:pt>
                <c:pt idx="1327">
                  <c:v>734.6333995</c:v>
                </c:pt>
                <c:pt idx="1328">
                  <c:v>734.6333995</c:v>
                </c:pt>
                <c:pt idx="1329">
                  <c:v>734.6333995</c:v>
                </c:pt>
                <c:pt idx="1330">
                  <c:v>734.6333995</c:v>
                </c:pt>
                <c:pt idx="1331">
                  <c:v>734.6333995</c:v>
                </c:pt>
                <c:pt idx="1332">
                  <c:v>734.6333995</c:v>
                </c:pt>
                <c:pt idx="1333">
                  <c:v>734.6333995</c:v>
                </c:pt>
                <c:pt idx="1334">
                  <c:v>734.6333995</c:v>
                </c:pt>
                <c:pt idx="1335">
                  <c:v>734.6333995</c:v>
                </c:pt>
                <c:pt idx="1336">
                  <c:v>734.6333995</c:v>
                </c:pt>
                <c:pt idx="1337">
                  <c:v>734.6333995</c:v>
                </c:pt>
                <c:pt idx="1338">
                  <c:v>734.6333995</c:v>
                </c:pt>
                <c:pt idx="1339">
                  <c:v>734.6333995</c:v>
                </c:pt>
                <c:pt idx="1340">
                  <c:v>734.6333995</c:v>
                </c:pt>
                <c:pt idx="1341">
                  <c:v>734.62728304999996</c:v>
                </c:pt>
                <c:pt idx="1342">
                  <c:v>734.62718619999998</c:v>
                </c:pt>
                <c:pt idx="1343">
                  <c:v>734.60869530000002</c:v>
                </c:pt>
                <c:pt idx="1344">
                  <c:v>734.60866549999992</c:v>
                </c:pt>
                <c:pt idx="1345">
                  <c:v>734.60866549999992</c:v>
                </c:pt>
                <c:pt idx="1346">
                  <c:v>734.60866549999992</c:v>
                </c:pt>
                <c:pt idx="1347">
                  <c:v>734.60866549999992</c:v>
                </c:pt>
                <c:pt idx="1348">
                  <c:v>734.60866549999992</c:v>
                </c:pt>
                <c:pt idx="1349">
                  <c:v>734.60866549999992</c:v>
                </c:pt>
                <c:pt idx="1350">
                  <c:v>734.60866549999992</c:v>
                </c:pt>
                <c:pt idx="1351">
                  <c:v>734.60866549999992</c:v>
                </c:pt>
                <c:pt idx="1352">
                  <c:v>734.60866549999992</c:v>
                </c:pt>
                <c:pt idx="1353">
                  <c:v>734.60866549999992</c:v>
                </c:pt>
                <c:pt idx="1354">
                  <c:v>734.60866549999992</c:v>
                </c:pt>
                <c:pt idx="1355">
                  <c:v>734.60864315000003</c:v>
                </c:pt>
                <c:pt idx="1356">
                  <c:v>734.60864315000003</c:v>
                </c:pt>
                <c:pt idx="1357">
                  <c:v>734.60862079999993</c:v>
                </c:pt>
                <c:pt idx="1358">
                  <c:v>734.60862079999993</c:v>
                </c:pt>
                <c:pt idx="1359">
                  <c:v>734.60860590000004</c:v>
                </c:pt>
                <c:pt idx="1360">
                  <c:v>734.60859100000005</c:v>
                </c:pt>
                <c:pt idx="1361">
                  <c:v>734.60859100000005</c:v>
                </c:pt>
                <c:pt idx="1362">
                  <c:v>734.60859100000005</c:v>
                </c:pt>
                <c:pt idx="1363">
                  <c:v>734.60859100000005</c:v>
                </c:pt>
                <c:pt idx="1364">
                  <c:v>734.60859100000005</c:v>
                </c:pt>
                <c:pt idx="1365">
                  <c:v>734.60859100000005</c:v>
                </c:pt>
                <c:pt idx="1366">
                  <c:v>734.60859100000005</c:v>
                </c:pt>
                <c:pt idx="1367">
                  <c:v>734.60859100000005</c:v>
                </c:pt>
                <c:pt idx="1368">
                  <c:v>734.60859100000005</c:v>
                </c:pt>
                <c:pt idx="1369">
                  <c:v>734.60859100000005</c:v>
                </c:pt>
                <c:pt idx="1370">
                  <c:v>734.60859100000005</c:v>
                </c:pt>
                <c:pt idx="1371">
                  <c:v>734.60859100000005</c:v>
                </c:pt>
                <c:pt idx="1372">
                  <c:v>734.60859100000005</c:v>
                </c:pt>
                <c:pt idx="1373">
                  <c:v>734.60859100000005</c:v>
                </c:pt>
                <c:pt idx="1374">
                  <c:v>734.60859100000005</c:v>
                </c:pt>
                <c:pt idx="1375">
                  <c:v>734.60859100000005</c:v>
                </c:pt>
                <c:pt idx="1376">
                  <c:v>734.60859100000005</c:v>
                </c:pt>
                <c:pt idx="1377">
                  <c:v>734.60859100000005</c:v>
                </c:pt>
                <c:pt idx="1378">
                  <c:v>734.60859100000005</c:v>
                </c:pt>
                <c:pt idx="1379">
                  <c:v>734.60859100000005</c:v>
                </c:pt>
                <c:pt idx="1380">
                  <c:v>734.60859100000005</c:v>
                </c:pt>
                <c:pt idx="1381">
                  <c:v>734.60859100000005</c:v>
                </c:pt>
                <c:pt idx="1382">
                  <c:v>734.60859100000005</c:v>
                </c:pt>
                <c:pt idx="1383">
                  <c:v>734.60859100000005</c:v>
                </c:pt>
                <c:pt idx="1384">
                  <c:v>734.60859100000005</c:v>
                </c:pt>
                <c:pt idx="1385">
                  <c:v>734.60859100000005</c:v>
                </c:pt>
                <c:pt idx="1386">
                  <c:v>734.60859100000005</c:v>
                </c:pt>
                <c:pt idx="1387">
                  <c:v>734.60859100000005</c:v>
                </c:pt>
                <c:pt idx="1388">
                  <c:v>734.60859100000005</c:v>
                </c:pt>
                <c:pt idx="1389">
                  <c:v>734.60859100000005</c:v>
                </c:pt>
                <c:pt idx="1390">
                  <c:v>734.60859100000005</c:v>
                </c:pt>
                <c:pt idx="1391">
                  <c:v>734.60859100000005</c:v>
                </c:pt>
                <c:pt idx="1392">
                  <c:v>734.60859100000005</c:v>
                </c:pt>
                <c:pt idx="1393">
                  <c:v>734.60859100000005</c:v>
                </c:pt>
                <c:pt idx="1394">
                  <c:v>734.60859100000005</c:v>
                </c:pt>
                <c:pt idx="1395">
                  <c:v>734.60859100000005</c:v>
                </c:pt>
                <c:pt idx="1396">
                  <c:v>734.60859100000005</c:v>
                </c:pt>
                <c:pt idx="1397">
                  <c:v>734.60859100000005</c:v>
                </c:pt>
                <c:pt idx="1398">
                  <c:v>734.60859100000005</c:v>
                </c:pt>
                <c:pt idx="1399">
                  <c:v>734.60859100000005</c:v>
                </c:pt>
                <c:pt idx="1400">
                  <c:v>734.60859100000005</c:v>
                </c:pt>
                <c:pt idx="1401">
                  <c:v>734.60859100000005</c:v>
                </c:pt>
                <c:pt idx="1402">
                  <c:v>734.60859100000005</c:v>
                </c:pt>
                <c:pt idx="1403">
                  <c:v>734.60859100000005</c:v>
                </c:pt>
                <c:pt idx="1404">
                  <c:v>734.60859100000005</c:v>
                </c:pt>
                <c:pt idx="1405">
                  <c:v>734.60859100000005</c:v>
                </c:pt>
                <c:pt idx="1406">
                  <c:v>734.60859100000005</c:v>
                </c:pt>
                <c:pt idx="1407">
                  <c:v>734.60859100000005</c:v>
                </c:pt>
                <c:pt idx="1408">
                  <c:v>734.60859100000005</c:v>
                </c:pt>
                <c:pt idx="1409">
                  <c:v>734.60859100000005</c:v>
                </c:pt>
                <c:pt idx="1410">
                  <c:v>734.60859100000005</c:v>
                </c:pt>
                <c:pt idx="1411">
                  <c:v>734.60859100000005</c:v>
                </c:pt>
                <c:pt idx="1412">
                  <c:v>734.60859100000005</c:v>
                </c:pt>
                <c:pt idx="1413">
                  <c:v>734.60859100000005</c:v>
                </c:pt>
                <c:pt idx="1414">
                  <c:v>734.60859100000005</c:v>
                </c:pt>
                <c:pt idx="1415">
                  <c:v>734.60859100000005</c:v>
                </c:pt>
                <c:pt idx="1416">
                  <c:v>734.60859100000005</c:v>
                </c:pt>
                <c:pt idx="1417">
                  <c:v>734.60859100000005</c:v>
                </c:pt>
                <c:pt idx="1418">
                  <c:v>734.60859100000005</c:v>
                </c:pt>
                <c:pt idx="1419">
                  <c:v>734.60859100000005</c:v>
                </c:pt>
                <c:pt idx="1420">
                  <c:v>734.60859100000005</c:v>
                </c:pt>
                <c:pt idx="1421">
                  <c:v>734.60859100000005</c:v>
                </c:pt>
                <c:pt idx="1422">
                  <c:v>734.60859100000005</c:v>
                </c:pt>
                <c:pt idx="1423">
                  <c:v>734.60859100000005</c:v>
                </c:pt>
                <c:pt idx="1424">
                  <c:v>734.60859100000005</c:v>
                </c:pt>
                <c:pt idx="1425">
                  <c:v>734.60859100000005</c:v>
                </c:pt>
                <c:pt idx="1426">
                  <c:v>734.60859100000005</c:v>
                </c:pt>
                <c:pt idx="1427">
                  <c:v>734.60859100000005</c:v>
                </c:pt>
                <c:pt idx="1428">
                  <c:v>734.60859100000005</c:v>
                </c:pt>
                <c:pt idx="1429">
                  <c:v>734.60859100000005</c:v>
                </c:pt>
                <c:pt idx="1430">
                  <c:v>734.60859100000005</c:v>
                </c:pt>
                <c:pt idx="1431">
                  <c:v>734.60859100000005</c:v>
                </c:pt>
                <c:pt idx="1432">
                  <c:v>734.60859100000005</c:v>
                </c:pt>
                <c:pt idx="1433">
                  <c:v>734.60859100000005</c:v>
                </c:pt>
                <c:pt idx="1434">
                  <c:v>734.60859100000005</c:v>
                </c:pt>
                <c:pt idx="1435">
                  <c:v>734.60859100000005</c:v>
                </c:pt>
                <c:pt idx="1436">
                  <c:v>734.60859100000005</c:v>
                </c:pt>
                <c:pt idx="1437">
                  <c:v>734.60859100000005</c:v>
                </c:pt>
                <c:pt idx="1438">
                  <c:v>734.60859100000005</c:v>
                </c:pt>
                <c:pt idx="1439">
                  <c:v>734.60859100000005</c:v>
                </c:pt>
                <c:pt idx="1440">
                  <c:v>734.60859100000005</c:v>
                </c:pt>
                <c:pt idx="1441">
                  <c:v>734.60859100000005</c:v>
                </c:pt>
                <c:pt idx="1442">
                  <c:v>734.60859100000005</c:v>
                </c:pt>
                <c:pt idx="1443">
                  <c:v>734.60859100000005</c:v>
                </c:pt>
                <c:pt idx="1444">
                  <c:v>734.60859100000005</c:v>
                </c:pt>
                <c:pt idx="1445">
                  <c:v>734.60859100000005</c:v>
                </c:pt>
                <c:pt idx="1446">
                  <c:v>734.60859100000005</c:v>
                </c:pt>
                <c:pt idx="1447">
                  <c:v>734.60859100000005</c:v>
                </c:pt>
                <c:pt idx="1448">
                  <c:v>734.60859100000005</c:v>
                </c:pt>
                <c:pt idx="1449">
                  <c:v>734.60859100000005</c:v>
                </c:pt>
                <c:pt idx="1450">
                  <c:v>734.60859100000005</c:v>
                </c:pt>
                <c:pt idx="1451">
                  <c:v>734.60859100000005</c:v>
                </c:pt>
                <c:pt idx="1452">
                  <c:v>734.60859100000005</c:v>
                </c:pt>
                <c:pt idx="1453">
                  <c:v>734.60859100000005</c:v>
                </c:pt>
                <c:pt idx="1454">
                  <c:v>734.60859100000005</c:v>
                </c:pt>
                <c:pt idx="1455">
                  <c:v>734.60859100000005</c:v>
                </c:pt>
                <c:pt idx="1456">
                  <c:v>734.60859100000005</c:v>
                </c:pt>
                <c:pt idx="1457">
                  <c:v>734.60859100000005</c:v>
                </c:pt>
                <c:pt idx="1458">
                  <c:v>734.60859100000005</c:v>
                </c:pt>
                <c:pt idx="1459">
                  <c:v>734.60859100000005</c:v>
                </c:pt>
                <c:pt idx="1460">
                  <c:v>734.60859100000005</c:v>
                </c:pt>
                <c:pt idx="1461">
                  <c:v>734.60859100000005</c:v>
                </c:pt>
                <c:pt idx="1462">
                  <c:v>734.60859100000005</c:v>
                </c:pt>
                <c:pt idx="1463">
                  <c:v>734.60859100000005</c:v>
                </c:pt>
                <c:pt idx="1464">
                  <c:v>734.60859100000005</c:v>
                </c:pt>
                <c:pt idx="1465">
                  <c:v>734.60859100000005</c:v>
                </c:pt>
                <c:pt idx="1466">
                  <c:v>734.60859100000005</c:v>
                </c:pt>
                <c:pt idx="1467">
                  <c:v>734.60859100000005</c:v>
                </c:pt>
                <c:pt idx="1468">
                  <c:v>734.60859100000005</c:v>
                </c:pt>
                <c:pt idx="1469">
                  <c:v>734.60859100000005</c:v>
                </c:pt>
                <c:pt idx="1470">
                  <c:v>734.60859100000005</c:v>
                </c:pt>
                <c:pt idx="1471">
                  <c:v>734.60859100000005</c:v>
                </c:pt>
                <c:pt idx="1472">
                  <c:v>734.60859100000005</c:v>
                </c:pt>
                <c:pt idx="1473">
                  <c:v>734.60859100000005</c:v>
                </c:pt>
                <c:pt idx="1474">
                  <c:v>734.60859100000005</c:v>
                </c:pt>
                <c:pt idx="1475">
                  <c:v>734.60859100000005</c:v>
                </c:pt>
                <c:pt idx="1476">
                  <c:v>734.60859100000005</c:v>
                </c:pt>
                <c:pt idx="1477">
                  <c:v>734.60859100000005</c:v>
                </c:pt>
                <c:pt idx="1478">
                  <c:v>734.60859100000005</c:v>
                </c:pt>
                <c:pt idx="1479">
                  <c:v>734.60859100000005</c:v>
                </c:pt>
                <c:pt idx="1480">
                  <c:v>734.60859100000005</c:v>
                </c:pt>
                <c:pt idx="1481">
                  <c:v>734.60859100000005</c:v>
                </c:pt>
                <c:pt idx="1482">
                  <c:v>734.60859100000005</c:v>
                </c:pt>
                <c:pt idx="1483">
                  <c:v>734.60859100000005</c:v>
                </c:pt>
                <c:pt idx="1484">
                  <c:v>734.60859100000005</c:v>
                </c:pt>
                <c:pt idx="1485">
                  <c:v>734.60859100000005</c:v>
                </c:pt>
                <c:pt idx="1486">
                  <c:v>734.60859100000005</c:v>
                </c:pt>
                <c:pt idx="1487">
                  <c:v>734.60855375000006</c:v>
                </c:pt>
                <c:pt idx="1488">
                  <c:v>734.60855375000006</c:v>
                </c:pt>
                <c:pt idx="1489">
                  <c:v>734.60854630000006</c:v>
                </c:pt>
                <c:pt idx="1490">
                  <c:v>734.60853139999995</c:v>
                </c:pt>
                <c:pt idx="1491">
                  <c:v>734.60852395000006</c:v>
                </c:pt>
                <c:pt idx="1492">
                  <c:v>734.60114099999998</c:v>
                </c:pt>
                <c:pt idx="1493">
                  <c:v>734.60114099999998</c:v>
                </c:pt>
                <c:pt idx="1494">
                  <c:v>734.60114099999998</c:v>
                </c:pt>
                <c:pt idx="1495">
                  <c:v>734.60114099999998</c:v>
                </c:pt>
                <c:pt idx="1496">
                  <c:v>734.58996600000012</c:v>
                </c:pt>
                <c:pt idx="1497">
                  <c:v>734.58995855000001</c:v>
                </c:pt>
                <c:pt idx="1498">
                  <c:v>734.583708</c:v>
                </c:pt>
                <c:pt idx="1499">
                  <c:v>734.57126650000009</c:v>
                </c:pt>
                <c:pt idx="1500">
                  <c:v>734.57126650000009</c:v>
                </c:pt>
                <c:pt idx="1501">
                  <c:v>734.57126650000009</c:v>
                </c:pt>
                <c:pt idx="1502">
                  <c:v>734.57126650000009</c:v>
                </c:pt>
                <c:pt idx="1503">
                  <c:v>734.57126650000009</c:v>
                </c:pt>
                <c:pt idx="1504">
                  <c:v>734.55889950000005</c:v>
                </c:pt>
                <c:pt idx="1505">
                  <c:v>734.55889950000005</c:v>
                </c:pt>
                <c:pt idx="1506">
                  <c:v>734.55889950000005</c:v>
                </c:pt>
                <c:pt idx="1507">
                  <c:v>734.55889950000005</c:v>
                </c:pt>
                <c:pt idx="1508">
                  <c:v>734.55889950000005</c:v>
                </c:pt>
                <c:pt idx="1509">
                  <c:v>734.55889950000005</c:v>
                </c:pt>
                <c:pt idx="1510">
                  <c:v>734.55889950000005</c:v>
                </c:pt>
                <c:pt idx="1511">
                  <c:v>734.55889950000005</c:v>
                </c:pt>
                <c:pt idx="1512">
                  <c:v>734.55889950000005</c:v>
                </c:pt>
                <c:pt idx="1513">
                  <c:v>734.55889950000005</c:v>
                </c:pt>
                <c:pt idx="1514">
                  <c:v>734.55889950000005</c:v>
                </c:pt>
                <c:pt idx="1515">
                  <c:v>734.55271600000003</c:v>
                </c:pt>
                <c:pt idx="1516">
                  <c:v>734.55271600000003</c:v>
                </c:pt>
                <c:pt idx="1517">
                  <c:v>734.53465720000008</c:v>
                </c:pt>
                <c:pt idx="1518">
                  <c:v>734.5341133500001</c:v>
                </c:pt>
                <c:pt idx="1519">
                  <c:v>734.53410589999999</c:v>
                </c:pt>
                <c:pt idx="1520">
                  <c:v>734.53409844999999</c:v>
                </c:pt>
                <c:pt idx="1521">
                  <c:v>734.53409099999999</c:v>
                </c:pt>
                <c:pt idx="1522">
                  <c:v>734.53409099999999</c:v>
                </c:pt>
                <c:pt idx="1523">
                  <c:v>734.53409099999999</c:v>
                </c:pt>
                <c:pt idx="1524">
                  <c:v>734.53409099999999</c:v>
                </c:pt>
                <c:pt idx="1525">
                  <c:v>734.53409099999999</c:v>
                </c:pt>
                <c:pt idx="1526">
                  <c:v>734.53409099999999</c:v>
                </c:pt>
                <c:pt idx="1527">
                  <c:v>734.53409099999999</c:v>
                </c:pt>
                <c:pt idx="1528">
                  <c:v>734.53409099999999</c:v>
                </c:pt>
                <c:pt idx="1529">
                  <c:v>734.53409099999999</c:v>
                </c:pt>
                <c:pt idx="1530">
                  <c:v>734.53409099999999</c:v>
                </c:pt>
                <c:pt idx="1531">
                  <c:v>734.53409099999999</c:v>
                </c:pt>
                <c:pt idx="1532">
                  <c:v>734.53409099999999</c:v>
                </c:pt>
                <c:pt idx="1533">
                  <c:v>734.53409099999999</c:v>
                </c:pt>
                <c:pt idx="1534">
                  <c:v>734.53409099999999</c:v>
                </c:pt>
                <c:pt idx="1535">
                  <c:v>734.53409099999999</c:v>
                </c:pt>
                <c:pt idx="1536">
                  <c:v>734.53409099999999</c:v>
                </c:pt>
                <c:pt idx="1537">
                  <c:v>734.53409099999999</c:v>
                </c:pt>
                <c:pt idx="1538">
                  <c:v>734.53409099999999</c:v>
                </c:pt>
                <c:pt idx="1539">
                  <c:v>734.53409099999999</c:v>
                </c:pt>
                <c:pt idx="1540">
                  <c:v>734.53409099999999</c:v>
                </c:pt>
                <c:pt idx="1541">
                  <c:v>734.53409099999999</c:v>
                </c:pt>
                <c:pt idx="1542">
                  <c:v>734.53409099999999</c:v>
                </c:pt>
                <c:pt idx="1543">
                  <c:v>734.53409099999999</c:v>
                </c:pt>
                <c:pt idx="1544">
                  <c:v>734.53409099999999</c:v>
                </c:pt>
                <c:pt idx="1545">
                  <c:v>734.53409099999999</c:v>
                </c:pt>
                <c:pt idx="1546">
                  <c:v>734.53409099999999</c:v>
                </c:pt>
                <c:pt idx="1547">
                  <c:v>734.53409099999999</c:v>
                </c:pt>
                <c:pt idx="1548">
                  <c:v>734.53409099999999</c:v>
                </c:pt>
                <c:pt idx="1549">
                  <c:v>734.53409099999999</c:v>
                </c:pt>
                <c:pt idx="1550">
                  <c:v>734.53409099999999</c:v>
                </c:pt>
                <c:pt idx="1551">
                  <c:v>734.53409099999999</c:v>
                </c:pt>
                <c:pt idx="1552">
                  <c:v>734.53409099999999</c:v>
                </c:pt>
                <c:pt idx="1553">
                  <c:v>734.53409099999999</c:v>
                </c:pt>
                <c:pt idx="1554">
                  <c:v>734.53409099999999</c:v>
                </c:pt>
                <c:pt idx="1555">
                  <c:v>734.53409099999999</c:v>
                </c:pt>
                <c:pt idx="1556">
                  <c:v>734.53409099999999</c:v>
                </c:pt>
                <c:pt idx="1557">
                  <c:v>734.53409099999999</c:v>
                </c:pt>
                <c:pt idx="1558">
                  <c:v>734.53409099999999</c:v>
                </c:pt>
                <c:pt idx="1559">
                  <c:v>734.53409099999999</c:v>
                </c:pt>
                <c:pt idx="1560">
                  <c:v>734.53409099999999</c:v>
                </c:pt>
                <c:pt idx="1561">
                  <c:v>734.53409099999999</c:v>
                </c:pt>
                <c:pt idx="1562">
                  <c:v>734.53409099999999</c:v>
                </c:pt>
                <c:pt idx="1563">
                  <c:v>734.53409099999999</c:v>
                </c:pt>
                <c:pt idx="1564">
                  <c:v>734.53409099999999</c:v>
                </c:pt>
                <c:pt idx="1565">
                  <c:v>734.53409099999999</c:v>
                </c:pt>
                <c:pt idx="1566">
                  <c:v>734.53409099999999</c:v>
                </c:pt>
                <c:pt idx="1567">
                  <c:v>734.53409099999999</c:v>
                </c:pt>
                <c:pt idx="1568">
                  <c:v>734.53409099999999</c:v>
                </c:pt>
                <c:pt idx="1569">
                  <c:v>734.53409099999999</c:v>
                </c:pt>
                <c:pt idx="1570">
                  <c:v>734.53409099999999</c:v>
                </c:pt>
                <c:pt idx="1571">
                  <c:v>734.53409099999999</c:v>
                </c:pt>
                <c:pt idx="1572">
                  <c:v>734.53409099999999</c:v>
                </c:pt>
                <c:pt idx="1573">
                  <c:v>734.53409099999999</c:v>
                </c:pt>
                <c:pt idx="1574">
                  <c:v>734.53409099999999</c:v>
                </c:pt>
                <c:pt idx="1575">
                  <c:v>734.53409099999999</c:v>
                </c:pt>
                <c:pt idx="1576">
                  <c:v>734.53409099999999</c:v>
                </c:pt>
                <c:pt idx="1577">
                  <c:v>734.53409099999999</c:v>
                </c:pt>
                <c:pt idx="1578">
                  <c:v>734.53409099999999</c:v>
                </c:pt>
                <c:pt idx="1579">
                  <c:v>734.53409099999999</c:v>
                </c:pt>
                <c:pt idx="1580">
                  <c:v>734.53409099999999</c:v>
                </c:pt>
                <c:pt idx="1581">
                  <c:v>734.53409099999999</c:v>
                </c:pt>
                <c:pt idx="1582">
                  <c:v>734.53409099999999</c:v>
                </c:pt>
                <c:pt idx="1583">
                  <c:v>734.53409099999999</c:v>
                </c:pt>
                <c:pt idx="1584">
                  <c:v>734.53409099999999</c:v>
                </c:pt>
                <c:pt idx="1585">
                  <c:v>734.53409099999999</c:v>
                </c:pt>
                <c:pt idx="1586">
                  <c:v>734.53409099999999</c:v>
                </c:pt>
                <c:pt idx="1587">
                  <c:v>734.53409099999999</c:v>
                </c:pt>
                <c:pt idx="1588">
                  <c:v>734.53409099999999</c:v>
                </c:pt>
                <c:pt idx="1589">
                  <c:v>734.53409099999999</c:v>
                </c:pt>
                <c:pt idx="1590">
                  <c:v>734.53409099999999</c:v>
                </c:pt>
                <c:pt idx="1591">
                  <c:v>734.53409099999999</c:v>
                </c:pt>
                <c:pt idx="1592">
                  <c:v>734.53409099999999</c:v>
                </c:pt>
                <c:pt idx="1593">
                  <c:v>734.53409099999999</c:v>
                </c:pt>
                <c:pt idx="1594">
                  <c:v>734.53409099999999</c:v>
                </c:pt>
                <c:pt idx="1595">
                  <c:v>734.53409099999999</c:v>
                </c:pt>
                <c:pt idx="1596">
                  <c:v>734.53409099999999</c:v>
                </c:pt>
                <c:pt idx="1597">
                  <c:v>734.53409099999999</c:v>
                </c:pt>
                <c:pt idx="1598">
                  <c:v>734.53409099999999</c:v>
                </c:pt>
                <c:pt idx="1599">
                  <c:v>734.53409099999999</c:v>
                </c:pt>
                <c:pt idx="1600">
                  <c:v>734.53409099999999</c:v>
                </c:pt>
                <c:pt idx="1601">
                  <c:v>734.53409099999999</c:v>
                </c:pt>
                <c:pt idx="1602">
                  <c:v>734.53409099999999</c:v>
                </c:pt>
                <c:pt idx="1603">
                  <c:v>734.53409099999999</c:v>
                </c:pt>
                <c:pt idx="1604">
                  <c:v>734.53409099999999</c:v>
                </c:pt>
                <c:pt idx="1605">
                  <c:v>734.53409099999999</c:v>
                </c:pt>
                <c:pt idx="1606">
                  <c:v>734.53409099999999</c:v>
                </c:pt>
                <c:pt idx="1607">
                  <c:v>734.53409099999999</c:v>
                </c:pt>
                <c:pt idx="1608">
                  <c:v>734.53409099999999</c:v>
                </c:pt>
                <c:pt idx="1609">
                  <c:v>734.53409099999999</c:v>
                </c:pt>
                <c:pt idx="1610">
                  <c:v>734.53409099999999</c:v>
                </c:pt>
                <c:pt idx="1611">
                  <c:v>734.53409099999999</c:v>
                </c:pt>
                <c:pt idx="1612">
                  <c:v>734.53409099999999</c:v>
                </c:pt>
                <c:pt idx="1613">
                  <c:v>734.53409099999999</c:v>
                </c:pt>
                <c:pt idx="1614">
                  <c:v>734.53409099999999</c:v>
                </c:pt>
                <c:pt idx="1615">
                  <c:v>734.53409099999999</c:v>
                </c:pt>
                <c:pt idx="1616">
                  <c:v>734.53409099999999</c:v>
                </c:pt>
                <c:pt idx="1617">
                  <c:v>734.53409099999999</c:v>
                </c:pt>
                <c:pt idx="1618">
                  <c:v>734.53409099999999</c:v>
                </c:pt>
                <c:pt idx="1619">
                  <c:v>734.53409099999999</c:v>
                </c:pt>
                <c:pt idx="1620">
                  <c:v>734.53409099999999</c:v>
                </c:pt>
                <c:pt idx="1621">
                  <c:v>734.53409099999999</c:v>
                </c:pt>
                <c:pt idx="1622">
                  <c:v>734.53409099999999</c:v>
                </c:pt>
                <c:pt idx="1623">
                  <c:v>734.53409099999999</c:v>
                </c:pt>
                <c:pt idx="1624">
                  <c:v>734.53409099999999</c:v>
                </c:pt>
                <c:pt idx="1625">
                  <c:v>734.53409099999999</c:v>
                </c:pt>
                <c:pt idx="1626">
                  <c:v>734.53409099999999</c:v>
                </c:pt>
                <c:pt idx="1627">
                  <c:v>734.53409099999999</c:v>
                </c:pt>
                <c:pt idx="1628">
                  <c:v>734.53409099999999</c:v>
                </c:pt>
                <c:pt idx="1629">
                  <c:v>734.53409099999999</c:v>
                </c:pt>
                <c:pt idx="1630">
                  <c:v>734.53409099999999</c:v>
                </c:pt>
                <c:pt idx="1631">
                  <c:v>734.53409099999999</c:v>
                </c:pt>
                <c:pt idx="1632">
                  <c:v>734.53409099999999</c:v>
                </c:pt>
                <c:pt idx="1633">
                  <c:v>734.53409099999999</c:v>
                </c:pt>
                <c:pt idx="1634">
                  <c:v>734.53409099999999</c:v>
                </c:pt>
                <c:pt idx="1635">
                  <c:v>734.53409099999999</c:v>
                </c:pt>
                <c:pt idx="1636">
                  <c:v>734.53409099999999</c:v>
                </c:pt>
                <c:pt idx="1637">
                  <c:v>734.53409099999999</c:v>
                </c:pt>
                <c:pt idx="1638">
                  <c:v>734.53409099999999</c:v>
                </c:pt>
                <c:pt idx="1639">
                  <c:v>734.53409099999999</c:v>
                </c:pt>
                <c:pt idx="1640">
                  <c:v>734.53409099999999</c:v>
                </c:pt>
                <c:pt idx="1641">
                  <c:v>734.53409099999999</c:v>
                </c:pt>
                <c:pt idx="1642">
                  <c:v>734.53409099999999</c:v>
                </c:pt>
                <c:pt idx="1643">
                  <c:v>734.53409099999999</c:v>
                </c:pt>
                <c:pt idx="1644">
                  <c:v>734.53409099999999</c:v>
                </c:pt>
                <c:pt idx="1645">
                  <c:v>734.53409099999999</c:v>
                </c:pt>
                <c:pt idx="1646">
                  <c:v>734.53409099999999</c:v>
                </c:pt>
                <c:pt idx="1647">
                  <c:v>734.53409099999999</c:v>
                </c:pt>
                <c:pt idx="1648">
                  <c:v>734.53409099999999</c:v>
                </c:pt>
                <c:pt idx="1649">
                  <c:v>734.53409099999999</c:v>
                </c:pt>
                <c:pt idx="1650">
                  <c:v>734.53409099999999</c:v>
                </c:pt>
                <c:pt idx="1651">
                  <c:v>734.53409099999999</c:v>
                </c:pt>
                <c:pt idx="1652">
                  <c:v>734.53409099999999</c:v>
                </c:pt>
                <c:pt idx="1653">
                  <c:v>734.53409099999999</c:v>
                </c:pt>
                <c:pt idx="1654">
                  <c:v>734.53409099999999</c:v>
                </c:pt>
                <c:pt idx="1655">
                  <c:v>734.53409099999999</c:v>
                </c:pt>
                <c:pt idx="1656">
                  <c:v>734.53409099999999</c:v>
                </c:pt>
                <c:pt idx="1657">
                  <c:v>734.53409099999999</c:v>
                </c:pt>
                <c:pt idx="1658">
                  <c:v>734.53409099999999</c:v>
                </c:pt>
                <c:pt idx="1659">
                  <c:v>734.53409099999999</c:v>
                </c:pt>
                <c:pt idx="1660">
                  <c:v>734.53409099999999</c:v>
                </c:pt>
                <c:pt idx="1661">
                  <c:v>734.53409099999999</c:v>
                </c:pt>
                <c:pt idx="1662">
                  <c:v>734.53409099999999</c:v>
                </c:pt>
                <c:pt idx="1663">
                  <c:v>734.53409099999999</c:v>
                </c:pt>
                <c:pt idx="1664">
                  <c:v>734.53409099999999</c:v>
                </c:pt>
                <c:pt idx="1665">
                  <c:v>734.53409099999999</c:v>
                </c:pt>
                <c:pt idx="1666">
                  <c:v>734.51755200000002</c:v>
                </c:pt>
                <c:pt idx="1667">
                  <c:v>734.51755200000002</c:v>
                </c:pt>
                <c:pt idx="1668">
                  <c:v>734.50935700000002</c:v>
                </c:pt>
                <c:pt idx="1669">
                  <c:v>734.50935700000002</c:v>
                </c:pt>
                <c:pt idx="1670">
                  <c:v>734.50920800000006</c:v>
                </c:pt>
                <c:pt idx="1671">
                  <c:v>734.48439949999999</c:v>
                </c:pt>
                <c:pt idx="1672">
                  <c:v>734.48439949999999</c:v>
                </c:pt>
                <c:pt idx="1673">
                  <c:v>734.48439949999999</c:v>
                </c:pt>
                <c:pt idx="1674">
                  <c:v>734.48439949999999</c:v>
                </c:pt>
                <c:pt idx="1675">
                  <c:v>734.47821600000009</c:v>
                </c:pt>
                <c:pt idx="1676">
                  <c:v>734.47821600000009</c:v>
                </c:pt>
                <c:pt idx="1677">
                  <c:v>734.47821600000009</c:v>
                </c:pt>
                <c:pt idx="1678">
                  <c:v>734.47821600000009</c:v>
                </c:pt>
                <c:pt idx="1679">
                  <c:v>734.4670261</c:v>
                </c:pt>
                <c:pt idx="1680">
                  <c:v>734.45974745000001</c:v>
                </c:pt>
                <c:pt idx="1681">
                  <c:v>734.45968785000002</c:v>
                </c:pt>
                <c:pt idx="1682">
                  <c:v>734.45962080000004</c:v>
                </c:pt>
                <c:pt idx="1683">
                  <c:v>734.45959845000004</c:v>
                </c:pt>
                <c:pt idx="1684">
                  <c:v>734.45959099999993</c:v>
                </c:pt>
                <c:pt idx="1685">
                  <c:v>734.45957610000005</c:v>
                </c:pt>
                <c:pt idx="1686">
                  <c:v>734.45956865000005</c:v>
                </c:pt>
                <c:pt idx="1687">
                  <c:v>734.45956120000005</c:v>
                </c:pt>
                <c:pt idx="1688">
                  <c:v>734.45955375000005</c:v>
                </c:pt>
                <c:pt idx="1689">
                  <c:v>734.45954629999994</c:v>
                </c:pt>
                <c:pt idx="1690">
                  <c:v>734.45954629999994</c:v>
                </c:pt>
                <c:pt idx="1691">
                  <c:v>734.45954629999994</c:v>
                </c:pt>
                <c:pt idx="1692">
                  <c:v>734.45954629999994</c:v>
                </c:pt>
                <c:pt idx="1693">
                  <c:v>734.45953884999994</c:v>
                </c:pt>
                <c:pt idx="1694">
                  <c:v>734.45953884999994</c:v>
                </c:pt>
                <c:pt idx="1695">
                  <c:v>734.45953140000006</c:v>
                </c:pt>
                <c:pt idx="1696">
                  <c:v>734.45952395000006</c:v>
                </c:pt>
                <c:pt idx="1697">
                  <c:v>734.45952395000006</c:v>
                </c:pt>
                <c:pt idx="1698">
                  <c:v>734.45951650000006</c:v>
                </c:pt>
                <c:pt idx="1699">
                  <c:v>734.45951650000006</c:v>
                </c:pt>
                <c:pt idx="1700">
                  <c:v>734.45951650000006</c:v>
                </c:pt>
                <c:pt idx="1701">
                  <c:v>734.45951650000006</c:v>
                </c:pt>
                <c:pt idx="1702">
                  <c:v>734.45951650000006</c:v>
                </c:pt>
                <c:pt idx="1703">
                  <c:v>734.45951650000006</c:v>
                </c:pt>
                <c:pt idx="1704">
                  <c:v>734.45951650000006</c:v>
                </c:pt>
                <c:pt idx="1705">
                  <c:v>734.45951650000006</c:v>
                </c:pt>
                <c:pt idx="1706">
                  <c:v>734.45951650000006</c:v>
                </c:pt>
                <c:pt idx="1707">
                  <c:v>734.45951650000006</c:v>
                </c:pt>
                <c:pt idx="1708">
                  <c:v>734.45951650000006</c:v>
                </c:pt>
                <c:pt idx="1709">
                  <c:v>734.45951650000006</c:v>
                </c:pt>
                <c:pt idx="1710">
                  <c:v>734.45951650000006</c:v>
                </c:pt>
                <c:pt idx="1711">
                  <c:v>734.45951650000006</c:v>
                </c:pt>
                <c:pt idx="1712">
                  <c:v>734.45951650000006</c:v>
                </c:pt>
                <c:pt idx="1713">
                  <c:v>734.45951650000006</c:v>
                </c:pt>
                <c:pt idx="1714">
                  <c:v>734.45951650000006</c:v>
                </c:pt>
                <c:pt idx="1715">
                  <c:v>734.45951650000006</c:v>
                </c:pt>
                <c:pt idx="1716">
                  <c:v>734.45951650000006</c:v>
                </c:pt>
                <c:pt idx="1717">
                  <c:v>734.45951650000006</c:v>
                </c:pt>
                <c:pt idx="1718">
                  <c:v>734.45951650000006</c:v>
                </c:pt>
                <c:pt idx="1719">
                  <c:v>734.45951650000006</c:v>
                </c:pt>
                <c:pt idx="1720">
                  <c:v>734.45951650000006</c:v>
                </c:pt>
                <c:pt idx="1721">
                  <c:v>734.45951650000006</c:v>
                </c:pt>
                <c:pt idx="1722">
                  <c:v>734.45951650000006</c:v>
                </c:pt>
                <c:pt idx="1723">
                  <c:v>734.45951650000006</c:v>
                </c:pt>
                <c:pt idx="1724">
                  <c:v>734.45951650000006</c:v>
                </c:pt>
                <c:pt idx="1725">
                  <c:v>734.45951650000006</c:v>
                </c:pt>
                <c:pt idx="1726">
                  <c:v>734.45951650000006</c:v>
                </c:pt>
                <c:pt idx="1727">
                  <c:v>734.45951650000006</c:v>
                </c:pt>
                <c:pt idx="1728">
                  <c:v>734.45951650000006</c:v>
                </c:pt>
                <c:pt idx="1729">
                  <c:v>734.45951650000006</c:v>
                </c:pt>
                <c:pt idx="1730">
                  <c:v>734.45951650000006</c:v>
                </c:pt>
                <c:pt idx="1731">
                  <c:v>734.45951650000006</c:v>
                </c:pt>
                <c:pt idx="1732">
                  <c:v>734.45951650000006</c:v>
                </c:pt>
                <c:pt idx="1733">
                  <c:v>734.45951650000006</c:v>
                </c:pt>
                <c:pt idx="1734">
                  <c:v>734.45951650000006</c:v>
                </c:pt>
                <c:pt idx="1735">
                  <c:v>734.45951650000006</c:v>
                </c:pt>
                <c:pt idx="1736">
                  <c:v>734.45951650000006</c:v>
                </c:pt>
                <c:pt idx="1737">
                  <c:v>734.45951650000006</c:v>
                </c:pt>
                <c:pt idx="1738">
                  <c:v>734.45951650000006</c:v>
                </c:pt>
                <c:pt idx="1739">
                  <c:v>734.45951650000006</c:v>
                </c:pt>
                <c:pt idx="1740">
                  <c:v>734.45951650000006</c:v>
                </c:pt>
                <c:pt idx="1741">
                  <c:v>734.45951650000006</c:v>
                </c:pt>
                <c:pt idx="1742">
                  <c:v>734.45951650000006</c:v>
                </c:pt>
                <c:pt idx="1743">
                  <c:v>734.45951650000006</c:v>
                </c:pt>
                <c:pt idx="1744">
                  <c:v>734.45951650000006</c:v>
                </c:pt>
                <c:pt idx="1745">
                  <c:v>734.45951650000006</c:v>
                </c:pt>
                <c:pt idx="1746">
                  <c:v>734.45951650000006</c:v>
                </c:pt>
                <c:pt idx="1747">
                  <c:v>734.45951650000006</c:v>
                </c:pt>
                <c:pt idx="1748">
                  <c:v>734.45951650000006</c:v>
                </c:pt>
                <c:pt idx="1749">
                  <c:v>734.45951650000006</c:v>
                </c:pt>
                <c:pt idx="1750">
                  <c:v>734.45951650000006</c:v>
                </c:pt>
                <c:pt idx="1751">
                  <c:v>734.45951650000006</c:v>
                </c:pt>
                <c:pt idx="1752">
                  <c:v>734.45951650000006</c:v>
                </c:pt>
                <c:pt idx="1753">
                  <c:v>734.45951650000006</c:v>
                </c:pt>
                <c:pt idx="1754">
                  <c:v>734.45951650000006</c:v>
                </c:pt>
                <c:pt idx="1755">
                  <c:v>734.45951650000006</c:v>
                </c:pt>
                <c:pt idx="1756">
                  <c:v>734.45951650000006</c:v>
                </c:pt>
                <c:pt idx="1757">
                  <c:v>734.45951650000006</c:v>
                </c:pt>
                <c:pt idx="1758">
                  <c:v>734.45951650000006</c:v>
                </c:pt>
                <c:pt idx="1759">
                  <c:v>734.45951650000006</c:v>
                </c:pt>
                <c:pt idx="1760">
                  <c:v>734.45951650000006</c:v>
                </c:pt>
                <c:pt idx="1761">
                  <c:v>734.45951650000006</c:v>
                </c:pt>
                <c:pt idx="1762">
                  <c:v>734.45951650000006</c:v>
                </c:pt>
                <c:pt idx="1763">
                  <c:v>734.45951650000006</c:v>
                </c:pt>
                <c:pt idx="1764">
                  <c:v>734.45951650000006</c:v>
                </c:pt>
                <c:pt idx="1765">
                  <c:v>734.45951650000006</c:v>
                </c:pt>
                <c:pt idx="1766">
                  <c:v>734.45951650000006</c:v>
                </c:pt>
                <c:pt idx="1767">
                  <c:v>734.45951650000006</c:v>
                </c:pt>
                <c:pt idx="1768">
                  <c:v>734.45951650000006</c:v>
                </c:pt>
                <c:pt idx="1769">
                  <c:v>734.45951650000006</c:v>
                </c:pt>
                <c:pt idx="1770">
                  <c:v>734.45951650000006</c:v>
                </c:pt>
                <c:pt idx="1771">
                  <c:v>734.45951650000006</c:v>
                </c:pt>
                <c:pt idx="1772">
                  <c:v>734.45951650000006</c:v>
                </c:pt>
                <c:pt idx="1773">
                  <c:v>734.45951650000006</c:v>
                </c:pt>
                <c:pt idx="1774">
                  <c:v>734.45951650000006</c:v>
                </c:pt>
                <c:pt idx="1775">
                  <c:v>734.45951650000006</c:v>
                </c:pt>
                <c:pt idx="1776">
                  <c:v>734.45951650000006</c:v>
                </c:pt>
                <c:pt idx="1777">
                  <c:v>734.45951650000006</c:v>
                </c:pt>
                <c:pt idx="1778">
                  <c:v>734.45951650000006</c:v>
                </c:pt>
                <c:pt idx="1779">
                  <c:v>734.45951650000006</c:v>
                </c:pt>
                <c:pt idx="1780">
                  <c:v>734.45951650000006</c:v>
                </c:pt>
                <c:pt idx="1781">
                  <c:v>734.45951650000006</c:v>
                </c:pt>
                <c:pt idx="1782">
                  <c:v>734.45951650000006</c:v>
                </c:pt>
                <c:pt idx="1783">
                  <c:v>734.45951650000006</c:v>
                </c:pt>
                <c:pt idx="1784">
                  <c:v>734.45951650000006</c:v>
                </c:pt>
                <c:pt idx="1785">
                  <c:v>734.45951650000006</c:v>
                </c:pt>
                <c:pt idx="1786">
                  <c:v>734.45951650000006</c:v>
                </c:pt>
                <c:pt idx="1787">
                  <c:v>734.45951650000006</c:v>
                </c:pt>
                <c:pt idx="1788">
                  <c:v>734.45951650000006</c:v>
                </c:pt>
                <c:pt idx="1789">
                  <c:v>734.45951650000006</c:v>
                </c:pt>
                <c:pt idx="1790">
                  <c:v>734.45951650000006</c:v>
                </c:pt>
                <c:pt idx="1791">
                  <c:v>734.45951650000006</c:v>
                </c:pt>
                <c:pt idx="1792">
                  <c:v>734.45951650000006</c:v>
                </c:pt>
                <c:pt idx="1793">
                  <c:v>734.45951650000006</c:v>
                </c:pt>
                <c:pt idx="1794">
                  <c:v>734.45951650000006</c:v>
                </c:pt>
                <c:pt idx="1795">
                  <c:v>734.45951650000006</c:v>
                </c:pt>
                <c:pt idx="1796">
                  <c:v>734.45951650000006</c:v>
                </c:pt>
                <c:pt idx="1797">
                  <c:v>734.45951650000006</c:v>
                </c:pt>
                <c:pt idx="1798">
                  <c:v>734.45951650000006</c:v>
                </c:pt>
                <c:pt idx="1799">
                  <c:v>734.45951650000006</c:v>
                </c:pt>
                <c:pt idx="1800">
                  <c:v>734.45951650000006</c:v>
                </c:pt>
                <c:pt idx="1801">
                  <c:v>734.45951650000006</c:v>
                </c:pt>
                <c:pt idx="1802">
                  <c:v>734.45951650000006</c:v>
                </c:pt>
                <c:pt idx="1803">
                  <c:v>734.45951650000006</c:v>
                </c:pt>
                <c:pt idx="1804">
                  <c:v>734.45951650000006</c:v>
                </c:pt>
                <c:pt idx="1805">
                  <c:v>734.45951650000006</c:v>
                </c:pt>
                <c:pt idx="1806">
                  <c:v>734.45951650000006</c:v>
                </c:pt>
                <c:pt idx="1807">
                  <c:v>734.45951650000006</c:v>
                </c:pt>
                <c:pt idx="1808">
                  <c:v>734.45951650000006</c:v>
                </c:pt>
                <c:pt idx="1809">
                  <c:v>734.45951650000006</c:v>
                </c:pt>
                <c:pt idx="1810">
                  <c:v>734.45951650000006</c:v>
                </c:pt>
                <c:pt idx="1811">
                  <c:v>734.45951650000006</c:v>
                </c:pt>
                <c:pt idx="1812">
                  <c:v>734.45951650000006</c:v>
                </c:pt>
                <c:pt idx="1813">
                  <c:v>734.45951650000006</c:v>
                </c:pt>
                <c:pt idx="1814">
                  <c:v>734.45951650000006</c:v>
                </c:pt>
                <c:pt idx="1815">
                  <c:v>734.45951650000006</c:v>
                </c:pt>
                <c:pt idx="1816">
                  <c:v>734.45951650000006</c:v>
                </c:pt>
                <c:pt idx="1817">
                  <c:v>734.45951650000006</c:v>
                </c:pt>
                <c:pt idx="1818">
                  <c:v>734.45951650000006</c:v>
                </c:pt>
                <c:pt idx="1819">
                  <c:v>734.45951650000006</c:v>
                </c:pt>
                <c:pt idx="1820">
                  <c:v>734.45951650000006</c:v>
                </c:pt>
                <c:pt idx="1821">
                  <c:v>734.45951650000006</c:v>
                </c:pt>
                <c:pt idx="1822">
                  <c:v>734.45951650000006</c:v>
                </c:pt>
                <c:pt idx="1823">
                  <c:v>734.45951650000006</c:v>
                </c:pt>
                <c:pt idx="1824">
                  <c:v>734.45951650000006</c:v>
                </c:pt>
                <c:pt idx="1825">
                  <c:v>734.45951650000006</c:v>
                </c:pt>
                <c:pt idx="1826">
                  <c:v>734.45951650000006</c:v>
                </c:pt>
                <c:pt idx="1827">
                  <c:v>734.45951650000006</c:v>
                </c:pt>
                <c:pt idx="1828">
                  <c:v>734.45951650000006</c:v>
                </c:pt>
                <c:pt idx="1829">
                  <c:v>734.45951650000006</c:v>
                </c:pt>
                <c:pt idx="1830">
                  <c:v>734.45951650000006</c:v>
                </c:pt>
                <c:pt idx="1831">
                  <c:v>734.45951650000006</c:v>
                </c:pt>
                <c:pt idx="1832">
                  <c:v>734.45951650000006</c:v>
                </c:pt>
                <c:pt idx="1833">
                  <c:v>734.45951650000006</c:v>
                </c:pt>
                <c:pt idx="1834">
                  <c:v>734.45951650000006</c:v>
                </c:pt>
                <c:pt idx="1835">
                  <c:v>734.45951650000006</c:v>
                </c:pt>
                <c:pt idx="1836">
                  <c:v>734.45951650000006</c:v>
                </c:pt>
                <c:pt idx="1837">
                  <c:v>734.45951650000006</c:v>
                </c:pt>
                <c:pt idx="1838">
                  <c:v>734.45951650000006</c:v>
                </c:pt>
                <c:pt idx="1839">
                  <c:v>734.45951650000006</c:v>
                </c:pt>
                <c:pt idx="1840">
                  <c:v>734.45951650000006</c:v>
                </c:pt>
                <c:pt idx="1841">
                  <c:v>734.45951650000006</c:v>
                </c:pt>
                <c:pt idx="1842">
                  <c:v>734.45951650000006</c:v>
                </c:pt>
                <c:pt idx="1843">
                  <c:v>734.45951650000006</c:v>
                </c:pt>
                <c:pt idx="1844">
                  <c:v>734.45951650000006</c:v>
                </c:pt>
                <c:pt idx="1845">
                  <c:v>734.45951650000006</c:v>
                </c:pt>
                <c:pt idx="1846">
                  <c:v>734.45951650000006</c:v>
                </c:pt>
                <c:pt idx="1847">
                  <c:v>734.45951650000006</c:v>
                </c:pt>
                <c:pt idx="1848">
                  <c:v>734.45951650000006</c:v>
                </c:pt>
                <c:pt idx="1849">
                  <c:v>734.45951650000006</c:v>
                </c:pt>
                <c:pt idx="1850">
                  <c:v>734.45951650000006</c:v>
                </c:pt>
                <c:pt idx="1851">
                  <c:v>734.45951650000006</c:v>
                </c:pt>
                <c:pt idx="1852">
                  <c:v>734.45951650000006</c:v>
                </c:pt>
                <c:pt idx="1853">
                  <c:v>734.45951650000006</c:v>
                </c:pt>
                <c:pt idx="1854">
                  <c:v>734.45951650000006</c:v>
                </c:pt>
                <c:pt idx="1855">
                  <c:v>734.45951650000006</c:v>
                </c:pt>
                <c:pt idx="1856">
                  <c:v>734.45951650000006</c:v>
                </c:pt>
                <c:pt idx="1857">
                  <c:v>734.45951650000006</c:v>
                </c:pt>
                <c:pt idx="1858">
                  <c:v>734.45951650000006</c:v>
                </c:pt>
                <c:pt idx="1859">
                  <c:v>734.45951650000006</c:v>
                </c:pt>
                <c:pt idx="1860">
                  <c:v>734.45951650000006</c:v>
                </c:pt>
                <c:pt idx="1861">
                  <c:v>734.45951650000006</c:v>
                </c:pt>
                <c:pt idx="1862">
                  <c:v>734.45951650000006</c:v>
                </c:pt>
                <c:pt idx="1863">
                  <c:v>734.45951650000006</c:v>
                </c:pt>
                <c:pt idx="1864">
                  <c:v>734.45951650000006</c:v>
                </c:pt>
                <c:pt idx="1865">
                  <c:v>734.45951650000006</c:v>
                </c:pt>
                <c:pt idx="1866">
                  <c:v>734.45951650000006</c:v>
                </c:pt>
                <c:pt idx="1867">
                  <c:v>734.45951650000006</c:v>
                </c:pt>
                <c:pt idx="1868">
                  <c:v>734.45951650000006</c:v>
                </c:pt>
                <c:pt idx="1869">
                  <c:v>734.45951650000006</c:v>
                </c:pt>
                <c:pt idx="1870">
                  <c:v>734.45951650000006</c:v>
                </c:pt>
                <c:pt idx="1871">
                  <c:v>734.45951650000006</c:v>
                </c:pt>
                <c:pt idx="1872">
                  <c:v>734.45951650000006</c:v>
                </c:pt>
                <c:pt idx="1873">
                  <c:v>734.45951650000006</c:v>
                </c:pt>
                <c:pt idx="1874">
                  <c:v>734.45951650000006</c:v>
                </c:pt>
                <c:pt idx="1875">
                  <c:v>734.45951650000006</c:v>
                </c:pt>
                <c:pt idx="1876">
                  <c:v>734.45951650000006</c:v>
                </c:pt>
                <c:pt idx="1877">
                  <c:v>734.45951650000006</c:v>
                </c:pt>
                <c:pt idx="1878">
                  <c:v>734.45951650000006</c:v>
                </c:pt>
                <c:pt idx="1879">
                  <c:v>734.45951650000006</c:v>
                </c:pt>
                <c:pt idx="1880">
                  <c:v>734.45951650000006</c:v>
                </c:pt>
                <c:pt idx="1881">
                  <c:v>734.45951650000006</c:v>
                </c:pt>
                <c:pt idx="1882">
                  <c:v>734.45951650000006</c:v>
                </c:pt>
                <c:pt idx="1883">
                  <c:v>734.45951650000006</c:v>
                </c:pt>
                <c:pt idx="1884">
                  <c:v>734.45951650000006</c:v>
                </c:pt>
                <c:pt idx="1885">
                  <c:v>734.45951650000006</c:v>
                </c:pt>
                <c:pt idx="1886">
                  <c:v>734.45951650000006</c:v>
                </c:pt>
                <c:pt idx="1887">
                  <c:v>734.45951650000006</c:v>
                </c:pt>
                <c:pt idx="1888">
                  <c:v>734.45951650000006</c:v>
                </c:pt>
                <c:pt idx="1889">
                  <c:v>734.45951650000006</c:v>
                </c:pt>
                <c:pt idx="1890">
                  <c:v>734.45951650000006</c:v>
                </c:pt>
                <c:pt idx="1891">
                  <c:v>734.45951650000006</c:v>
                </c:pt>
                <c:pt idx="1892">
                  <c:v>734.45951650000006</c:v>
                </c:pt>
                <c:pt idx="1893">
                  <c:v>734.45951650000006</c:v>
                </c:pt>
                <c:pt idx="1894">
                  <c:v>734.45951650000006</c:v>
                </c:pt>
                <c:pt idx="1895">
                  <c:v>734.45951650000006</c:v>
                </c:pt>
                <c:pt idx="1896">
                  <c:v>734.45951650000006</c:v>
                </c:pt>
                <c:pt idx="1897">
                  <c:v>734.45951650000006</c:v>
                </c:pt>
                <c:pt idx="1898">
                  <c:v>734.45951650000006</c:v>
                </c:pt>
                <c:pt idx="1899">
                  <c:v>734.45951650000006</c:v>
                </c:pt>
                <c:pt idx="1900">
                  <c:v>734.45951650000006</c:v>
                </c:pt>
                <c:pt idx="1901">
                  <c:v>734.45951650000006</c:v>
                </c:pt>
                <c:pt idx="1902">
                  <c:v>734.45951650000006</c:v>
                </c:pt>
                <c:pt idx="1903">
                  <c:v>734.45951650000006</c:v>
                </c:pt>
                <c:pt idx="1904">
                  <c:v>734.45951650000006</c:v>
                </c:pt>
                <c:pt idx="1905">
                  <c:v>734.45951650000006</c:v>
                </c:pt>
                <c:pt idx="1906">
                  <c:v>734.45951650000006</c:v>
                </c:pt>
                <c:pt idx="1907">
                  <c:v>734.45951650000006</c:v>
                </c:pt>
                <c:pt idx="1908">
                  <c:v>734.45951650000006</c:v>
                </c:pt>
                <c:pt idx="1909">
                  <c:v>734.45951650000006</c:v>
                </c:pt>
                <c:pt idx="1910">
                  <c:v>734.45951650000006</c:v>
                </c:pt>
                <c:pt idx="1911">
                  <c:v>734.45951650000006</c:v>
                </c:pt>
                <c:pt idx="1912">
                  <c:v>734.45951650000006</c:v>
                </c:pt>
                <c:pt idx="1913">
                  <c:v>734.45951650000006</c:v>
                </c:pt>
                <c:pt idx="1914">
                  <c:v>734.45951650000006</c:v>
                </c:pt>
                <c:pt idx="1915">
                  <c:v>734.45951650000006</c:v>
                </c:pt>
                <c:pt idx="1916">
                  <c:v>734.45951650000006</c:v>
                </c:pt>
                <c:pt idx="1917">
                  <c:v>734.45951650000006</c:v>
                </c:pt>
                <c:pt idx="1918">
                  <c:v>734.45951650000006</c:v>
                </c:pt>
                <c:pt idx="1919">
                  <c:v>734.45951650000006</c:v>
                </c:pt>
                <c:pt idx="1920">
                  <c:v>734.45951650000006</c:v>
                </c:pt>
                <c:pt idx="1921">
                  <c:v>734.45951650000006</c:v>
                </c:pt>
                <c:pt idx="1922">
                  <c:v>734.45951650000006</c:v>
                </c:pt>
                <c:pt idx="1923">
                  <c:v>734.45951650000006</c:v>
                </c:pt>
                <c:pt idx="1924">
                  <c:v>734.45951650000006</c:v>
                </c:pt>
                <c:pt idx="1925">
                  <c:v>734.45951650000006</c:v>
                </c:pt>
                <c:pt idx="1926">
                  <c:v>734.45951650000006</c:v>
                </c:pt>
                <c:pt idx="1927">
                  <c:v>734.45951650000006</c:v>
                </c:pt>
                <c:pt idx="1928">
                  <c:v>734.45951650000006</c:v>
                </c:pt>
                <c:pt idx="1929">
                  <c:v>734.45951650000006</c:v>
                </c:pt>
                <c:pt idx="1930">
                  <c:v>734.45951650000006</c:v>
                </c:pt>
                <c:pt idx="1931">
                  <c:v>734.45951650000006</c:v>
                </c:pt>
                <c:pt idx="1932">
                  <c:v>734.45951650000006</c:v>
                </c:pt>
                <c:pt idx="1933">
                  <c:v>734.45951650000006</c:v>
                </c:pt>
                <c:pt idx="1934">
                  <c:v>734.45951650000006</c:v>
                </c:pt>
                <c:pt idx="1935">
                  <c:v>734.45951650000006</c:v>
                </c:pt>
                <c:pt idx="1936">
                  <c:v>734.45951650000006</c:v>
                </c:pt>
                <c:pt idx="1937">
                  <c:v>734.45951650000006</c:v>
                </c:pt>
                <c:pt idx="1938">
                  <c:v>734.45951650000006</c:v>
                </c:pt>
                <c:pt idx="1939">
                  <c:v>734.45951650000006</c:v>
                </c:pt>
                <c:pt idx="1940">
                  <c:v>734.45951650000006</c:v>
                </c:pt>
                <c:pt idx="1941">
                  <c:v>734.45951650000006</c:v>
                </c:pt>
                <c:pt idx="1942">
                  <c:v>734.45951650000006</c:v>
                </c:pt>
                <c:pt idx="1943">
                  <c:v>734.45951650000006</c:v>
                </c:pt>
                <c:pt idx="1944">
                  <c:v>734.45951650000006</c:v>
                </c:pt>
                <c:pt idx="1945">
                  <c:v>734.45951650000006</c:v>
                </c:pt>
                <c:pt idx="1946">
                  <c:v>734.45951650000006</c:v>
                </c:pt>
                <c:pt idx="1947">
                  <c:v>734.45951650000006</c:v>
                </c:pt>
                <c:pt idx="1948">
                  <c:v>734.45951650000006</c:v>
                </c:pt>
                <c:pt idx="1949">
                  <c:v>734.45951650000006</c:v>
                </c:pt>
                <c:pt idx="1950">
                  <c:v>734.45951650000006</c:v>
                </c:pt>
                <c:pt idx="1951">
                  <c:v>734.45951650000006</c:v>
                </c:pt>
                <c:pt idx="1952">
                  <c:v>734.45951650000006</c:v>
                </c:pt>
                <c:pt idx="1953">
                  <c:v>734.45951650000006</c:v>
                </c:pt>
                <c:pt idx="1954">
                  <c:v>734.45951650000006</c:v>
                </c:pt>
                <c:pt idx="1955">
                  <c:v>734.45951650000006</c:v>
                </c:pt>
                <c:pt idx="1956">
                  <c:v>734.45951650000006</c:v>
                </c:pt>
                <c:pt idx="1957">
                  <c:v>734.45951650000006</c:v>
                </c:pt>
                <c:pt idx="1958">
                  <c:v>734.45951650000006</c:v>
                </c:pt>
                <c:pt idx="1959">
                  <c:v>734.45951650000006</c:v>
                </c:pt>
                <c:pt idx="1960">
                  <c:v>734.45951650000006</c:v>
                </c:pt>
                <c:pt idx="1961">
                  <c:v>734.45951650000006</c:v>
                </c:pt>
                <c:pt idx="1962">
                  <c:v>734.45951650000006</c:v>
                </c:pt>
                <c:pt idx="1963">
                  <c:v>734.45951650000006</c:v>
                </c:pt>
                <c:pt idx="1964">
                  <c:v>734.45951650000006</c:v>
                </c:pt>
                <c:pt idx="1965">
                  <c:v>734.45951650000006</c:v>
                </c:pt>
                <c:pt idx="1966">
                  <c:v>734.45951650000006</c:v>
                </c:pt>
                <c:pt idx="1967">
                  <c:v>734.45951650000006</c:v>
                </c:pt>
                <c:pt idx="1968">
                  <c:v>734.45951650000006</c:v>
                </c:pt>
                <c:pt idx="1969">
                  <c:v>734.45951650000006</c:v>
                </c:pt>
                <c:pt idx="1970">
                  <c:v>734.45951650000006</c:v>
                </c:pt>
                <c:pt idx="1971">
                  <c:v>734.45951650000006</c:v>
                </c:pt>
                <c:pt idx="1972">
                  <c:v>734.45951650000006</c:v>
                </c:pt>
                <c:pt idx="1973">
                  <c:v>734.45951650000006</c:v>
                </c:pt>
                <c:pt idx="1974">
                  <c:v>734.45951650000006</c:v>
                </c:pt>
                <c:pt idx="1975">
                  <c:v>734.45951650000006</c:v>
                </c:pt>
                <c:pt idx="1976">
                  <c:v>734.45951650000006</c:v>
                </c:pt>
                <c:pt idx="1977">
                  <c:v>734.45951650000006</c:v>
                </c:pt>
                <c:pt idx="1978">
                  <c:v>734.45951650000006</c:v>
                </c:pt>
                <c:pt idx="1979">
                  <c:v>734.45951650000006</c:v>
                </c:pt>
                <c:pt idx="1980">
                  <c:v>734.45951650000006</c:v>
                </c:pt>
                <c:pt idx="1981">
                  <c:v>734.45951650000006</c:v>
                </c:pt>
                <c:pt idx="1982">
                  <c:v>734.45951650000006</c:v>
                </c:pt>
                <c:pt idx="1983">
                  <c:v>734.45951650000006</c:v>
                </c:pt>
                <c:pt idx="1984">
                  <c:v>734.45951650000006</c:v>
                </c:pt>
                <c:pt idx="1985">
                  <c:v>734.45951650000006</c:v>
                </c:pt>
                <c:pt idx="1986">
                  <c:v>734.45951650000006</c:v>
                </c:pt>
                <c:pt idx="1987">
                  <c:v>734.45951650000006</c:v>
                </c:pt>
                <c:pt idx="1988">
                  <c:v>734.45951650000006</c:v>
                </c:pt>
                <c:pt idx="1989">
                  <c:v>734.45951650000006</c:v>
                </c:pt>
                <c:pt idx="1990">
                  <c:v>734.45951650000006</c:v>
                </c:pt>
                <c:pt idx="1991">
                  <c:v>734.45951650000006</c:v>
                </c:pt>
                <c:pt idx="1992">
                  <c:v>734.45951650000006</c:v>
                </c:pt>
                <c:pt idx="1993">
                  <c:v>734.45951650000006</c:v>
                </c:pt>
                <c:pt idx="1994">
                  <c:v>734.45951650000006</c:v>
                </c:pt>
                <c:pt idx="1995">
                  <c:v>734.45951650000006</c:v>
                </c:pt>
                <c:pt idx="1996">
                  <c:v>734.45951650000006</c:v>
                </c:pt>
                <c:pt idx="1997">
                  <c:v>734.45951650000006</c:v>
                </c:pt>
                <c:pt idx="1998">
                  <c:v>734.45951650000006</c:v>
                </c:pt>
                <c:pt idx="1999">
                  <c:v>734.45951650000006</c:v>
                </c:pt>
                <c:pt idx="2000">
                  <c:v>734.45951650000006</c:v>
                </c:pt>
                <c:pt idx="2001">
                  <c:v>734.45951650000006</c:v>
                </c:pt>
                <c:pt idx="2002">
                  <c:v>734.45951650000006</c:v>
                </c:pt>
                <c:pt idx="2003">
                  <c:v>734.45951650000006</c:v>
                </c:pt>
                <c:pt idx="2004">
                  <c:v>734.45951650000006</c:v>
                </c:pt>
                <c:pt idx="2005">
                  <c:v>734.45951650000006</c:v>
                </c:pt>
                <c:pt idx="2006">
                  <c:v>734.45951650000006</c:v>
                </c:pt>
                <c:pt idx="2007">
                  <c:v>734.45951650000006</c:v>
                </c:pt>
                <c:pt idx="2008">
                  <c:v>734.45951650000006</c:v>
                </c:pt>
                <c:pt idx="2009">
                  <c:v>734.45951650000006</c:v>
                </c:pt>
                <c:pt idx="2010">
                  <c:v>734.45951650000006</c:v>
                </c:pt>
                <c:pt idx="2011">
                  <c:v>734.45951650000006</c:v>
                </c:pt>
                <c:pt idx="2012">
                  <c:v>734.45951650000006</c:v>
                </c:pt>
                <c:pt idx="2013">
                  <c:v>734.45951650000006</c:v>
                </c:pt>
                <c:pt idx="2014">
                  <c:v>734.45951650000006</c:v>
                </c:pt>
                <c:pt idx="2015">
                  <c:v>734.45951650000006</c:v>
                </c:pt>
                <c:pt idx="2016">
                  <c:v>734.45951650000006</c:v>
                </c:pt>
                <c:pt idx="2017">
                  <c:v>734.45951650000006</c:v>
                </c:pt>
                <c:pt idx="2018">
                  <c:v>734.45951650000006</c:v>
                </c:pt>
                <c:pt idx="2019">
                  <c:v>734.45951650000006</c:v>
                </c:pt>
                <c:pt idx="2020">
                  <c:v>734.45951650000006</c:v>
                </c:pt>
                <c:pt idx="2021">
                  <c:v>734.45951650000006</c:v>
                </c:pt>
                <c:pt idx="2022">
                  <c:v>734.45951650000006</c:v>
                </c:pt>
                <c:pt idx="2023">
                  <c:v>734.45951650000006</c:v>
                </c:pt>
                <c:pt idx="2024">
                  <c:v>734.45951650000006</c:v>
                </c:pt>
                <c:pt idx="2025">
                  <c:v>734.45951650000006</c:v>
                </c:pt>
                <c:pt idx="2026">
                  <c:v>734.45951650000006</c:v>
                </c:pt>
                <c:pt idx="2027">
                  <c:v>734.45951650000006</c:v>
                </c:pt>
                <c:pt idx="2028">
                  <c:v>734.45951650000006</c:v>
                </c:pt>
                <c:pt idx="2029">
                  <c:v>734.45951650000006</c:v>
                </c:pt>
                <c:pt idx="2030">
                  <c:v>734.45951650000006</c:v>
                </c:pt>
                <c:pt idx="2031">
                  <c:v>734.45951650000006</c:v>
                </c:pt>
                <c:pt idx="2032">
                  <c:v>734.45951650000006</c:v>
                </c:pt>
                <c:pt idx="2033">
                  <c:v>734.45951650000006</c:v>
                </c:pt>
                <c:pt idx="2034">
                  <c:v>734.45951650000006</c:v>
                </c:pt>
                <c:pt idx="2035">
                  <c:v>734.45951650000006</c:v>
                </c:pt>
                <c:pt idx="2036">
                  <c:v>734.45951650000006</c:v>
                </c:pt>
                <c:pt idx="2037">
                  <c:v>734.45951650000006</c:v>
                </c:pt>
                <c:pt idx="2038">
                  <c:v>734.45951650000006</c:v>
                </c:pt>
                <c:pt idx="2039">
                  <c:v>734.45951650000006</c:v>
                </c:pt>
                <c:pt idx="2040">
                  <c:v>734.45951650000006</c:v>
                </c:pt>
                <c:pt idx="2041">
                  <c:v>734.45951650000006</c:v>
                </c:pt>
                <c:pt idx="2042">
                  <c:v>734.45951650000006</c:v>
                </c:pt>
                <c:pt idx="2043">
                  <c:v>734.45951650000006</c:v>
                </c:pt>
                <c:pt idx="2044">
                  <c:v>734.45951650000006</c:v>
                </c:pt>
                <c:pt idx="2045">
                  <c:v>734.45951650000006</c:v>
                </c:pt>
                <c:pt idx="2046">
                  <c:v>734.45951650000006</c:v>
                </c:pt>
                <c:pt idx="2047">
                  <c:v>734.45951650000006</c:v>
                </c:pt>
                <c:pt idx="2048">
                  <c:v>734.45951650000006</c:v>
                </c:pt>
                <c:pt idx="2049">
                  <c:v>734.45951650000006</c:v>
                </c:pt>
                <c:pt idx="2050">
                  <c:v>734.45951650000006</c:v>
                </c:pt>
                <c:pt idx="2051">
                  <c:v>734.45951650000006</c:v>
                </c:pt>
                <c:pt idx="2052">
                  <c:v>734.45951650000006</c:v>
                </c:pt>
                <c:pt idx="2053">
                  <c:v>734.45951650000006</c:v>
                </c:pt>
                <c:pt idx="2054">
                  <c:v>734.45951650000006</c:v>
                </c:pt>
                <c:pt idx="2055">
                  <c:v>734.45951650000006</c:v>
                </c:pt>
                <c:pt idx="2056">
                  <c:v>734.45951650000006</c:v>
                </c:pt>
                <c:pt idx="2057">
                  <c:v>734.45951650000006</c:v>
                </c:pt>
                <c:pt idx="2058">
                  <c:v>734.45951650000006</c:v>
                </c:pt>
                <c:pt idx="2059">
                  <c:v>734.45951650000006</c:v>
                </c:pt>
                <c:pt idx="2060">
                  <c:v>734.45951650000006</c:v>
                </c:pt>
                <c:pt idx="2061">
                  <c:v>734.45951650000006</c:v>
                </c:pt>
                <c:pt idx="2062">
                  <c:v>734.45951650000006</c:v>
                </c:pt>
                <c:pt idx="2063">
                  <c:v>734.45951650000006</c:v>
                </c:pt>
                <c:pt idx="2064">
                  <c:v>734.45951650000006</c:v>
                </c:pt>
                <c:pt idx="2065">
                  <c:v>734.45951650000006</c:v>
                </c:pt>
                <c:pt idx="2066">
                  <c:v>734.45951650000006</c:v>
                </c:pt>
                <c:pt idx="2067">
                  <c:v>734.45951650000006</c:v>
                </c:pt>
                <c:pt idx="2068">
                  <c:v>734.45951650000006</c:v>
                </c:pt>
                <c:pt idx="2069">
                  <c:v>734.45951650000006</c:v>
                </c:pt>
                <c:pt idx="2070">
                  <c:v>734.45951650000006</c:v>
                </c:pt>
                <c:pt idx="2071">
                  <c:v>734.45951650000006</c:v>
                </c:pt>
                <c:pt idx="2072">
                  <c:v>734.45951650000006</c:v>
                </c:pt>
                <c:pt idx="2073">
                  <c:v>734.45951650000006</c:v>
                </c:pt>
                <c:pt idx="2074">
                  <c:v>734.45951650000006</c:v>
                </c:pt>
                <c:pt idx="2075">
                  <c:v>734.45951650000006</c:v>
                </c:pt>
                <c:pt idx="2076">
                  <c:v>734.45951650000006</c:v>
                </c:pt>
                <c:pt idx="2077">
                  <c:v>734.45951650000006</c:v>
                </c:pt>
                <c:pt idx="2078">
                  <c:v>734.45951650000006</c:v>
                </c:pt>
                <c:pt idx="2079">
                  <c:v>734.45951650000006</c:v>
                </c:pt>
                <c:pt idx="2080">
                  <c:v>734.45951650000006</c:v>
                </c:pt>
                <c:pt idx="2081">
                  <c:v>734.45951650000006</c:v>
                </c:pt>
                <c:pt idx="2082">
                  <c:v>734.45951650000006</c:v>
                </c:pt>
                <c:pt idx="2083">
                  <c:v>734.45951650000006</c:v>
                </c:pt>
                <c:pt idx="2084">
                  <c:v>734.45951650000006</c:v>
                </c:pt>
                <c:pt idx="2085">
                  <c:v>734.45951650000006</c:v>
                </c:pt>
                <c:pt idx="2086">
                  <c:v>734.45951650000006</c:v>
                </c:pt>
                <c:pt idx="2087">
                  <c:v>734.45951650000006</c:v>
                </c:pt>
                <c:pt idx="2088">
                  <c:v>734.45951650000006</c:v>
                </c:pt>
                <c:pt idx="2089">
                  <c:v>734.45951650000006</c:v>
                </c:pt>
                <c:pt idx="2090">
                  <c:v>734.45951650000006</c:v>
                </c:pt>
                <c:pt idx="2091">
                  <c:v>734.45951650000006</c:v>
                </c:pt>
                <c:pt idx="2092">
                  <c:v>734.45951650000006</c:v>
                </c:pt>
                <c:pt idx="2093">
                  <c:v>734.45951650000006</c:v>
                </c:pt>
                <c:pt idx="2094">
                  <c:v>734.45951650000006</c:v>
                </c:pt>
                <c:pt idx="2095">
                  <c:v>734.45951650000006</c:v>
                </c:pt>
                <c:pt idx="2096">
                  <c:v>734.45951650000006</c:v>
                </c:pt>
                <c:pt idx="2097">
                  <c:v>734.45951650000006</c:v>
                </c:pt>
                <c:pt idx="2098">
                  <c:v>734.45951650000006</c:v>
                </c:pt>
                <c:pt idx="2099">
                  <c:v>734.45951650000006</c:v>
                </c:pt>
                <c:pt idx="2100">
                  <c:v>734.45951650000006</c:v>
                </c:pt>
                <c:pt idx="2101">
                  <c:v>734.45951650000006</c:v>
                </c:pt>
                <c:pt idx="2102">
                  <c:v>734.45951650000006</c:v>
                </c:pt>
                <c:pt idx="2103">
                  <c:v>734.45951650000006</c:v>
                </c:pt>
                <c:pt idx="2104">
                  <c:v>734.45951650000006</c:v>
                </c:pt>
                <c:pt idx="2105">
                  <c:v>734.45951650000006</c:v>
                </c:pt>
                <c:pt idx="2106">
                  <c:v>734.45951650000006</c:v>
                </c:pt>
                <c:pt idx="2107">
                  <c:v>734.45951650000006</c:v>
                </c:pt>
                <c:pt idx="2108">
                  <c:v>734.45951650000006</c:v>
                </c:pt>
                <c:pt idx="2109">
                  <c:v>734.45951650000006</c:v>
                </c:pt>
                <c:pt idx="2110">
                  <c:v>734.45951650000006</c:v>
                </c:pt>
                <c:pt idx="2111">
                  <c:v>734.45951650000006</c:v>
                </c:pt>
                <c:pt idx="2112">
                  <c:v>734.45951650000006</c:v>
                </c:pt>
                <c:pt idx="2113">
                  <c:v>734.45951650000006</c:v>
                </c:pt>
                <c:pt idx="2114">
                  <c:v>734.45951650000006</c:v>
                </c:pt>
                <c:pt idx="2115">
                  <c:v>734.45951650000006</c:v>
                </c:pt>
                <c:pt idx="2116">
                  <c:v>734.45951650000006</c:v>
                </c:pt>
                <c:pt idx="2117">
                  <c:v>734.45951650000006</c:v>
                </c:pt>
                <c:pt idx="2118">
                  <c:v>734.45951650000006</c:v>
                </c:pt>
                <c:pt idx="2119">
                  <c:v>734.45951650000006</c:v>
                </c:pt>
                <c:pt idx="2120">
                  <c:v>734.45951650000006</c:v>
                </c:pt>
                <c:pt idx="2121">
                  <c:v>734.45951650000006</c:v>
                </c:pt>
                <c:pt idx="2122">
                  <c:v>734.45951650000006</c:v>
                </c:pt>
                <c:pt idx="2123">
                  <c:v>734.45951650000006</c:v>
                </c:pt>
                <c:pt idx="2124">
                  <c:v>734.45951650000006</c:v>
                </c:pt>
                <c:pt idx="2125">
                  <c:v>734.45951650000006</c:v>
                </c:pt>
                <c:pt idx="2126">
                  <c:v>734.45951650000006</c:v>
                </c:pt>
                <c:pt idx="2127">
                  <c:v>734.45951650000006</c:v>
                </c:pt>
                <c:pt idx="2128">
                  <c:v>734.45951650000006</c:v>
                </c:pt>
                <c:pt idx="2129">
                  <c:v>734.45951650000006</c:v>
                </c:pt>
                <c:pt idx="2130">
                  <c:v>734.45951650000006</c:v>
                </c:pt>
                <c:pt idx="2131">
                  <c:v>734.45951650000006</c:v>
                </c:pt>
                <c:pt idx="2132">
                  <c:v>734.45951650000006</c:v>
                </c:pt>
                <c:pt idx="2133">
                  <c:v>734.45951650000006</c:v>
                </c:pt>
                <c:pt idx="2134">
                  <c:v>734.45951650000006</c:v>
                </c:pt>
                <c:pt idx="2135">
                  <c:v>734.45951650000006</c:v>
                </c:pt>
                <c:pt idx="2136">
                  <c:v>734.45951650000006</c:v>
                </c:pt>
                <c:pt idx="2137">
                  <c:v>734.45951650000006</c:v>
                </c:pt>
                <c:pt idx="2138">
                  <c:v>734.45951650000006</c:v>
                </c:pt>
                <c:pt idx="2139">
                  <c:v>734.45951650000006</c:v>
                </c:pt>
                <c:pt idx="2140">
                  <c:v>734.45951650000006</c:v>
                </c:pt>
                <c:pt idx="2141">
                  <c:v>734.45951650000006</c:v>
                </c:pt>
                <c:pt idx="2142">
                  <c:v>734.45951650000006</c:v>
                </c:pt>
                <c:pt idx="2143">
                  <c:v>734.45951650000006</c:v>
                </c:pt>
                <c:pt idx="2144">
                  <c:v>734.45951650000006</c:v>
                </c:pt>
                <c:pt idx="2145">
                  <c:v>734.45951650000006</c:v>
                </c:pt>
                <c:pt idx="2146">
                  <c:v>734.45951650000006</c:v>
                </c:pt>
                <c:pt idx="2147">
                  <c:v>734.45951650000006</c:v>
                </c:pt>
                <c:pt idx="2148">
                  <c:v>734.45951650000006</c:v>
                </c:pt>
                <c:pt idx="2149">
                  <c:v>734.45951650000006</c:v>
                </c:pt>
                <c:pt idx="2150">
                  <c:v>734.45951650000006</c:v>
                </c:pt>
                <c:pt idx="2151">
                  <c:v>734.45951650000006</c:v>
                </c:pt>
                <c:pt idx="2152">
                  <c:v>734.45951650000006</c:v>
                </c:pt>
                <c:pt idx="2153">
                  <c:v>734.45951650000006</c:v>
                </c:pt>
                <c:pt idx="2154">
                  <c:v>734.45951650000006</c:v>
                </c:pt>
                <c:pt idx="2155">
                  <c:v>734.45951650000006</c:v>
                </c:pt>
                <c:pt idx="2156">
                  <c:v>734.45951650000006</c:v>
                </c:pt>
                <c:pt idx="2157">
                  <c:v>734.45951650000006</c:v>
                </c:pt>
                <c:pt idx="2158">
                  <c:v>734.45951650000006</c:v>
                </c:pt>
                <c:pt idx="2159">
                  <c:v>734.45951650000006</c:v>
                </c:pt>
                <c:pt idx="2160">
                  <c:v>734.45951650000006</c:v>
                </c:pt>
                <c:pt idx="2161">
                  <c:v>734.45951650000006</c:v>
                </c:pt>
                <c:pt idx="2162">
                  <c:v>734.45951650000006</c:v>
                </c:pt>
                <c:pt idx="2163">
                  <c:v>734.45951650000006</c:v>
                </c:pt>
                <c:pt idx="2164">
                  <c:v>734.45951650000006</c:v>
                </c:pt>
                <c:pt idx="2165">
                  <c:v>734.45951650000006</c:v>
                </c:pt>
                <c:pt idx="2166">
                  <c:v>734.45951650000006</c:v>
                </c:pt>
                <c:pt idx="2167">
                  <c:v>734.45951650000006</c:v>
                </c:pt>
                <c:pt idx="2168">
                  <c:v>734.45951650000006</c:v>
                </c:pt>
                <c:pt idx="2169">
                  <c:v>734.45951650000006</c:v>
                </c:pt>
                <c:pt idx="2170">
                  <c:v>734.45951650000006</c:v>
                </c:pt>
                <c:pt idx="2171">
                  <c:v>734.45951650000006</c:v>
                </c:pt>
                <c:pt idx="2172">
                  <c:v>734.45951650000006</c:v>
                </c:pt>
                <c:pt idx="2173">
                  <c:v>734.45951650000006</c:v>
                </c:pt>
                <c:pt idx="2174">
                  <c:v>734.45951650000006</c:v>
                </c:pt>
                <c:pt idx="2175">
                  <c:v>734.45951650000006</c:v>
                </c:pt>
                <c:pt idx="2176">
                  <c:v>734.45951650000006</c:v>
                </c:pt>
                <c:pt idx="2177">
                  <c:v>734.45951650000006</c:v>
                </c:pt>
                <c:pt idx="2178">
                  <c:v>734.45951650000006</c:v>
                </c:pt>
                <c:pt idx="2179">
                  <c:v>734.45951650000006</c:v>
                </c:pt>
                <c:pt idx="2180">
                  <c:v>734.45951650000006</c:v>
                </c:pt>
                <c:pt idx="2181">
                  <c:v>734.45951650000006</c:v>
                </c:pt>
                <c:pt idx="2182">
                  <c:v>734.45951650000006</c:v>
                </c:pt>
                <c:pt idx="2183">
                  <c:v>734.45951650000006</c:v>
                </c:pt>
                <c:pt idx="2184">
                  <c:v>734.45951650000006</c:v>
                </c:pt>
                <c:pt idx="2185">
                  <c:v>734.45951650000006</c:v>
                </c:pt>
                <c:pt idx="2186">
                  <c:v>734.45951650000006</c:v>
                </c:pt>
                <c:pt idx="2187">
                  <c:v>734.45951650000006</c:v>
                </c:pt>
                <c:pt idx="2188">
                  <c:v>734.45951650000006</c:v>
                </c:pt>
                <c:pt idx="2189">
                  <c:v>734.45951650000006</c:v>
                </c:pt>
                <c:pt idx="2190">
                  <c:v>734.45951650000006</c:v>
                </c:pt>
                <c:pt idx="2191">
                  <c:v>734.45132149999995</c:v>
                </c:pt>
                <c:pt idx="2192">
                  <c:v>734.45132149999995</c:v>
                </c:pt>
                <c:pt idx="2193">
                  <c:v>734.45132149999995</c:v>
                </c:pt>
                <c:pt idx="2194">
                  <c:v>734.45132149999995</c:v>
                </c:pt>
                <c:pt idx="2195">
                  <c:v>734.45132149999995</c:v>
                </c:pt>
                <c:pt idx="2196">
                  <c:v>734.45132149999995</c:v>
                </c:pt>
                <c:pt idx="2197">
                  <c:v>734.45132149999995</c:v>
                </c:pt>
                <c:pt idx="2198">
                  <c:v>734.45132149999995</c:v>
                </c:pt>
                <c:pt idx="2199">
                  <c:v>734.45132149999995</c:v>
                </c:pt>
                <c:pt idx="2200">
                  <c:v>734.45132149999995</c:v>
                </c:pt>
                <c:pt idx="2201">
                  <c:v>734.45132149999995</c:v>
                </c:pt>
                <c:pt idx="2202">
                  <c:v>734.440966</c:v>
                </c:pt>
                <c:pt idx="2203">
                  <c:v>734.440966</c:v>
                </c:pt>
                <c:pt idx="2204">
                  <c:v>734.440966</c:v>
                </c:pt>
                <c:pt idx="2205">
                  <c:v>734.440966</c:v>
                </c:pt>
                <c:pt idx="2206">
                  <c:v>734.440966</c:v>
                </c:pt>
                <c:pt idx="2207">
                  <c:v>734.440966</c:v>
                </c:pt>
                <c:pt idx="2208">
                  <c:v>734.440966</c:v>
                </c:pt>
                <c:pt idx="2209">
                  <c:v>734.440966</c:v>
                </c:pt>
                <c:pt idx="2210">
                  <c:v>734.434708</c:v>
                </c:pt>
                <c:pt idx="2211">
                  <c:v>734.434708</c:v>
                </c:pt>
                <c:pt idx="2212">
                  <c:v>734.38501650000001</c:v>
                </c:pt>
                <c:pt idx="2213">
                  <c:v>734.38501650000001</c:v>
                </c:pt>
                <c:pt idx="2214">
                  <c:v>734.38501650000001</c:v>
                </c:pt>
                <c:pt idx="2215">
                  <c:v>734.38501650000001</c:v>
                </c:pt>
                <c:pt idx="2216">
                  <c:v>734.38501650000001</c:v>
                </c:pt>
                <c:pt idx="2217">
                  <c:v>734.38501650000001</c:v>
                </c:pt>
                <c:pt idx="2218">
                  <c:v>734.38501650000001</c:v>
                </c:pt>
                <c:pt idx="2219">
                  <c:v>734.38501650000001</c:v>
                </c:pt>
                <c:pt idx="2220">
                  <c:v>734.38501650000001</c:v>
                </c:pt>
                <c:pt idx="2221">
                  <c:v>734.38501650000001</c:v>
                </c:pt>
                <c:pt idx="2222">
                  <c:v>734.38501650000001</c:v>
                </c:pt>
                <c:pt idx="2223">
                  <c:v>734.38501650000001</c:v>
                </c:pt>
                <c:pt idx="2224">
                  <c:v>734.38501650000001</c:v>
                </c:pt>
                <c:pt idx="2225">
                  <c:v>734.38501650000001</c:v>
                </c:pt>
                <c:pt idx="2226">
                  <c:v>734.38501650000001</c:v>
                </c:pt>
                <c:pt idx="2227">
                  <c:v>734.38501650000001</c:v>
                </c:pt>
                <c:pt idx="2228">
                  <c:v>734.38501650000001</c:v>
                </c:pt>
                <c:pt idx="2229">
                  <c:v>734.38501650000001</c:v>
                </c:pt>
                <c:pt idx="2230">
                  <c:v>734.38501650000001</c:v>
                </c:pt>
                <c:pt idx="2231">
                  <c:v>734.38501650000001</c:v>
                </c:pt>
                <c:pt idx="2232">
                  <c:v>734.38501650000001</c:v>
                </c:pt>
                <c:pt idx="2233">
                  <c:v>734.38501650000001</c:v>
                </c:pt>
                <c:pt idx="2234">
                  <c:v>734.38501650000001</c:v>
                </c:pt>
                <c:pt idx="2235">
                  <c:v>734.38501650000001</c:v>
                </c:pt>
                <c:pt idx="2236">
                  <c:v>734.38501650000001</c:v>
                </c:pt>
                <c:pt idx="2237">
                  <c:v>734.38501650000001</c:v>
                </c:pt>
                <c:pt idx="2238">
                  <c:v>734.38501650000001</c:v>
                </c:pt>
                <c:pt idx="2239">
                  <c:v>734.38501650000001</c:v>
                </c:pt>
                <c:pt idx="2240">
                  <c:v>734.38501650000001</c:v>
                </c:pt>
                <c:pt idx="2241">
                  <c:v>734.38501650000001</c:v>
                </c:pt>
                <c:pt idx="2242">
                  <c:v>734.38501650000001</c:v>
                </c:pt>
                <c:pt idx="2243">
                  <c:v>734.38501650000001</c:v>
                </c:pt>
                <c:pt idx="2244">
                  <c:v>734.38501650000001</c:v>
                </c:pt>
                <c:pt idx="2245">
                  <c:v>734.38501650000001</c:v>
                </c:pt>
                <c:pt idx="2246">
                  <c:v>734.38501650000001</c:v>
                </c:pt>
                <c:pt idx="2247">
                  <c:v>734.38501650000001</c:v>
                </c:pt>
                <c:pt idx="2248">
                  <c:v>734.38501650000001</c:v>
                </c:pt>
                <c:pt idx="2249">
                  <c:v>734.38501650000001</c:v>
                </c:pt>
                <c:pt idx="2250">
                  <c:v>734.38501650000001</c:v>
                </c:pt>
                <c:pt idx="2251">
                  <c:v>734.38501650000001</c:v>
                </c:pt>
                <c:pt idx="2252">
                  <c:v>734.38501650000001</c:v>
                </c:pt>
                <c:pt idx="2253">
                  <c:v>734.38501650000001</c:v>
                </c:pt>
                <c:pt idx="2254">
                  <c:v>734.38501650000001</c:v>
                </c:pt>
                <c:pt idx="2255">
                  <c:v>734.38501650000001</c:v>
                </c:pt>
                <c:pt idx="2256">
                  <c:v>734.38501650000001</c:v>
                </c:pt>
                <c:pt idx="2257">
                  <c:v>734.38501650000001</c:v>
                </c:pt>
                <c:pt idx="2258">
                  <c:v>734.38501650000001</c:v>
                </c:pt>
                <c:pt idx="2259">
                  <c:v>734.38501650000001</c:v>
                </c:pt>
                <c:pt idx="2260">
                  <c:v>734.38501650000001</c:v>
                </c:pt>
                <c:pt idx="2261">
                  <c:v>734.38501650000001</c:v>
                </c:pt>
                <c:pt idx="2262">
                  <c:v>734.38501650000001</c:v>
                </c:pt>
                <c:pt idx="2263">
                  <c:v>734.38501650000001</c:v>
                </c:pt>
                <c:pt idx="2264">
                  <c:v>734.38501650000001</c:v>
                </c:pt>
                <c:pt idx="2265">
                  <c:v>734.38501650000001</c:v>
                </c:pt>
                <c:pt idx="2266">
                  <c:v>734.38501650000001</c:v>
                </c:pt>
                <c:pt idx="2267">
                  <c:v>734.38501650000001</c:v>
                </c:pt>
                <c:pt idx="2268">
                  <c:v>734.38501650000001</c:v>
                </c:pt>
                <c:pt idx="2269">
                  <c:v>734.38501650000001</c:v>
                </c:pt>
                <c:pt idx="2270">
                  <c:v>734.38501650000001</c:v>
                </c:pt>
                <c:pt idx="2271">
                  <c:v>734.38501650000001</c:v>
                </c:pt>
                <c:pt idx="2272">
                  <c:v>734.38501650000001</c:v>
                </c:pt>
                <c:pt idx="2273">
                  <c:v>734.38501650000001</c:v>
                </c:pt>
                <c:pt idx="2274">
                  <c:v>734.38501650000001</c:v>
                </c:pt>
                <c:pt idx="2275">
                  <c:v>734.38501650000001</c:v>
                </c:pt>
                <c:pt idx="2276">
                  <c:v>734.38501650000001</c:v>
                </c:pt>
                <c:pt idx="2277">
                  <c:v>734.38501650000001</c:v>
                </c:pt>
                <c:pt idx="2278">
                  <c:v>734.38501650000001</c:v>
                </c:pt>
                <c:pt idx="2279">
                  <c:v>734.38501650000001</c:v>
                </c:pt>
                <c:pt idx="2280">
                  <c:v>734.38501650000001</c:v>
                </c:pt>
                <c:pt idx="2281">
                  <c:v>734.38501650000001</c:v>
                </c:pt>
                <c:pt idx="2282">
                  <c:v>734.38501650000001</c:v>
                </c:pt>
                <c:pt idx="2283">
                  <c:v>734.38501650000001</c:v>
                </c:pt>
                <c:pt idx="2284">
                  <c:v>734.38501650000001</c:v>
                </c:pt>
                <c:pt idx="2285">
                  <c:v>734.38501650000001</c:v>
                </c:pt>
                <c:pt idx="2286">
                  <c:v>734.38501650000001</c:v>
                </c:pt>
                <c:pt idx="2287">
                  <c:v>734.38501650000001</c:v>
                </c:pt>
                <c:pt idx="2288">
                  <c:v>734.38501650000001</c:v>
                </c:pt>
                <c:pt idx="2289">
                  <c:v>734.38501650000001</c:v>
                </c:pt>
                <c:pt idx="2290">
                  <c:v>734.38501650000001</c:v>
                </c:pt>
                <c:pt idx="2291">
                  <c:v>734.38501650000001</c:v>
                </c:pt>
                <c:pt idx="2292">
                  <c:v>734.38501650000001</c:v>
                </c:pt>
                <c:pt idx="2293">
                  <c:v>734.38501650000001</c:v>
                </c:pt>
                <c:pt idx="2294">
                  <c:v>734.38501650000001</c:v>
                </c:pt>
                <c:pt idx="2295">
                  <c:v>734.38501650000001</c:v>
                </c:pt>
                <c:pt idx="2296">
                  <c:v>734.38501650000001</c:v>
                </c:pt>
                <c:pt idx="2297">
                  <c:v>734.38501650000001</c:v>
                </c:pt>
                <c:pt idx="2298">
                  <c:v>734.38501650000001</c:v>
                </c:pt>
                <c:pt idx="2299">
                  <c:v>734.38501650000001</c:v>
                </c:pt>
                <c:pt idx="2300">
                  <c:v>734.38501650000001</c:v>
                </c:pt>
                <c:pt idx="2301">
                  <c:v>734.38501650000001</c:v>
                </c:pt>
                <c:pt idx="2302">
                  <c:v>734.38501650000001</c:v>
                </c:pt>
                <c:pt idx="2303">
                  <c:v>734.38501650000001</c:v>
                </c:pt>
                <c:pt idx="2304">
                  <c:v>734.38501650000001</c:v>
                </c:pt>
                <c:pt idx="2305">
                  <c:v>734.38501650000001</c:v>
                </c:pt>
                <c:pt idx="2306">
                  <c:v>734.38501650000001</c:v>
                </c:pt>
                <c:pt idx="2307">
                  <c:v>734.38501650000001</c:v>
                </c:pt>
                <c:pt idx="2308">
                  <c:v>734.38501650000001</c:v>
                </c:pt>
                <c:pt idx="2309">
                  <c:v>734.38501650000001</c:v>
                </c:pt>
                <c:pt idx="2310">
                  <c:v>734.38501650000001</c:v>
                </c:pt>
                <c:pt idx="2311">
                  <c:v>734.38501650000001</c:v>
                </c:pt>
                <c:pt idx="2312">
                  <c:v>734.38501650000001</c:v>
                </c:pt>
                <c:pt idx="2313">
                  <c:v>734.38501650000001</c:v>
                </c:pt>
                <c:pt idx="2314">
                  <c:v>734.38501650000001</c:v>
                </c:pt>
                <c:pt idx="2315">
                  <c:v>734.38501650000001</c:v>
                </c:pt>
                <c:pt idx="2316">
                  <c:v>734.38501650000001</c:v>
                </c:pt>
                <c:pt idx="2317">
                  <c:v>734.38501650000001</c:v>
                </c:pt>
                <c:pt idx="2318">
                  <c:v>734.38501650000001</c:v>
                </c:pt>
                <c:pt idx="2319">
                  <c:v>734.38501650000001</c:v>
                </c:pt>
                <c:pt idx="2320">
                  <c:v>734.38501650000001</c:v>
                </c:pt>
                <c:pt idx="2321">
                  <c:v>734.38501650000001</c:v>
                </c:pt>
                <c:pt idx="2322">
                  <c:v>734.38501650000001</c:v>
                </c:pt>
                <c:pt idx="2323">
                  <c:v>734.38501650000001</c:v>
                </c:pt>
                <c:pt idx="2324">
                  <c:v>734.37682150000012</c:v>
                </c:pt>
                <c:pt idx="2325">
                  <c:v>734.37682150000012</c:v>
                </c:pt>
                <c:pt idx="2326">
                  <c:v>734.37011650000011</c:v>
                </c:pt>
                <c:pt idx="2327">
                  <c:v>734.36646600000006</c:v>
                </c:pt>
                <c:pt idx="2328">
                  <c:v>734.36028250000004</c:v>
                </c:pt>
                <c:pt idx="2329">
                  <c:v>734.36028250000004</c:v>
                </c:pt>
                <c:pt idx="2330">
                  <c:v>734.36028250000004</c:v>
                </c:pt>
                <c:pt idx="2331">
                  <c:v>734.36028250000004</c:v>
                </c:pt>
                <c:pt idx="2332">
                  <c:v>734.36028250000004</c:v>
                </c:pt>
                <c:pt idx="2333">
                  <c:v>734.36028250000004</c:v>
                </c:pt>
                <c:pt idx="2334">
                  <c:v>734.36028250000004</c:v>
                </c:pt>
                <c:pt idx="2335">
                  <c:v>734.36028250000004</c:v>
                </c:pt>
                <c:pt idx="2336">
                  <c:v>734.33557830000007</c:v>
                </c:pt>
                <c:pt idx="2337">
                  <c:v>734.33557830000007</c:v>
                </c:pt>
                <c:pt idx="2338">
                  <c:v>734.33547400000009</c:v>
                </c:pt>
                <c:pt idx="2339">
                  <c:v>734.33547400000009</c:v>
                </c:pt>
                <c:pt idx="2340">
                  <c:v>734.33547400000009</c:v>
                </c:pt>
                <c:pt idx="2341">
                  <c:v>734.33547400000009</c:v>
                </c:pt>
                <c:pt idx="2342">
                  <c:v>734.33547400000009</c:v>
                </c:pt>
                <c:pt idx="2343">
                  <c:v>734.32914150000011</c:v>
                </c:pt>
                <c:pt idx="2344">
                  <c:v>734.31059100000004</c:v>
                </c:pt>
                <c:pt idx="2345">
                  <c:v>734.31059100000004</c:v>
                </c:pt>
                <c:pt idx="2346">
                  <c:v>734.31059100000004</c:v>
                </c:pt>
                <c:pt idx="2347">
                  <c:v>734.31059100000004</c:v>
                </c:pt>
                <c:pt idx="2348">
                  <c:v>734.31059100000004</c:v>
                </c:pt>
                <c:pt idx="2349">
                  <c:v>734.31059100000004</c:v>
                </c:pt>
                <c:pt idx="2350">
                  <c:v>734.31059100000004</c:v>
                </c:pt>
                <c:pt idx="2351">
                  <c:v>734.31059100000004</c:v>
                </c:pt>
                <c:pt idx="2352">
                  <c:v>734.31059100000004</c:v>
                </c:pt>
                <c:pt idx="2353">
                  <c:v>734.31059100000004</c:v>
                </c:pt>
                <c:pt idx="2354">
                  <c:v>734.31059100000004</c:v>
                </c:pt>
                <c:pt idx="2355">
                  <c:v>734.31059100000004</c:v>
                </c:pt>
                <c:pt idx="2356">
                  <c:v>734.31059100000004</c:v>
                </c:pt>
                <c:pt idx="2357">
                  <c:v>734.31059100000004</c:v>
                </c:pt>
                <c:pt idx="2358">
                  <c:v>734.31059100000004</c:v>
                </c:pt>
                <c:pt idx="2359">
                  <c:v>734.31059100000004</c:v>
                </c:pt>
                <c:pt idx="2360">
                  <c:v>734.31059100000004</c:v>
                </c:pt>
                <c:pt idx="2361">
                  <c:v>734.31059100000004</c:v>
                </c:pt>
                <c:pt idx="2362">
                  <c:v>734.31059100000004</c:v>
                </c:pt>
                <c:pt idx="2363">
                  <c:v>734.31059100000004</c:v>
                </c:pt>
                <c:pt idx="2364">
                  <c:v>734.31059100000004</c:v>
                </c:pt>
                <c:pt idx="2365">
                  <c:v>734.31059100000004</c:v>
                </c:pt>
                <c:pt idx="2366">
                  <c:v>734.31059100000004</c:v>
                </c:pt>
                <c:pt idx="2367">
                  <c:v>734.31059100000004</c:v>
                </c:pt>
                <c:pt idx="2368">
                  <c:v>734.31059100000004</c:v>
                </c:pt>
                <c:pt idx="2369">
                  <c:v>734.31059100000004</c:v>
                </c:pt>
                <c:pt idx="2370">
                  <c:v>734.31059100000004</c:v>
                </c:pt>
                <c:pt idx="2371">
                  <c:v>734.31059100000004</c:v>
                </c:pt>
                <c:pt idx="2372">
                  <c:v>734.31059100000004</c:v>
                </c:pt>
                <c:pt idx="2373">
                  <c:v>734.31059100000004</c:v>
                </c:pt>
                <c:pt idx="2374">
                  <c:v>734.31059100000004</c:v>
                </c:pt>
                <c:pt idx="2375">
                  <c:v>734.31059100000004</c:v>
                </c:pt>
                <c:pt idx="2376">
                  <c:v>734.31059100000004</c:v>
                </c:pt>
                <c:pt idx="2377">
                  <c:v>734.31059100000004</c:v>
                </c:pt>
                <c:pt idx="2378">
                  <c:v>734.31059100000004</c:v>
                </c:pt>
                <c:pt idx="2379">
                  <c:v>734.31059100000004</c:v>
                </c:pt>
                <c:pt idx="2380">
                  <c:v>734.31059100000004</c:v>
                </c:pt>
                <c:pt idx="2381">
                  <c:v>734.31059100000004</c:v>
                </c:pt>
                <c:pt idx="2382">
                  <c:v>734.31059100000004</c:v>
                </c:pt>
                <c:pt idx="2383">
                  <c:v>734.31059100000004</c:v>
                </c:pt>
                <c:pt idx="2384">
                  <c:v>734.31059100000004</c:v>
                </c:pt>
                <c:pt idx="2385">
                  <c:v>734.31059100000004</c:v>
                </c:pt>
                <c:pt idx="2386">
                  <c:v>734.31059100000004</c:v>
                </c:pt>
                <c:pt idx="2387">
                  <c:v>734.31059100000004</c:v>
                </c:pt>
                <c:pt idx="2388">
                  <c:v>734.31059100000004</c:v>
                </c:pt>
                <c:pt idx="2389">
                  <c:v>734.31059100000004</c:v>
                </c:pt>
                <c:pt idx="2390">
                  <c:v>734.31059100000004</c:v>
                </c:pt>
                <c:pt idx="2391">
                  <c:v>734.31059100000004</c:v>
                </c:pt>
                <c:pt idx="2392">
                  <c:v>734.31059100000004</c:v>
                </c:pt>
                <c:pt idx="2393">
                  <c:v>734.31059100000004</c:v>
                </c:pt>
                <c:pt idx="2394">
                  <c:v>734.31059100000004</c:v>
                </c:pt>
                <c:pt idx="2395">
                  <c:v>734.31059100000004</c:v>
                </c:pt>
                <c:pt idx="2396">
                  <c:v>734.31059100000004</c:v>
                </c:pt>
                <c:pt idx="2397">
                  <c:v>734.31059100000004</c:v>
                </c:pt>
                <c:pt idx="2398">
                  <c:v>734.31059100000004</c:v>
                </c:pt>
                <c:pt idx="2399">
                  <c:v>734.31059100000004</c:v>
                </c:pt>
                <c:pt idx="2400">
                  <c:v>734.31059100000004</c:v>
                </c:pt>
                <c:pt idx="2401">
                  <c:v>734.31059100000004</c:v>
                </c:pt>
                <c:pt idx="2402">
                  <c:v>734.31059100000004</c:v>
                </c:pt>
                <c:pt idx="2403">
                  <c:v>734.31059100000004</c:v>
                </c:pt>
                <c:pt idx="2404">
                  <c:v>734.31059100000004</c:v>
                </c:pt>
                <c:pt idx="2405">
                  <c:v>734.31059100000004</c:v>
                </c:pt>
                <c:pt idx="2406">
                  <c:v>734.31059100000004</c:v>
                </c:pt>
                <c:pt idx="2407">
                  <c:v>734.31059100000004</c:v>
                </c:pt>
                <c:pt idx="2408">
                  <c:v>734.31059100000004</c:v>
                </c:pt>
                <c:pt idx="2409">
                  <c:v>734.31059100000004</c:v>
                </c:pt>
                <c:pt idx="2410">
                  <c:v>734.31059100000004</c:v>
                </c:pt>
                <c:pt idx="2411">
                  <c:v>734.31059100000004</c:v>
                </c:pt>
                <c:pt idx="2412">
                  <c:v>734.31059100000004</c:v>
                </c:pt>
                <c:pt idx="2413">
                  <c:v>734.31059100000004</c:v>
                </c:pt>
                <c:pt idx="2414">
                  <c:v>734.31059100000004</c:v>
                </c:pt>
                <c:pt idx="2415">
                  <c:v>734.31059100000004</c:v>
                </c:pt>
                <c:pt idx="2416">
                  <c:v>734.31059100000004</c:v>
                </c:pt>
                <c:pt idx="2417">
                  <c:v>734.31059100000004</c:v>
                </c:pt>
                <c:pt idx="2418">
                  <c:v>734.31059100000004</c:v>
                </c:pt>
                <c:pt idx="2419">
                  <c:v>734.31059100000004</c:v>
                </c:pt>
                <c:pt idx="2420">
                  <c:v>734.31059100000004</c:v>
                </c:pt>
                <c:pt idx="2421">
                  <c:v>734.31059100000004</c:v>
                </c:pt>
                <c:pt idx="2422">
                  <c:v>734.31059100000004</c:v>
                </c:pt>
                <c:pt idx="2423">
                  <c:v>734.31059100000004</c:v>
                </c:pt>
                <c:pt idx="2424">
                  <c:v>734.31059100000004</c:v>
                </c:pt>
                <c:pt idx="2425">
                  <c:v>734.31059100000004</c:v>
                </c:pt>
                <c:pt idx="2426">
                  <c:v>734.31059100000004</c:v>
                </c:pt>
                <c:pt idx="2427">
                  <c:v>734.31059100000004</c:v>
                </c:pt>
                <c:pt idx="2428">
                  <c:v>734.31059100000004</c:v>
                </c:pt>
                <c:pt idx="2429">
                  <c:v>734.31059100000004</c:v>
                </c:pt>
                <c:pt idx="2430">
                  <c:v>734.31059100000004</c:v>
                </c:pt>
                <c:pt idx="2431">
                  <c:v>734.31059100000004</c:v>
                </c:pt>
                <c:pt idx="2432">
                  <c:v>734.31059100000004</c:v>
                </c:pt>
                <c:pt idx="2433">
                  <c:v>734.31059100000004</c:v>
                </c:pt>
                <c:pt idx="2434">
                  <c:v>734.31059100000004</c:v>
                </c:pt>
                <c:pt idx="2435">
                  <c:v>734.31059100000004</c:v>
                </c:pt>
                <c:pt idx="2436">
                  <c:v>734.31059100000004</c:v>
                </c:pt>
                <c:pt idx="2437">
                  <c:v>734.31059100000004</c:v>
                </c:pt>
                <c:pt idx="2438">
                  <c:v>734.31059100000004</c:v>
                </c:pt>
                <c:pt idx="2439">
                  <c:v>734.31059100000004</c:v>
                </c:pt>
                <c:pt idx="2440">
                  <c:v>734.31059100000004</c:v>
                </c:pt>
                <c:pt idx="2441">
                  <c:v>734.31059100000004</c:v>
                </c:pt>
                <c:pt idx="2442">
                  <c:v>734.31059100000004</c:v>
                </c:pt>
                <c:pt idx="2443">
                  <c:v>734.31059100000004</c:v>
                </c:pt>
                <c:pt idx="2444">
                  <c:v>734.31059100000004</c:v>
                </c:pt>
                <c:pt idx="2445">
                  <c:v>734.31059100000004</c:v>
                </c:pt>
                <c:pt idx="2446">
                  <c:v>734.30224699999997</c:v>
                </c:pt>
                <c:pt idx="2447">
                  <c:v>734.30224699999997</c:v>
                </c:pt>
                <c:pt idx="2448">
                  <c:v>734.30224699999997</c:v>
                </c:pt>
                <c:pt idx="2449">
                  <c:v>734.30224699999997</c:v>
                </c:pt>
                <c:pt idx="2450">
                  <c:v>734.30224699999997</c:v>
                </c:pt>
                <c:pt idx="2451">
                  <c:v>734.285708</c:v>
                </c:pt>
                <c:pt idx="2452">
                  <c:v>734.2611081</c:v>
                </c:pt>
                <c:pt idx="2453">
                  <c:v>734.26105595000001</c:v>
                </c:pt>
                <c:pt idx="2454">
                  <c:v>734.26104850000002</c:v>
                </c:pt>
                <c:pt idx="2455">
                  <c:v>734.26104850000002</c:v>
                </c:pt>
                <c:pt idx="2456">
                  <c:v>734.26104850000002</c:v>
                </c:pt>
                <c:pt idx="2457">
                  <c:v>734.26104850000002</c:v>
                </c:pt>
                <c:pt idx="2458">
                  <c:v>734.26104850000002</c:v>
                </c:pt>
                <c:pt idx="2459">
                  <c:v>734.26104850000002</c:v>
                </c:pt>
                <c:pt idx="2460">
                  <c:v>734.26104850000002</c:v>
                </c:pt>
                <c:pt idx="2461">
                  <c:v>734.26104850000002</c:v>
                </c:pt>
                <c:pt idx="2462">
                  <c:v>734.26089950000005</c:v>
                </c:pt>
                <c:pt idx="2463">
                  <c:v>734.23609099999999</c:v>
                </c:pt>
                <c:pt idx="2464">
                  <c:v>734.23609099999999</c:v>
                </c:pt>
                <c:pt idx="2465">
                  <c:v>734.23609099999999</c:v>
                </c:pt>
                <c:pt idx="2466">
                  <c:v>734.23609099999999</c:v>
                </c:pt>
                <c:pt idx="2467">
                  <c:v>734.23609099999999</c:v>
                </c:pt>
                <c:pt idx="2468">
                  <c:v>734.23609099999999</c:v>
                </c:pt>
                <c:pt idx="2469">
                  <c:v>734.23609099999999</c:v>
                </c:pt>
                <c:pt idx="2470">
                  <c:v>734.23609099999999</c:v>
                </c:pt>
                <c:pt idx="2471">
                  <c:v>734.23609099999999</c:v>
                </c:pt>
                <c:pt idx="2472">
                  <c:v>734.23609099999999</c:v>
                </c:pt>
                <c:pt idx="2473">
                  <c:v>734.23609099999999</c:v>
                </c:pt>
                <c:pt idx="2474">
                  <c:v>734.23609099999999</c:v>
                </c:pt>
                <c:pt idx="2475">
                  <c:v>734.23609099999999</c:v>
                </c:pt>
                <c:pt idx="2476">
                  <c:v>734.23609099999999</c:v>
                </c:pt>
                <c:pt idx="2477">
                  <c:v>734.23609099999999</c:v>
                </c:pt>
                <c:pt idx="2478">
                  <c:v>734.23609099999999</c:v>
                </c:pt>
                <c:pt idx="2479">
                  <c:v>734.23609099999999</c:v>
                </c:pt>
                <c:pt idx="2480">
                  <c:v>734.23609099999999</c:v>
                </c:pt>
                <c:pt idx="2481">
                  <c:v>734.23609099999999</c:v>
                </c:pt>
                <c:pt idx="2482">
                  <c:v>734.23609099999999</c:v>
                </c:pt>
                <c:pt idx="2483">
                  <c:v>734.23609099999999</c:v>
                </c:pt>
                <c:pt idx="2484">
                  <c:v>734.23609099999999</c:v>
                </c:pt>
                <c:pt idx="2485">
                  <c:v>734.23609099999999</c:v>
                </c:pt>
                <c:pt idx="2486">
                  <c:v>734.23609099999999</c:v>
                </c:pt>
                <c:pt idx="2487">
                  <c:v>734.23609099999999</c:v>
                </c:pt>
                <c:pt idx="2488">
                  <c:v>734.23609099999999</c:v>
                </c:pt>
                <c:pt idx="2489">
                  <c:v>734.23609099999999</c:v>
                </c:pt>
                <c:pt idx="2490">
                  <c:v>734.23609099999999</c:v>
                </c:pt>
                <c:pt idx="2491">
                  <c:v>734.23609099999999</c:v>
                </c:pt>
                <c:pt idx="2492">
                  <c:v>734.23609099999999</c:v>
                </c:pt>
                <c:pt idx="2493">
                  <c:v>734.23609099999999</c:v>
                </c:pt>
                <c:pt idx="2494">
                  <c:v>734.23609099999999</c:v>
                </c:pt>
                <c:pt idx="2495">
                  <c:v>734.23609099999999</c:v>
                </c:pt>
                <c:pt idx="2496">
                  <c:v>734.23609099999999</c:v>
                </c:pt>
                <c:pt idx="2497">
                  <c:v>734.23609099999999</c:v>
                </c:pt>
                <c:pt idx="2498">
                  <c:v>734.23609099999999</c:v>
                </c:pt>
                <c:pt idx="2499">
                  <c:v>734.23609099999999</c:v>
                </c:pt>
                <c:pt idx="2500">
                  <c:v>734.23609099999999</c:v>
                </c:pt>
                <c:pt idx="2501">
                  <c:v>734.23609099999999</c:v>
                </c:pt>
                <c:pt idx="2502">
                  <c:v>734.23609099999999</c:v>
                </c:pt>
                <c:pt idx="2503">
                  <c:v>734.23609099999999</c:v>
                </c:pt>
                <c:pt idx="2504">
                  <c:v>734.23609099999999</c:v>
                </c:pt>
                <c:pt idx="2505">
                  <c:v>734.23609099999999</c:v>
                </c:pt>
                <c:pt idx="2506">
                  <c:v>734.21120800000006</c:v>
                </c:pt>
                <c:pt idx="2507">
                  <c:v>734.18647399999998</c:v>
                </c:pt>
                <c:pt idx="2508">
                  <c:v>734.18647399999998</c:v>
                </c:pt>
                <c:pt idx="2509">
                  <c:v>734.18647399999998</c:v>
                </c:pt>
                <c:pt idx="2510">
                  <c:v>734.18647399999998</c:v>
                </c:pt>
                <c:pt idx="2511">
                  <c:v>734.18647399999998</c:v>
                </c:pt>
                <c:pt idx="2512">
                  <c:v>734.18647399999998</c:v>
                </c:pt>
                <c:pt idx="2513">
                  <c:v>734.18647399999998</c:v>
                </c:pt>
                <c:pt idx="2514">
                  <c:v>734.18647399999998</c:v>
                </c:pt>
                <c:pt idx="2515">
                  <c:v>734.16151650000006</c:v>
                </c:pt>
                <c:pt idx="2516">
                  <c:v>734.16151650000006</c:v>
                </c:pt>
                <c:pt idx="2517">
                  <c:v>734.16151650000006</c:v>
                </c:pt>
                <c:pt idx="2518">
                  <c:v>734.16151650000006</c:v>
                </c:pt>
                <c:pt idx="2519">
                  <c:v>734.16151650000006</c:v>
                </c:pt>
                <c:pt idx="2520">
                  <c:v>734.16151650000006</c:v>
                </c:pt>
                <c:pt idx="2521">
                  <c:v>734.16151650000006</c:v>
                </c:pt>
                <c:pt idx="2522">
                  <c:v>734.16151650000006</c:v>
                </c:pt>
                <c:pt idx="2523">
                  <c:v>734.16151650000006</c:v>
                </c:pt>
                <c:pt idx="2524">
                  <c:v>734.16151650000006</c:v>
                </c:pt>
                <c:pt idx="2525">
                  <c:v>734.16151650000006</c:v>
                </c:pt>
                <c:pt idx="2526">
                  <c:v>734.16151650000006</c:v>
                </c:pt>
                <c:pt idx="2527">
                  <c:v>734.16151650000006</c:v>
                </c:pt>
                <c:pt idx="2528">
                  <c:v>734.16151650000006</c:v>
                </c:pt>
                <c:pt idx="2529">
                  <c:v>734.16151650000006</c:v>
                </c:pt>
                <c:pt idx="2530">
                  <c:v>734.15332150000006</c:v>
                </c:pt>
                <c:pt idx="2531">
                  <c:v>734.11197400000003</c:v>
                </c:pt>
                <c:pt idx="2532">
                  <c:v>734.11197400000003</c:v>
                </c:pt>
                <c:pt idx="2533">
                  <c:v>734.11197400000003</c:v>
                </c:pt>
                <c:pt idx="2534">
                  <c:v>734.11197400000003</c:v>
                </c:pt>
                <c:pt idx="2535">
                  <c:v>734.11197400000003</c:v>
                </c:pt>
                <c:pt idx="2536">
                  <c:v>734.11197400000003</c:v>
                </c:pt>
                <c:pt idx="2537">
                  <c:v>734.08709099999999</c:v>
                </c:pt>
                <c:pt idx="2538">
                  <c:v>734.08709099999999</c:v>
                </c:pt>
                <c:pt idx="2539">
                  <c:v>734.08709099999999</c:v>
                </c:pt>
                <c:pt idx="2540">
                  <c:v>734.08709099999999</c:v>
                </c:pt>
                <c:pt idx="2541">
                  <c:v>734.08709099999999</c:v>
                </c:pt>
                <c:pt idx="2542">
                  <c:v>734.08709099999999</c:v>
                </c:pt>
                <c:pt idx="2543">
                  <c:v>734.04566899999998</c:v>
                </c:pt>
                <c:pt idx="2544">
                  <c:v>734.03747399999997</c:v>
                </c:pt>
                <c:pt idx="2545">
                  <c:v>734.03747399999997</c:v>
                </c:pt>
                <c:pt idx="2546">
                  <c:v>734.03747399999997</c:v>
                </c:pt>
                <c:pt idx="2547">
                  <c:v>734.03747399999997</c:v>
                </c:pt>
                <c:pt idx="2548">
                  <c:v>734.03747399999997</c:v>
                </c:pt>
                <c:pt idx="2549">
                  <c:v>734.01259100000004</c:v>
                </c:pt>
                <c:pt idx="2550">
                  <c:v>734.01259100000004</c:v>
                </c:pt>
                <c:pt idx="2551">
                  <c:v>734.01259100000004</c:v>
                </c:pt>
                <c:pt idx="2552">
                  <c:v>734.01259100000004</c:v>
                </c:pt>
                <c:pt idx="2553">
                  <c:v>733.96297400000003</c:v>
                </c:pt>
                <c:pt idx="2554">
                  <c:v>733.96297400000003</c:v>
                </c:pt>
                <c:pt idx="2555">
                  <c:v>733.9380165</c:v>
                </c:pt>
                <c:pt idx="2556">
                  <c:v>733.9380165</c:v>
                </c:pt>
                <c:pt idx="2557">
                  <c:v>733.9380165</c:v>
                </c:pt>
                <c:pt idx="2558">
                  <c:v>733.9380165</c:v>
                </c:pt>
                <c:pt idx="2559">
                  <c:v>724.29630099999997</c:v>
                </c:pt>
                <c:pt idx="2560">
                  <c:v>706.97154950000004</c:v>
                </c:pt>
                <c:pt idx="2561">
                  <c:v>692.12034700000004</c:v>
                </c:pt>
                <c:pt idx="2562">
                  <c:v>692.12034700000004</c:v>
                </c:pt>
                <c:pt idx="2563">
                  <c:v>684.88930249999999</c:v>
                </c:pt>
                <c:pt idx="2564">
                  <c:v>681.74942550000003</c:v>
                </c:pt>
                <c:pt idx="2565">
                  <c:v>681.74942550000003</c:v>
                </c:pt>
                <c:pt idx="2566">
                  <c:v>681.74942550000003</c:v>
                </c:pt>
                <c:pt idx="2567">
                  <c:v>681.74942550000003</c:v>
                </c:pt>
                <c:pt idx="2568">
                  <c:v>681.74942550000003</c:v>
                </c:pt>
                <c:pt idx="2569">
                  <c:v>681.74942550000003</c:v>
                </c:pt>
                <c:pt idx="2570">
                  <c:v>681.74942550000003</c:v>
                </c:pt>
                <c:pt idx="2571">
                  <c:v>681.74942550000003</c:v>
                </c:pt>
                <c:pt idx="2572">
                  <c:v>681.74942550000003</c:v>
                </c:pt>
                <c:pt idx="2573">
                  <c:v>681.74942550000003</c:v>
                </c:pt>
                <c:pt idx="2574">
                  <c:v>681.74942550000003</c:v>
                </c:pt>
                <c:pt idx="2575">
                  <c:v>681.74942550000003</c:v>
                </c:pt>
                <c:pt idx="2576">
                  <c:v>681.74942550000003</c:v>
                </c:pt>
                <c:pt idx="2577">
                  <c:v>681.67492549999997</c:v>
                </c:pt>
                <c:pt idx="2578">
                  <c:v>681.67492549999997</c:v>
                </c:pt>
                <c:pt idx="2579">
                  <c:v>681.67492549999997</c:v>
                </c:pt>
                <c:pt idx="2580">
                  <c:v>681.67492549999997</c:v>
                </c:pt>
                <c:pt idx="2581">
                  <c:v>681.67492549999997</c:v>
                </c:pt>
                <c:pt idx="2582">
                  <c:v>681.67492549999997</c:v>
                </c:pt>
                <c:pt idx="2583">
                  <c:v>681.67492549999997</c:v>
                </c:pt>
                <c:pt idx="2584">
                  <c:v>681.60094700000002</c:v>
                </c:pt>
                <c:pt idx="2585">
                  <c:v>681.60050000000001</c:v>
                </c:pt>
                <c:pt idx="2586">
                  <c:v>681.60050000000001</c:v>
                </c:pt>
                <c:pt idx="2587">
                  <c:v>681.60050000000001</c:v>
                </c:pt>
                <c:pt idx="2588">
                  <c:v>681.60050000000001</c:v>
                </c:pt>
                <c:pt idx="2589">
                  <c:v>681.60050000000001</c:v>
                </c:pt>
                <c:pt idx="2590">
                  <c:v>681.60050000000001</c:v>
                </c:pt>
                <c:pt idx="2591">
                  <c:v>681.06454699999995</c:v>
                </c:pt>
                <c:pt idx="2592">
                  <c:v>681.06454699999995</c:v>
                </c:pt>
                <c:pt idx="2593">
                  <c:v>681.06454699999995</c:v>
                </c:pt>
                <c:pt idx="2594">
                  <c:v>675.23417699999993</c:v>
                </c:pt>
                <c:pt idx="2595">
                  <c:v>675.23417699999993</c:v>
                </c:pt>
                <c:pt idx="2596">
                  <c:v>675.23417699999993</c:v>
                </c:pt>
                <c:pt idx="2597">
                  <c:v>675.17830200000003</c:v>
                </c:pt>
                <c:pt idx="2598">
                  <c:v>675.17830200000003</c:v>
                </c:pt>
                <c:pt idx="2599">
                  <c:v>675.17830200000003</c:v>
                </c:pt>
                <c:pt idx="2600">
                  <c:v>675.17830200000003</c:v>
                </c:pt>
                <c:pt idx="2601">
                  <c:v>675.1596770000001</c:v>
                </c:pt>
                <c:pt idx="2602">
                  <c:v>675.1596770000001</c:v>
                </c:pt>
                <c:pt idx="2603">
                  <c:v>675.1596770000001</c:v>
                </c:pt>
                <c:pt idx="2604">
                  <c:v>675.1596770000001</c:v>
                </c:pt>
                <c:pt idx="2605">
                  <c:v>675.1596770000001</c:v>
                </c:pt>
                <c:pt idx="2606">
                  <c:v>675.1596770000001</c:v>
                </c:pt>
                <c:pt idx="2607">
                  <c:v>674.93617700000004</c:v>
                </c:pt>
                <c:pt idx="2608">
                  <c:v>670.42549999999994</c:v>
                </c:pt>
                <c:pt idx="2609">
                  <c:v>669.86675000000002</c:v>
                </c:pt>
                <c:pt idx="2610">
                  <c:v>669.61844150000002</c:v>
                </c:pt>
                <c:pt idx="2611">
                  <c:v>669.54394149999996</c:v>
                </c:pt>
                <c:pt idx="2612">
                  <c:v>669.54394149999996</c:v>
                </c:pt>
                <c:pt idx="2613">
                  <c:v>669.54394149999996</c:v>
                </c:pt>
                <c:pt idx="2614">
                  <c:v>669.54394149999996</c:v>
                </c:pt>
                <c:pt idx="2615">
                  <c:v>669.46936700000003</c:v>
                </c:pt>
                <c:pt idx="2616">
                  <c:v>669.46936700000003</c:v>
                </c:pt>
                <c:pt idx="2617">
                  <c:v>669.46936700000003</c:v>
                </c:pt>
                <c:pt idx="2618">
                  <c:v>669.46936700000003</c:v>
                </c:pt>
                <c:pt idx="2619">
                  <c:v>669.46936700000003</c:v>
                </c:pt>
                <c:pt idx="2620">
                  <c:v>669.46936700000003</c:v>
                </c:pt>
                <c:pt idx="2621">
                  <c:v>668.82918849999999</c:v>
                </c:pt>
                <c:pt idx="2622">
                  <c:v>668.68026300000008</c:v>
                </c:pt>
                <c:pt idx="2623">
                  <c:v>668.68026300000008</c:v>
                </c:pt>
                <c:pt idx="2624">
                  <c:v>668.68026300000008</c:v>
                </c:pt>
                <c:pt idx="2625">
                  <c:v>666.96765700000003</c:v>
                </c:pt>
                <c:pt idx="2626">
                  <c:v>666.57608499999992</c:v>
                </c:pt>
                <c:pt idx="2627">
                  <c:v>666.42708500000003</c:v>
                </c:pt>
                <c:pt idx="2628">
                  <c:v>666.35265949999996</c:v>
                </c:pt>
                <c:pt idx="2629">
                  <c:v>661.59471700000006</c:v>
                </c:pt>
                <c:pt idx="2630">
                  <c:v>661.59471700000006</c:v>
                </c:pt>
                <c:pt idx="2631">
                  <c:v>661.59471700000006</c:v>
                </c:pt>
                <c:pt idx="2632">
                  <c:v>661.16261700000007</c:v>
                </c:pt>
                <c:pt idx="2633">
                  <c:v>661.13281700000005</c:v>
                </c:pt>
                <c:pt idx="2634">
                  <c:v>661.09556700000007</c:v>
                </c:pt>
                <c:pt idx="2635">
                  <c:v>661.08811700000001</c:v>
                </c:pt>
                <c:pt idx="2636">
                  <c:v>661.073217</c:v>
                </c:pt>
                <c:pt idx="2637">
                  <c:v>661.03604150000001</c:v>
                </c:pt>
                <c:pt idx="2638">
                  <c:v>661.02106700000002</c:v>
                </c:pt>
                <c:pt idx="2639">
                  <c:v>661.01361699999995</c:v>
                </c:pt>
                <c:pt idx="2640">
                  <c:v>661.01361699999995</c:v>
                </c:pt>
                <c:pt idx="2641">
                  <c:v>661.01361699999995</c:v>
                </c:pt>
                <c:pt idx="2642">
                  <c:v>661.01361699999995</c:v>
                </c:pt>
                <c:pt idx="2643">
                  <c:v>661.01361699999995</c:v>
                </c:pt>
                <c:pt idx="2644">
                  <c:v>661.01361699999995</c:v>
                </c:pt>
                <c:pt idx="2645">
                  <c:v>661.01361699999995</c:v>
                </c:pt>
                <c:pt idx="2646">
                  <c:v>661.01361699999995</c:v>
                </c:pt>
                <c:pt idx="2647">
                  <c:v>661.00609250000002</c:v>
                </c:pt>
                <c:pt idx="2648">
                  <c:v>660.98381700000004</c:v>
                </c:pt>
                <c:pt idx="2649">
                  <c:v>660.98381700000004</c:v>
                </c:pt>
                <c:pt idx="2650">
                  <c:v>660.98381700000004</c:v>
                </c:pt>
                <c:pt idx="2651">
                  <c:v>660.98381700000004</c:v>
                </c:pt>
                <c:pt idx="2652">
                  <c:v>660.94656699999996</c:v>
                </c:pt>
                <c:pt idx="2653">
                  <c:v>660.94656699999996</c:v>
                </c:pt>
                <c:pt idx="2654">
                  <c:v>660.94656699999996</c:v>
                </c:pt>
                <c:pt idx="2655">
                  <c:v>660.93166700000006</c:v>
                </c:pt>
                <c:pt idx="2656">
                  <c:v>660.89464050000004</c:v>
                </c:pt>
                <c:pt idx="2657">
                  <c:v>660.89464050000004</c:v>
                </c:pt>
                <c:pt idx="2658">
                  <c:v>660.89464050000004</c:v>
                </c:pt>
                <c:pt idx="2659">
                  <c:v>660.87951699999996</c:v>
                </c:pt>
                <c:pt idx="2660">
                  <c:v>660.87206700000002</c:v>
                </c:pt>
                <c:pt idx="2661">
                  <c:v>660.87206700000002</c:v>
                </c:pt>
                <c:pt idx="2662">
                  <c:v>660.87206700000002</c:v>
                </c:pt>
                <c:pt idx="2663">
                  <c:v>660.87206700000002</c:v>
                </c:pt>
                <c:pt idx="2664">
                  <c:v>660.87206700000002</c:v>
                </c:pt>
                <c:pt idx="2665">
                  <c:v>660.83481699999993</c:v>
                </c:pt>
                <c:pt idx="2666">
                  <c:v>660.83481699999993</c:v>
                </c:pt>
                <c:pt idx="2667">
                  <c:v>660.83481699999993</c:v>
                </c:pt>
                <c:pt idx="2668">
                  <c:v>660.83481699999993</c:v>
                </c:pt>
                <c:pt idx="2669">
                  <c:v>660.83481699999993</c:v>
                </c:pt>
                <c:pt idx="2670">
                  <c:v>660.73796700000003</c:v>
                </c:pt>
                <c:pt idx="2671">
                  <c:v>660.64856700000007</c:v>
                </c:pt>
                <c:pt idx="2672">
                  <c:v>660.64856700000007</c:v>
                </c:pt>
                <c:pt idx="2673">
                  <c:v>660.64856700000007</c:v>
                </c:pt>
                <c:pt idx="2674">
                  <c:v>660.49956700000007</c:v>
                </c:pt>
                <c:pt idx="2675">
                  <c:v>660.36502000000007</c:v>
                </c:pt>
                <c:pt idx="2676">
                  <c:v>658.69517699999994</c:v>
                </c:pt>
                <c:pt idx="2677">
                  <c:v>649.19985399999996</c:v>
                </c:pt>
                <c:pt idx="2678">
                  <c:v>644.39438050000001</c:v>
                </c:pt>
                <c:pt idx="2679">
                  <c:v>641.72646100000009</c:v>
                </c:pt>
                <c:pt idx="2680">
                  <c:v>641.72646100000009</c:v>
                </c:pt>
                <c:pt idx="2681">
                  <c:v>641.72646100000009</c:v>
                </c:pt>
                <c:pt idx="2682">
                  <c:v>641.65196100000003</c:v>
                </c:pt>
                <c:pt idx="2683">
                  <c:v>641.55883600000004</c:v>
                </c:pt>
                <c:pt idx="2684">
                  <c:v>641.52158600000007</c:v>
                </c:pt>
                <c:pt idx="2685">
                  <c:v>641.48433599999998</c:v>
                </c:pt>
                <c:pt idx="2686">
                  <c:v>641.48433599999998</c:v>
                </c:pt>
                <c:pt idx="2687">
                  <c:v>641.48433599999998</c:v>
                </c:pt>
                <c:pt idx="2688">
                  <c:v>641.44701150000003</c:v>
                </c:pt>
                <c:pt idx="2689">
                  <c:v>639.79624050000007</c:v>
                </c:pt>
                <c:pt idx="2690">
                  <c:v>639.72174050000001</c:v>
                </c:pt>
                <c:pt idx="2691">
                  <c:v>639.72174050000001</c:v>
                </c:pt>
                <c:pt idx="2692">
                  <c:v>639.70319000000006</c:v>
                </c:pt>
                <c:pt idx="2693">
                  <c:v>639.68449050000004</c:v>
                </c:pt>
                <c:pt idx="2694">
                  <c:v>639.68449050000004</c:v>
                </c:pt>
                <c:pt idx="2695">
                  <c:v>639.68449050000004</c:v>
                </c:pt>
                <c:pt idx="2696">
                  <c:v>639.53549049999992</c:v>
                </c:pt>
                <c:pt idx="2697">
                  <c:v>639.38649050000004</c:v>
                </c:pt>
                <c:pt idx="2698">
                  <c:v>639.38649050000004</c:v>
                </c:pt>
                <c:pt idx="2699">
                  <c:v>638.37992100000008</c:v>
                </c:pt>
                <c:pt idx="2700">
                  <c:v>638.37992100000008</c:v>
                </c:pt>
                <c:pt idx="2701">
                  <c:v>638.37992100000008</c:v>
                </c:pt>
                <c:pt idx="2702">
                  <c:v>638.37992100000008</c:v>
                </c:pt>
                <c:pt idx="2703">
                  <c:v>638.37992100000008</c:v>
                </c:pt>
                <c:pt idx="2704">
                  <c:v>638.37992100000008</c:v>
                </c:pt>
                <c:pt idx="2705">
                  <c:v>638.37992100000008</c:v>
                </c:pt>
                <c:pt idx="2706">
                  <c:v>638.37992100000008</c:v>
                </c:pt>
                <c:pt idx="2707">
                  <c:v>638.37992100000008</c:v>
                </c:pt>
                <c:pt idx="2708">
                  <c:v>638.37992100000008</c:v>
                </c:pt>
                <c:pt idx="2709">
                  <c:v>638.37992100000008</c:v>
                </c:pt>
                <c:pt idx="2710">
                  <c:v>638.37992100000008</c:v>
                </c:pt>
                <c:pt idx="2711">
                  <c:v>638.37992100000008</c:v>
                </c:pt>
                <c:pt idx="2712">
                  <c:v>638.37992100000008</c:v>
                </c:pt>
                <c:pt idx="2713">
                  <c:v>638.37992100000008</c:v>
                </c:pt>
                <c:pt idx="2714">
                  <c:v>638.37992100000008</c:v>
                </c:pt>
                <c:pt idx="2715">
                  <c:v>638.37992100000008</c:v>
                </c:pt>
                <c:pt idx="2716">
                  <c:v>638.30534649999993</c:v>
                </c:pt>
                <c:pt idx="2717">
                  <c:v>629.63190750000001</c:v>
                </c:pt>
                <c:pt idx="2718">
                  <c:v>629.4270325</c:v>
                </c:pt>
                <c:pt idx="2719">
                  <c:v>627.9215365</c:v>
                </c:pt>
                <c:pt idx="2720">
                  <c:v>622.89531950000003</c:v>
                </c:pt>
                <c:pt idx="2721">
                  <c:v>622.87662</c:v>
                </c:pt>
                <c:pt idx="2722">
                  <c:v>622.83944450000001</c:v>
                </c:pt>
                <c:pt idx="2723">
                  <c:v>622.83944450000001</c:v>
                </c:pt>
                <c:pt idx="2724">
                  <c:v>622.83944450000001</c:v>
                </c:pt>
                <c:pt idx="2725">
                  <c:v>622.82081949999997</c:v>
                </c:pt>
                <c:pt idx="2726">
                  <c:v>622.82081949999997</c:v>
                </c:pt>
                <c:pt idx="2727">
                  <c:v>622.82081949999997</c:v>
                </c:pt>
                <c:pt idx="2728">
                  <c:v>622.82081949999997</c:v>
                </c:pt>
                <c:pt idx="2729">
                  <c:v>622.82081949999997</c:v>
                </c:pt>
                <c:pt idx="2730">
                  <c:v>622.76494449999996</c:v>
                </c:pt>
                <c:pt idx="2731">
                  <c:v>622.74624500000004</c:v>
                </c:pt>
                <c:pt idx="2732">
                  <c:v>622.74624500000004</c:v>
                </c:pt>
                <c:pt idx="2733">
                  <c:v>622.74624500000004</c:v>
                </c:pt>
                <c:pt idx="2734">
                  <c:v>622.74624500000004</c:v>
                </c:pt>
                <c:pt idx="2735">
                  <c:v>622.74624500000004</c:v>
                </c:pt>
                <c:pt idx="2736">
                  <c:v>622.74624500000004</c:v>
                </c:pt>
                <c:pt idx="2737">
                  <c:v>622.74624500000004</c:v>
                </c:pt>
                <c:pt idx="2738">
                  <c:v>622.69037000000003</c:v>
                </c:pt>
                <c:pt idx="2739">
                  <c:v>622.69037000000003</c:v>
                </c:pt>
                <c:pt idx="2740">
                  <c:v>618.72249999999997</c:v>
                </c:pt>
                <c:pt idx="2741">
                  <c:v>618.70387500000004</c:v>
                </c:pt>
                <c:pt idx="2742">
                  <c:v>618.70387500000004</c:v>
                </c:pt>
                <c:pt idx="2743">
                  <c:v>618.62937499999998</c:v>
                </c:pt>
                <c:pt idx="2744">
                  <c:v>618.62937499999998</c:v>
                </c:pt>
                <c:pt idx="2745">
                  <c:v>618.62937499999998</c:v>
                </c:pt>
                <c:pt idx="2746">
                  <c:v>618.62937499999998</c:v>
                </c:pt>
                <c:pt idx="2747">
                  <c:v>618.59212500000001</c:v>
                </c:pt>
                <c:pt idx="2748">
                  <c:v>618.49900000000002</c:v>
                </c:pt>
                <c:pt idx="2749">
                  <c:v>618.44312500000001</c:v>
                </c:pt>
                <c:pt idx="2750">
                  <c:v>618.44312500000001</c:v>
                </c:pt>
                <c:pt idx="2751">
                  <c:v>618.42889549999995</c:v>
                </c:pt>
                <c:pt idx="2752">
                  <c:v>618.42889549999995</c:v>
                </c:pt>
                <c:pt idx="2753">
                  <c:v>618.42450000000008</c:v>
                </c:pt>
                <c:pt idx="2754">
                  <c:v>618.42450000000008</c:v>
                </c:pt>
                <c:pt idx="2755">
                  <c:v>618.42450000000008</c:v>
                </c:pt>
                <c:pt idx="2756">
                  <c:v>618.42450000000008</c:v>
                </c:pt>
                <c:pt idx="2757">
                  <c:v>618.42450000000008</c:v>
                </c:pt>
                <c:pt idx="2758">
                  <c:v>618.42450000000008</c:v>
                </c:pt>
                <c:pt idx="2759">
                  <c:v>618.42450000000008</c:v>
                </c:pt>
                <c:pt idx="2760">
                  <c:v>618.40587499999992</c:v>
                </c:pt>
                <c:pt idx="2761">
                  <c:v>618.40587499999992</c:v>
                </c:pt>
                <c:pt idx="2762">
                  <c:v>618.40587499999992</c:v>
                </c:pt>
                <c:pt idx="2763">
                  <c:v>618.40587499999992</c:v>
                </c:pt>
                <c:pt idx="2764">
                  <c:v>618.40587499999992</c:v>
                </c:pt>
                <c:pt idx="2765">
                  <c:v>618.40587499999992</c:v>
                </c:pt>
                <c:pt idx="2766">
                  <c:v>618.36862499999995</c:v>
                </c:pt>
                <c:pt idx="2767">
                  <c:v>618.27549999999997</c:v>
                </c:pt>
                <c:pt idx="2768">
                  <c:v>618.18237500000009</c:v>
                </c:pt>
                <c:pt idx="2769">
                  <c:v>616.683584</c:v>
                </c:pt>
                <c:pt idx="2770">
                  <c:v>616.683584</c:v>
                </c:pt>
                <c:pt idx="2771">
                  <c:v>616.683584</c:v>
                </c:pt>
                <c:pt idx="2772">
                  <c:v>616.683584</c:v>
                </c:pt>
                <c:pt idx="2773">
                  <c:v>616.683584</c:v>
                </c:pt>
                <c:pt idx="2774">
                  <c:v>616.64618499999995</c:v>
                </c:pt>
                <c:pt idx="2775">
                  <c:v>616.57183399999997</c:v>
                </c:pt>
                <c:pt idx="2776">
                  <c:v>616.57183399999997</c:v>
                </c:pt>
                <c:pt idx="2777">
                  <c:v>616.46000949999996</c:v>
                </c:pt>
                <c:pt idx="2778">
                  <c:v>614.42012499999998</c:v>
                </c:pt>
                <c:pt idx="2779">
                  <c:v>613.50749999999994</c:v>
                </c:pt>
                <c:pt idx="2780">
                  <c:v>612.18624250000005</c:v>
                </c:pt>
                <c:pt idx="2781">
                  <c:v>612.09311750000006</c:v>
                </c:pt>
                <c:pt idx="2782">
                  <c:v>612.09311750000006</c:v>
                </c:pt>
                <c:pt idx="2783">
                  <c:v>612.09311750000006</c:v>
                </c:pt>
                <c:pt idx="2784">
                  <c:v>612.09311750000006</c:v>
                </c:pt>
                <c:pt idx="2785">
                  <c:v>612.02480100000002</c:v>
                </c:pt>
                <c:pt idx="2786">
                  <c:v>611.81374249999999</c:v>
                </c:pt>
                <c:pt idx="2787">
                  <c:v>611.68336750000003</c:v>
                </c:pt>
                <c:pt idx="2788">
                  <c:v>611.68336750000003</c:v>
                </c:pt>
                <c:pt idx="2789">
                  <c:v>611.60886750000009</c:v>
                </c:pt>
                <c:pt idx="2790">
                  <c:v>611.60886750000009</c:v>
                </c:pt>
                <c:pt idx="2791">
                  <c:v>610.08705599999996</c:v>
                </c:pt>
                <c:pt idx="2792">
                  <c:v>610.08705599999996</c:v>
                </c:pt>
                <c:pt idx="2793">
                  <c:v>609.9841715</c:v>
                </c:pt>
                <c:pt idx="2794">
                  <c:v>609.9008060000001</c:v>
                </c:pt>
                <c:pt idx="2795">
                  <c:v>609.82630600000005</c:v>
                </c:pt>
                <c:pt idx="2796">
                  <c:v>609.75188049999997</c:v>
                </c:pt>
                <c:pt idx="2797">
                  <c:v>607.48328100000003</c:v>
                </c:pt>
                <c:pt idx="2798">
                  <c:v>607.47240399999998</c:v>
                </c:pt>
                <c:pt idx="2799">
                  <c:v>602.78322500000002</c:v>
                </c:pt>
                <c:pt idx="2800">
                  <c:v>602.44797500000004</c:v>
                </c:pt>
                <c:pt idx="2801">
                  <c:v>601.94711150000001</c:v>
                </c:pt>
                <c:pt idx="2802">
                  <c:v>601.94711150000001</c:v>
                </c:pt>
                <c:pt idx="2803">
                  <c:v>601.49273600000004</c:v>
                </c:pt>
                <c:pt idx="2804">
                  <c:v>600.34610650000002</c:v>
                </c:pt>
                <c:pt idx="2805">
                  <c:v>598.31337399999995</c:v>
                </c:pt>
                <c:pt idx="2806">
                  <c:v>598.16444850000005</c:v>
                </c:pt>
                <c:pt idx="2807">
                  <c:v>598.16444850000005</c:v>
                </c:pt>
                <c:pt idx="2808">
                  <c:v>598.16444850000005</c:v>
                </c:pt>
                <c:pt idx="2809">
                  <c:v>598.16444850000005</c:v>
                </c:pt>
                <c:pt idx="2810">
                  <c:v>598.16444850000005</c:v>
                </c:pt>
                <c:pt idx="2811">
                  <c:v>598.01537400000007</c:v>
                </c:pt>
                <c:pt idx="2812">
                  <c:v>595.43521550000003</c:v>
                </c:pt>
                <c:pt idx="2813">
                  <c:v>589.12439500000005</c:v>
                </c:pt>
                <c:pt idx="2814">
                  <c:v>589.12439500000005</c:v>
                </c:pt>
                <c:pt idx="2815">
                  <c:v>589.12439500000005</c:v>
                </c:pt>
                <c:pt idx="2816">
                  <c:v>589.06851999999992</c:v>
                </c:pt>
                <c:pt idx="2817">
                  <c:v>588.9939455</c:v>
                </c:pt>
                <c:pt idx="2818">
                  <c:v>588.9939455</c:v>
                </c:pt>
                <c:pt idx="2819">
                  <c:v>588.9939455</c:v>
                </c:pt>
                <c:pt idx="2820">
                  <c:v>588.84494549999999</c:v>
                </c:pt>
                <c:pt idx="2821">
                  <c:v>584.27988349999998</c:v>
                </c:pt>
                <c:pt idx="2822">
                  <c:v>584.00982099999999</c:v>
                </c:pt>
                <c:pt idx="2823">
                  <c:v>584.00982099999999</c:v>
                </c:pt>
                <c:pt idx="2824">
                  <c:v>584.00982099999999</c:v>
                </c:pt>
                <c:pt idx="2825">
                  <c:v>584.00982099999999</c:v>
                </c:pt>
                <c:pt idx="2826">
                  <c:v>573.61312250000003</c:v>
                </c:pt>
                <c:pt idx="2827">
                  <c:v>570.48077000000001</c:v>
                </c:pt>
                <c:pt idx="2828">
                  <c:v>570.48077000000001</c:v>
                </c:pt>
                <c:pt idx="2829">
                  <c:v>570.48077000000001</c:v>
                </c:pt>
                <c:pt idx="2830">
                  <c:v>570.48077000000001</c:v>
                </c:pt>
                <c:pt idx="2831">
                  <c:v>570.4437435000001</c:v>
                </c:pt>
                <c:pt idx="2832">
                  <c:v>570.33177000000001</c:v>
                </c:pt>
                <c:pt idx="2833">
                  <c:v>570.33177000000001</c:v>
                </c:pt>
                <c:pt idx="2834">
                  <c:v>570.33177000000001</c:v>
                </c:pt>
                <c:pt idx="2835">
                  <c:v>570.33177000000001</c:v>
                </c:pt>
                <c:pt idx="2836">
                  <c:v>570.33177000000001</c:v>
                </c:pt>
                <c:pt idx="2837">
                  <c:v>570.33177000000001</c:v>
                </c:pt>
                <c:pt idx="2838">
                  <c:v>570.33177000000001</c:v>
                </c:pt>
                <c:pt idx="2839">
                  <c:v>570.33177000000001</c:v>
                </c:pt>
                <c:pt idx="2840">
                  <c:v>570.33177000000001</c:v>
                </c:pt>
                <c:pt idx="2841">
                  <c:v>570.33177000000001</c:v>
                </c:pt>
                <c:pt idx="2842">
                  <c:v>570.33177000000001</c:v>
                </c:pt>
                <c:pt idx="2843">
                  <c:v>570.33177000000001</c:v>
                </c:pt>
                <c:pt idx="2844">
                  <c:v>570.33177000000001</c:v>
                </c:pt>
                <c:pt idx="2845">
                  <c:v>570.33177000000001</c:v>
                </c:pt>
                <c:pt idx="2846">
                  <c:v>570.25727000000006</c:v>
                </c:pt>
                <c:pt idx="2847">
                  <c:v>570.25727000000006</c:v>
                </c:pt>
                <c:pt idx="2848">
                  <c:v>570.18284449999999</c:v>
                </c:pt>
                <c:pt idx="2849">
                  <c:v>570.18284449999999</c:v>
                </c:pt>
                <c:pt idx="2850">
                  <c:v>570.18284449999999</c:v>
                </c:pt>
                <c:pt idx="2851">
                  <c:v>570.18284449999999</c:v>
                </c:pt>
                <c:pt idx="2852">
                  <c:v>561.73</c:v>
                </c:pt>
                <c:pt idx="2853">
                  <c:v>561.73</c:v>
                </c:pt>
                <c:pt idx="2854">
                  <c:v>561.73</c:v>
                </c:pt>
                <c:pt idx="2855">
                  <c:v>561.58118625000009</c:v>
                </c:pt>
                <c:pt idx="2856">
                  <c:v>561.58100000000002</c:v>
                </c:pt>
                <c:pt idx="2857">
                  <c:v>561.58100000000002</c:v>
                </c:pt>
                <c:pt idx="2858">
                  <c:v>561.58100000000002</c:v>
                </c:pt>
                <c:pt idx="2859">
                  <c:v>561.58100000000002</c:v>
                </c:pt>
                <c:pt idx="2860">
                  <c:v>561.58100000000002</c:v>
                </c:pt>
                <c:pt idx="2861">
                  <c:v>561.58100000000002</c:v>
                </c:pt>
                <c:pt idx="2862">
                  <c:v>558.03606649999995</c:v>
                </c:pt>
                <c:pt idx="2863">
                  <c:v>556.72754850000001</c:v>
                </c:pt>
                <c:pt idx="2864">
                  <c:v>556.72754850000001</c:v>
                </c:pt>
                <c:pt idx="2865">
                  <c:v>556.72754850000001</c:v>
                </c:pt>
                <c:pt idx="2866">
                  <c:v>556.65304850000007</c:v>
                </c:pt>
                <c:pt idx="2867">
                  <c:v>556.58599850000007</c:v>
                </c:pt>
                <c:pt idx="2868">
                  <c:v>556.57854850000001</c:v>
                </c:pt>
                <c:pt idx="2869">
                  <c:v>556.57854850000001</c:v>
                </c:pt>
                <c:pt idx="2870">
                  <c:v>556.57854850000001</c:v>
                </c:pt>
                <c:pt idx="2871">
                  <c:v>556.20992249999995</c:v>
                </c:pt>
                <c:pt idx="2872">
                  <c:v>556.20992249999995</c:v>
                </c:pt>
                <c:pt idx="2873">
                  <c:v>556.1354225</c:v>
                </c:pt>
                <c:pt idx="2874">
                  <c:v>556.06092249999995</c:v>
                </c:pt>
                <c:pt idx="2875">
                  <c:v>556.06092249999995</c:v>
                </c:pt>
                <c:pt idx="2876">
                  <c:v>556.06092249999995</c:v>
                </c:pt>
                <c:pt idx="2877">
                  <c:v>556.06092249999995</c:v>
                </c:pt>
                <c:pt idx="2878">
                  <c:v>556.06092249999995</c:v>
                </c:pt>
                <c:pt idx="2879">
                  <c:v>556.06092249999995</c:v>
                </c:pt>
                <c:pt idx="2880">
                  <c:v>556.06092249999995</c:v>
                </c:pt>
                <c:pt idx="2881">
                  <c:v>556.06092249999995</c:v>
                </c:pt>
                <c:pt idx="2882">
                  <c:v>556.06092249999995</c:v>
                </c:pt>
                <c:pt idx="2883">
                  <c:v>556.06092249999995</c:v>
                </c:pt>
                <c:pt idx="2884">
                  <c:v>555.98642250000012</c:v>
                </c:pt>
                <c:pt idx="2885">
                  <c:v>555.98642250000012</c:v>
                </c:pt>
                <c:pt idx="2886">
                  <c:v>555.98637035000002</c:v>
                </c:pt>
                <c:pt idx="2887">
                  <c:v>555.98637035000002</c:v>
                </c:pt>
                <c:pt idx="2888">
                  <c:v>555.98636290000002</c:v>
                </c:pt>
                <c:pt idx="2889">
                  <c:v>555.8374225</c:v>
                </c:pt>
                <c:pt idx="2890">
                  <c:v>555.8374225</c:v>
                </c:pt>
                <c:pt idx="2891">
                  <c:v>555.8374225</c:v>
                </c:pt>
                <c:pt idx="2892">
                  <c:v>555.8374225</c:v>
                </c:pt>
                <c:pt idx="2893">
                  <c:v>555.8374225</c:v>
                </c:pt>
                <c:pt idx="2894">
                  <c:v>555.38401550000003</c:v>
                </c:pt>
                <c:pt idx="2895">
                  <c:v>551.12403100000006</c:v>
                </c:pt>
                <c:pt idx="2896">
                  <c:v>551.09058049999999</c:v>
                </c:pt>
                <c:pt idx="2897">
                  <c:v>551.08678099999997</c:v>
                </c:pt>
                <c:pt idx="2898">
                  <c:v>551.08678099999997</c:v>
                </c:pt>
                <c:pt idx="2899">
                  <c:v>551.08678099999997</c:v>
                </c:pt>
                <c:pt idx="2900">
                  <c:v>551.08678099999997</c:v>
                </c:pt>
                <c:pt idx="2901">
                  <c:v>551.08678099999997</c:v>
                </c:pt>
                <c:pt idx="2902">
                  <c:v>551.06815600000004</c:v>
                </c:pt>
                <c:pt idx="2903">
                  <c:v>551.06815600000004</c:v>
                </c:pt>
                <c:pt idx="2904">
                  <c:v>551.049531</c:v>
                </c:pt>
                <c:pt idx="2905">
                  <c:v>551.049531</c:v>
                </c:pt>
                <c:pt idx="2906">
                  <c:v>551.03090600000007</c:v>
                </c:pt>
                <c:pt idx="2907">
                  <c:v>551.03090600000007</c:v>
                </c:pt>
                <c:pt idx="2908">
                  <c:v>551.03090600000007</c:v>
                </c:pt>
                <c:pt idx="2909">
                  <c:v>551.03090600000007</c:v>
                </c:pt>
                <c:pt idx="2910">
                  <c:v>551.03090600000007</c:v>
                </c:pt>
                <c:pt idx="2911">
                  <c:v>551.03090600000007</c:v>
                </c:pt>
                <c:pt idx="2912">
                  <c:v>551.03090600000007</c:v>
                </c:pt>
                <c:pt idx="2913">
                  <c:v>551.03090600000007</c:v>
                </c:pt>
                <c:pt idx="2914">
                  <c:v>551.01228100000003</c:v>
                </c:pt>
                <c:pt idx="2915">
                  <c:v>551.01228100000003</c:v>
                </c:pt>
                <c:pt idx="2916">
                  <c:v>550.99373049999997</c:v>
                </c:pt>
                <c:pt idx="2917">
                  <c:v>550.99373049999997</c:v>
                </c:pt>
                <c:pt idx="2918">
                  <c:v>550.97503099999994</c:v>
                </c:pt>
                <c:pt idx="2919">
                  <c:v>550.97503099999994</c:v>
                </c:pt>
                <c:pt idx="2920">
                  <c:v>550.97503099999994</c:v>
                </c:pt>
                <c:pt idx="2921">
                  <c:v>550.97503099999994</c:v>
                </c:pt>
                <c:pt idx="2922">
                  <c:v>550.97503099999994</c:v>
                </c:pt>
                <c:pt idx="2923">
                  <c:v>550.97503099999994</c:v>
                </c:pt>
                <c:pt idx="2924">
                  <c:v>550.97503099999994</c:v>
                </c:pt>
                <c:pt idx="2925">
                  <c:v>550.97503099999994</c:v>
                </c:pt>
                <c:pt idx="2926">
                  <c:v>550.97503099999994</c:v>
                </c:pt>
                <c:pt idx="2927">
                  <c:v>550.97503099999994</c:v>
                </c:pt>
                <c:pt idx="2928">
                  <c:v>550.97503099999994</c:v>
                </c:pt>
                <c:pt idx="2929">
                  <c:v>550.95640600000002</c:v>
                </c:pt>
                <c:pt idx="2930">
                  <c:v>550.95640600000002</c:v>
                </c:pt>
                <c:pt idx="2931">
                  <c:v>550.95640600000002</c:v>
                </c:pt>
                <c:pt idx="2932">
                  <c:v>550.95640600000002</c:v>
                </c:pt>
                <c:pt idx="2933">
                  <c:v>550.95640600000002</c:v>
                </c:pt>
                <c:pt idx="2934">
                  <c:v>550.95640600000002</c:v>
                </c:pt>
                <c:pt idx="2935">
                  <c:v>550.95639110000002</c:v>
                </c:pt>
                <c:pt idx="2936">
                  <c:v>550.93785550000007</c:v>
                </c:pt>
                <c:pt idx="2937">
                  <c:v>550.91915600000004</c:v>
                </c:pt>
                <c:pt idx="2938">
                  <c:v>550.91915600000004</c:v>
                </c:pt>
                <c:pt idx="2939">
                  <c:v>550.900531</c:v>
                </c:pt>
                <c:pt idx="2940">
                  <c:v>550.900531</c:v>
                </c:pt>
                <c:pt idx="2941">
                  <c:v>550.900531</c:v>
                </c:pt>
                <c:pt idx="2942">
                  <c:v>550.900531</c:v>
                </c:pt>
                <c:pt idx="2943">
                  <c:v>550.900531</c:v>
                </c:pt>
                <c:pt idx="2944">
                  <c:v>550.900531</c:v>
                </c:pt>
                <c:pt idx="2945">
                  <c:v>550.900531</c:v>
                </c:pt>
                <c:pt idx="2946">
                  <c:v>550.900531</c:v>
                </c:pt>
                <c:pt idx="2947">
                  <c:v>550.900531</c:v>
                </c:pt>
                <c:pt idx="2948">
                  <c:v>550.88198049999994</c:v>
                </c:pt>
                <c:pt idx="2949">
                  <c:v>550.88198049999994</c:v>
                </c:pt>
                <c:pt idx="2950">
                  <c:v>550.88198049999994</c:v>
                </c:pt>
                <c:pt idx="2951">
                  <c:v>550.88198049999994</c:v>
                </c:pt>
                <c:pt idx="2952">
                  <c:v>550.88198049999994</c:v>
                </c:pt>
                <c:pt idx="2953">
                  <c:v>550.88198049999994</c:v>
                </c:pt>
                <c:pt idx="2954">
                  <c:v>550.88198049999994</c:v>
                </c:pt>
                <c:pt idx="2955">
                  <c:v>550.88198049999994</c:v>
                </c:pt>
                <c:pt idx="2956">
                  <c:v>550.88198049999994</c:v>
                </c:pt>
                <c:pt idx="2957">
                  <c:v>550.88198049999994</c:v>
                </c:pt>
                <c:pt idx="2958">
                  <c:v>550.86328100000003</c:v>
                </c:pt>
                <c:pt idx="2959">
                  <c:v>550.86328100000003</c:v>
                </c:pt>
                <c:pt idx="2960">
                  <c:v>550.86328100000003</c:v>
                </c:pt>
                <c:pt idx="2961">
                  <c:v>550.86328100000003</c:v>
                </c:pt>
                <c:pt idx="2962">
                  <c:v>550.86328100000003</c:v>
                </c:pt>
                <c:pt idx="2963">
                  <c:v>550.85709750000001</c:v>
                </c:pt>
                <c:pt idx="2964">
                  <c:v>550.84465599999999</c:v>
                </c:pt>
                <c:pt idx="2965">
                  <c:v>550.84465599999999</c:v>
                </c:pt>
                <c:pt idx="2966">
                  <c:v>550.84465599999999</c:v>
                </c:pt>
                <c:pt idx="2967">
                  <c:v>550.84465599999999</c:v>
                </c:pt>
                <c:pt idx="2968">
                  <c:v>550.84465599999999</c:v>
                </c:pt>
                <c:pt idx="2969">
                  <c:v>550.84465599999999</c:v>
                </c:pt>
                <c:pt idx="2970">
                  <c:v>550.84465599999999</c:v>
                </c:pt>
                <c:pt idx="2971">
                  <c:v>550.84465599999999</c:v>
                </c:pt>
                <c:pt idx="2972">
                  <c:v>550.84465599999999</c:v>
                </c:pt>
                <c:pt idx="2973">
                  <c:v>550.82603100000006</c:v>
                </c:pt>
                <c:pt idx="2974">
                  <c:v>550.82603100000006</c:v>
                </c:pt>
                <c:pt idx="2975">
                  <c:v>550.82603100000006</c:v>
                </c:pt>
                <c:pt idx="2976">
                  <c:v>550.82603100000006</c:v>
                </c:pt>
                <c:pt idx="2977">
                  <c:v>550.82603100000006</c:v>
                </c:pt>
                <c:pt idx="2978">
                  <c:v>550.82603100000006</c:v>
                </c:pt>
                <c:pt idx="2979">
                  <c:v>550.82603100000006</c:v>
                </c:pt>
                <c:pt idx="2980">
                  <c:v>550.82603100000006</c:v>
                </c:pt>
                <c:pt idx="2981">
                  <c:v>550.82603100000006</c:v>
                </c:pt>
                <c:pt idx="2982">
                  <c:v>550.82603100000006</c:v>
                </c:pt>
                <c:pt idx="2983">
                  <c:v>550.82603100000006</c:v>
                </c:pt>
                <c:pt idx="2984">
                  <c:v>550.82603100000006</c:v>
                </c:pt>
                <c:pt idx="2985">
                  <c:v>550.82603100000006</c:v>
                </c:pt>
                <c:pt idx="2986">
                  <c:v>550.82603100000006</c:v>
                </c:pt>
                <c:pt idx="2987">
                  <c:v>550.82603100000006</c:v>
                </c:pt>
                <c:pt idx="2988">
                  <c:v>550.82603100000006</c:v>
                </c:pt>
                <c:pt idx="2989">
                  <c:v>550.82603100000006</c:v>
                </c:pt>
                <c:pt idx="2990">
                  <c:v>550.82603100000006</c:v>
                </c:pt>
                <c:pt idx="2991">
                  <c:v>550.82603100000006</c:v>
                </c:pt>
                <c:pt idx="2992">
                  <c:v>550.82603100000006</c:v>
                </c:pt>
                <c:pt idx="2993">
                  <c:v>550.82603100000006</c:v>
                </c:pt>
                <c:pt idx="2994">
                  <c:v>550.82603100000006</c:v>
                </c:pt>
                <c:pt idx="2995">
                  <c:v>550.82603100000006</c:v>
                </c:pt>
                <c:pt idx="2996">
                  <c:v>550.82603100000006</c:v>
                </c:pt>
                <c:pt idx="2997">
                  <c:v>550.80740600000001</c:v>
                </c:pt>
                <c:pt idx="2998">
                  <c:v>550.80740600000001</c:v>
                </c:pt>
                <c:pt idx="2999">
                  <c:v>550.80740600000001</c:v>
                </c:pt>
                <c:pt idx="3000">
                  <c:v>550.78878100000009</c:v>
                </c:pt>
                <c:pt idx="3001">
                  <c:v>550.78878100000009</c:v>
                </c:pt>
                <c:pt idx="3002">
                  <c:v>550.77015600000004</c:v>
                </c:pt>
                <c:pt idx="3003">
                  <c:v>550.77015600000004</c:v>
                </c:pt>
                <c:pt idx="3004">
                  <c:v>550.77015600000004</c:v>
                </c:pt>
                <c:pt idx="3005">
                  <c:v>550.77015600000004</c:v>
                </c:pt>
                <c:pt idx="3006">
                  <c:v>550.77015600000004</c:v>
                </c:pt>
                <c:pt idx="3007">
                  <c:v>550.751531</c:v>
                </c:pt>
                <c:pt idx="3008">
                  <c:v>550.751531</c:v>
                </c:pt>
                <c:pt idx="3009">
                  <c:v>550.751531</c:v>
                </c:pt>
                <c:pt idx="3010">
                  <c:v>550.751531</c:v>
                </c:pt>
                <c:pt idx="3011">
                  <c:v>550.751531</c:v>
                </c:pt>
                <c:pt idx="3012">
                  <c:v>550.751531</c:v>
                </c:pt>
                <c:pt idx="3013">
                  <c:v>550.751531</c:v>
                </c:pt>
                <c:pt idx="3014">
                  <c:v>550.751531</c:v>
                </c:pt>
                <c:pt idx="3015">
                  <c:v>550.751531</c:v>
                </c:pt>
                <c:pt idx="3016">
                  <c:v>550.751531</c:v>
                </c:pt>
                <c:pt idx="3017">
                  <c:v>550.751531</c:v>
                </c:pt>
                <c:pt idx="3018">
                  <c:v>550.73298050000005</c:v>
                </c:pt>
                <c:pt idx="3019">
                  <c:v>550.73290599999996</c:v>
                </c:pt>
                <c:pt idx="3020">
                  <c:v>550.71428100000003</c:v>
                </c:pt>
                <c:pt idx="3021">
                  <c:v>550.71428100000003</c:v>
                </c:pt>
                <c:pt idx="3022">
                  <c:v>550.71428100000003</c:v>
                </c:pt>
                <c:pt idx="3023">
                  <c:v>550.71428100000003</c:v>
                </c:pt>
                <c:pt idx="3024">
                  <c:v>550.71428100000003</c:v>
                </c:pt>
                <c:pt idx="3025">
                  <c:v>550.71428100000003</c:v>
                </c:pt>
                <c:pt idx="3026">
                  <c:v>550.71428100000003</c:v>
                </c:pt>
                <c:pt idx="3027">
                  <c:v>550.69565599999999</c:v>
                </c:pt>
                <c:pt idx="3028">
                  <c:v>550.69565599999999</c:v>
                </c:pt>
                <c:pt idx="3029">
                  <c:v>550.69565599999999</c:v>
                </c:pt>
                <c:pt idx="3030">
                  <c:v>550.69565599999999</c:v>
                </c:pt>
                <c:pt idx="3031">
                  <c:v>550.69565599999999</c:v>
                </c:pt>
                <c:pt idx="3032">
                  <c:v>550.69565599999999</c:v>
                </c:pt>
                <c:pt idx="3033">
                  <c:v>550.69565599999999</c:v>
                </c:pt>
                <c:pt idx="3034">
                  <c:v>550.69565599999999</c:v>
                </c:pt>
                <c:pt idx="3035">
                  <c:v>550.69565599999999</c:v>
                </c:pt>
                <c:pt idx="3036">
                  <c:v>550.69565599999999</c:v>
                </c:pt>
                <c:pt idx="3037">
                  <c:v>550.69565599999999</c:v>
                </c:pt>
                <c:pt idx="3038">
                  <c:v>550.69565599999999</c:v>
                </c:pt>
                <c:pt idx="3039">
                  <c:v>550.69565599999999</c:v>
                </c:pt>
                <c:pt idx="3040">
                  <c:v>550.69565599999999</c:v>
                </c:pt>
                <c:pt idx="3041">
                  <c:v>550.69565599999999</c:v>
                </c:pt>
                <c:pt idx="3042">
                  <c:v>550.69565599999999</c:v>
                </c:pt>
                <c:pt idx="3043">
                  <c:v>550.69565599999999</c:v>
                </c:pt>
                <c:pt idx="3044">
                  <c:v>550.67703100000006</c:v>
                </c:pt>
                <c:pt idx="3045">
                  <c:v>550.67703100000006</c:v>
                </c:pt>
                <c:pt idx="3046">
                  <c:v>550.63978099999997</c:v>
                </c:pt>
                <c:pt idx="3047">
                  <c:v>550.63978099999997</c:v>
                </c:pt>
                <c:pt idx="3048">
                  <c:v>550.63978099999997</c:v>
                </c:pt>
                <c:pt idx="3049">
                  <c:v>550.63978099999997</c:v>
                </c:pt>
                <c:pt idx="3050">
                  <c:v>550.62115600000004</c:v>
                </c:pt>
                <c:pt idx="3051">
                  <c:v>550.62115600000004</c:v>
                </c:pt>
                <c:pt idx="3052">
                  <c:v>550.62115600000004</c:v>
                </c:pt>
                <c:pt idx="3053">
                  <c:v>550.62115600000004</c:v>
                </c:pt>
                <c:pt idx="3054">
                  <c:v>550.602531</c:v>
                </c:pt>
                <c:pt idx="3055">
                  <c:v>550.602531</c:v>
                </c:pt>
                <c:pt idx="3056">
                  <c:v>550.56535550000001</c:v>
                </c:pt>
                <c:pt idx="3057">
                  <c:v>550.5466560000001</c:v>
                </c:pt>
                <c:pt idx="3058">
                  <c:v>550.5466560000001</c:v>
                </c:pt>
                <c:pt idx="3059">
                  <c:v>550.5466560000001</c:v>
                </c:pt>
                <c:pt idx="3060">
                  <c:v>550.5466560000001</c:v>
                </c:pt>
                <c:pt idx="3061">
                  <c:v>550.5466560000001</c:v>
                </c:pt>
                <c:pt idx="3062">
                  <c:v>550.5466560000001</c:v>
                </c:pt>
                <c:pt idx="3063">
                  <c:v>550.5075435</c:v>
                </c:pt>
                <c:pt idx="3064">
                  <c:v>550.47223050000002</c:v>
                </c:pt>
                <c:pt idx="3065">
                  <c:v>550.47223050000002</c:v>
                </c:pt>
                <c:pt idx="3066">
                  <c:v>550.47223050000002</c:v>
                </c:pt>
                <c:pt idx="3067">
                  <c:v>550.47223050000002</c:v>
                </c:pt>
                <c:pt idx="3068">
                  <c:v>550.44801799999993</c:v>
                </c:pt>
                <c:pt idx="3069">
                  <c:v>550.43304349999994</c:v>
                </c:pt>
                <c:pt idx="3070">
                  <c:v>550.34185550000007</c:v>
                </c:pt>
                <c:pt idx="3071">
                  <c:v>550.04854899999998</c:v>
                </c:pt>
                <c:pt idx="3072">
                  <c:v>550.04854899999998</c:v>
                </c:pt>
                <c:pt idx="3073">
                  <c:v>550.04854899999998</c:v>
                </c:pt>
                <c:pt idx="3074">
                  <c:v>550.04854899999998</c:v>
                </c:pt>
                <c:pt idx="3075">
                  <c:v>550.04854899999998</c:v>
                </c:pt>
                <c:pt idx="3076">
                  <c:v>550.04852664999999</c:v>
                </c:pt>
                <c:pt idx="3077">
                  <c:v>549.97404899999992</c:v>
                </c:pt>
                <c:pt idx="3078">
                  <c:v>549.97404899999992</c:v>
                </c:pt>
                <c:pt idx="3079">
                  <c:v>549.89954900000009</c:v>
                </c:pt>
                <c:pt idx="3080">
                  <c:v>549.82504900000004</c:v>
                </c:pt>
                <c:pt idx="3081">
                  <c:v>502.28831250000002</c:v>
                </c:pt>
                <c:pt idx="3082">
                  <c:v>502.23243749999995</c:v>
                </c:pt>
                <c:pt idx="3083">
                  <c:v>502.23243749999995</c:v>
                </c:pt>
                <c:pt idx="3084">
                  <c:v>502.23243749999995</c:v>
                </c:pt>
                <c:pt idx="3085">
                  <c:v>502.23243749999995</c:v>
                </c:pt>
                <c:pt idx="3086">
                  <c:v>502.23243749999995</c:v>
                </c:pt>
                <c:pt idx="3087">
                  <c:v>502.23243749999995</c:v>
                </c:pt>
                <c:pt idx="3088">
                  <c:v>495.90917549999995</c:v>
                </c:pt>
                <c:pt idx="3089">
                  <c:v>495.7601755</c:v>
                </c:pt>
                <c:pt idx="3090">
                  <c:v>495.68574999999998</c:v>
                </c:pt>
                <c:pt idx="3091">
                  <c:v>495.61117550000006</c:v>
                </c:pt>
                <c:pt idx="3092">
                  <c:v>495.61117550000006</c:v>
                </c:pt>
                <c:pt idx="3093">
                  <c:v>495.59821250000005</c:v>
                </c:pt>
                <c:pt idx="3094">
                  <c:v>495.5366755</c:v>
                </c:pt>
                <c:pt idx="3095">
                  <c:v>495.5366755</c:v>
                </c:pt>
                <c:pt idx="3096">
                  <c:v>495.46224999999998</c:v>
                </c:pt>
                <c:pt idx="3097">
                  <c:v>495.34670050000005</c:v>
                </c:pt>
                <c:pt idx="3098">
                  <c:v>479.61438650000002</c:v>
                </c:pt>
                <c:pt idx="3099">
                  <c:v>467.11090250000001</c:v>
                </c:pt>
                <c:pt idx="3100">
                  <c:v>458.78373950000002</c:v>
                </c:pt>
                <c:pt idx="3101">
                  <c:v>458.78373950000002</c:v>
                </c:pt>
                <c:pt idx="3102">
                  <c:v>458.31759299999999</c:v>
                </c:pt>
                <c:pt idx="3103">
                  <c:v>458.31759299999999</c:v>
                </c:pt>
                <c:pt idx="3104">
                  <c:v>458.24309300000004</c:v>
                </c:pt>
                <c:pt idx="3105">
                  <c:v>458.24309300000004</c:v>
                </c:pt>
                <c:pt idx="3106">
                  <c:v>451.49763949999999</c:v>
                </c:pt>
                <c:pt idx="3107">
                  <c:v>451.42306500000001</c:v>
                </c:pt>
                <c:pt idx="3108">
                  <c:v>451.34863950000005</c:v>
                </c:pt>
                <c:pt idx="3109">
                  <c:v>451.34863950000005</c:v>
                </c:pt>
                <c:pt idx="3110">
                  <c:v>451.34863950000005</c:v>
                </c:pt>
                <c:pt idx="3111">
                  <c:v>451.34863950000005</c:v>
                </c:pt>
                <c:pt idx="3112">
                  <c:v>443.54692499999999</c:v>
                </c:pt>
                <c:pt idx="3113">
                  <c:v>413.21268550000002</c:v>
                </c:pt>
                <c:pt idx="3114">
                  <c:v>413.19406050000003</c:v>
                </c:pt>
                <c:pt idx="3115">
                  <c:v>413.15681050000001</c:v>
                </c:pt>
                <c:pt idx="3116">
                  <c:v>412.90537300000005</c:v>
                </c:pt>
                <c:pt idx="3117">
                  <c:v>412.90537300000005</c:v>
                </c:pt>
                <c:pt idx="3118">
                  <c:v>412.90537300000005</c:v>
                </c:pt>
                <c:pt idx="3119">
                  <c:v>412.77961700000003</c:v>
                </c:pt>
                <c:pt idx="3120">
                  <c:v>377.54141499999997</c:v>
                </c:pt>
                <c:pt idx="3121">
                  <c:v>371.78286300000002</c:v>
                </c:pt>
                <c:pt idx="3122">
                  <c:v>371.78286300000002</c:v>
                </c:pt>
                <c:pt idx="3123">
                  <c:v>371.75634100000002</c:v>
                </c:pt>
                <c:pt idx="3124">
                  <c:v>371.6339375</c:v>
                </c:pt>
                <c:pt idx="3125">
                  <c:v>278.158117</c:v>
                </c:pt>
                <c:pt idx="3126">
                  <c:v>278.158117</c:v>
                </c:pt>
                <c:pt idx="3127">
                  <c:v>278.158117</c:v>
                </c:pt>
                <c:pt idx="3128">
                  <c:v>278.158117</c:v>
                </c:pt>
                <c:pt idx="3129">
                  <c:v>262.28000650000001</c:v>
                </c:pt>
                <c:pt idx="3130">
                  <c:v>262.28000650000001</c:v>
                </c:pt>
                <c:pt idx="3131">
                  <c:v>262.20550649999996</c:v>
                </c:pt>
                <c:pt idx="3132">
                  <c:v>235.71802235000001</c:v>
                </c:pt>
                <c:pt idx="3133">
                  <c:v>235.64352980000001</c:v>
                </c:pt>
                <c:pt idx="3134">
                  <c:v>235.64352234999998</c:v>
                </c:pt>
                <c:pt idx="3135">
                  <c:v>235.64349999999999</c:v>
                </c:pt>
                <c:pt idx="3136">
                  <c:v>235.64349999999999</c:v>
                </c:pt>
                <c:pt idx="3137">
                  <c:v>235.64349999999999</c:v>
                </c:pt>
                <c:pt idx="3138">
                  <c:v>235.64349999999999</c:v>
                </c:pt>
                <c:pt idx="3139">
                  <c:v>235.64349999999999</c:v>
                </c:pt>
                <c:pt idx="3140">
                  <c:v>235.64349999999999</c:v>
                </c:pt>
                <c:pt idx="3141">
                  <c:v>235.64349999999999</c:v>
                </c:pt>
                <c:pt idx="3142">
                  <c:v>235.64349999999999</c:v>
                </c:pt>
                <c:pt idx="3143">
                  <c:v>235.64349999999999</c:v>
                </c:pt>
                <c:pt idx="3144">
                  <c:v>235.64349999999999</c:v>
                </c:pt>
                <c:pt idx="3145">
                  <c:v>235.64349999999999</c:v>
                </c:pt>
                <c:pt idx="3146">
                  <c:v>235.64349999999999</c:v>
                </c:pt>
                <c:pt idx="3147">
                  <c:v>235.64349999999999</c:v>
                </c:pt>
                <c:pt idx="3148">
                  <c:v>235.64349999999999</c:v>
                </c:pt>
                <c:pt idx="3149">
                  <c:v>235.64349999999999</c:v>
                </c:pt>
                <c:pt idx="3150">
                  <c:v>235.64349999999999</c:v>
                </c:pt>
                <c:pt idx="3151">
                  <c:v>235.64349999999999</c:v>
                </c:pt>
                <c:pt idx="3152">
                  <c:v>235.64349999999999</c:v>
                </c:pt>
                <c:pt idx="3153">
                  <c:v>235.64349999999999</c:v>
                </c:pt>
                <c:pt idx="3154">
                  <c:v>235.64349999999999</c:v>
                </c:pt>
                <c:pt idx="3155">
                  <c:v>235.64349999999999</c:v>
                </c:pt>
                <c:pt idx="3156">
                  <c:v>235.64349999999999</c:v>
                </c:pt>
                <c:pt idx="3157">
                  <c:v>235.64349999999999</c:v>
                </c:pt>
                <c:pt idx="3158">
                  <c:v>235.64349999999999</c:v>
                </c:pt>
                <c:pt idx="3159">
                  <c:v>235.64349999999999</c:v>
                </c:pt>
                <c:pt idx="3160">
                  <c:v>235.64349999999999</c:v>
                </c:pt>
                <c:pt idx="3161">
                  <c:v>235.64349999999999</c:v>
                </c:pt>
                <c:pt idx="3162">
                  <c:v>235.64349999999999</c:v>
                </c:pt>
                <c:pt idx="3163">
                  <c:v>235.64349999999999</c:v>
                </c:pt>
                <c:pt idx="3164">
                  <c:v>235.64349999999999</c:v>
                </c:pt>
                <c:pt idx="3165">
                  <c:v>235.64349999999999</c:v>
                </c:pt>
                <c:pt idx="3166">
                  <c:v>235.64349999999999</c:v>
                </c:pt>
                <c:pt idx="3167">
                  <c:v>235.64349999999999</c:v>
                </c:pt>
                <c:pt idx="3168">
                  <c:v>235.64349999999999</c:v>
                </c:pt>
                <c:pt idx="3169">
                  <c:v>235.64349999999999</c:v>
                </c:pt>
                <c:pt idx="3170">
                  <c:v>235.64349999999999</c:v>
                </c:pt>
                <c:pt idx="3171">
                  <c:v>235.64349999999999</c:v>
                </c:pt>
                <c:pt idx="3172">
                  <c:v>235.64349999999999</c:v>
                </c:pt>
                <c:pt idx="3173">
                  <c:v>235.64349999999999</c:v>
                </c:pt>
                <c:pt idx="3174">
                  <c:v>235.64349999999999</c:v>
                </c:pt>
                <c:pt idx="3175">
                  <c:v>235.64349999999999</c:v>
                </c:pt>
                <c:pt idx="3176">
                  <c:v>235.64349999999999</c:v>
                </c:pt>
                <c:pt idx="3177">
                  <c:v>235.64349999999999</c:v>
                </c:pt>
                <c:pt idx="3178">
                  <c:v>235.64349999999999</c:v>
                </c:pt>
                <c:pt idx="3179">
                  <c:v>235.64349999999999</c:v>
                </c:pt>
                <c:pt idx="3180">
                  <c:v>235.64349999999999</c:v>
                </c:pt>
                <c:pt idx="3181">
                  <c:v>235.64349999999999</c:v>
                </c:pt>
                <c:pt idx="3182">
                  <c:v>235.64349999999999</c:v>
                </c:pt>
                <c:pt idx="3183">
                  <c:v>235.64349999999999</c:v>
                </c:pt>
                <c:pt idx="3184">
                  <c:v>235.64349999999999</c:v>
                </c:pt>
                <c:pt idx="3185">
                  <c:v>235.64349999999999</c:v>
                </c:pt>
                <c:pt idx="3186">
                  <c:v>235.64349999999999</c:v>
                </c:pt>
                <c:pt idx="3187">
                  <c:v>235.64349999999999</c:v>
                </c:pt>
                <c:pt idx="3188">
                  <c:v>235.64349999999999</c:v>
                </c:pt>
                <c:pt idx="3189">
                  <c:v>235.64349999999999</c:v>
                </c:pt>
                <c:pt idx="3190">
                  <c:v>235.64349999999999</c:v>
                </c:pt>
                <c:pt idx="3191">
                  <c:v>235.64349999999999</c:v>
                </c:pt>
                <c:pt idx="3192">
                  <c:v>235.64349999999999</c:v>
                </c:pt>
                <c:pt idx="3193">
                  <c:v>235.64349999999999</c:v>
                </c:pt>
                <c:pt idx="3194">
                  <c:v>235.64349999999999</c:v>
                </c:pt>
                <c:pt idx="3195">
                  <c:v>235.64349999999999</c:v>
                </c:pt>
                <c:pt idx="3196">
                  <c:v>235.64349999999999</c:v>
                </c:pt>
                <c:pt idx="3197">
                  <c:v>235.64349999999999</c:v>
                </c:pt>
                <c:pt idx="3198">
                  <c:v>235.64349999999999</c:v>
                </c:pt>
                <c:pt idx="3199">
                  <c:v>235.64349999999999</c:v>
                </c:pt>
                <c:pt idx="3200">
                  <c:v>235.64349999999999</c:v>
                </c:pt>
                <c:pt idx="3201">
                  <c:v>235.64349999999999</c:v>
                </c:pt>
                <c:pt idx="3202">
                  <c:v>235.64349999999999</c:v>
                </c:pt>
                <c:pt idx="3203">
                  <c:v>235.64349999999999</c:v>
                </c:pt>
                <c:pt idx="3204">
                  <c:v>235.64349999999999</c:v>
                </c:pt>
                <c:pt idx="3205">
                  <c:v>235.64349999999999</c:v>
                </c:pt>
                <c:pt idx="3206">
                  <c:v>235.64349999999999</c:v>
                </c:pt>
                <c:pt idx="3207">
                  <c:v>235.64349999999999</c:v>
                </c:pt>
                <c:pt idx="3208">
                  <c:v>235.64349999999999</c:v>
                </c:pt>
                <c:pt idx="3209">
                  <c:v>235.64349999999999</c:v>
                </c:pt>
                <c:pt idx="3210">
                  <c:v>235.64349999999999</c:v>
                </c:pt>
                <c:pt idx="3211">
                  <c:v>235.64349999999999</c:v>
                </c:pt>
                <c:pt idx="3212">
                  <c:v>235.64349999999999</c:v>
                </c:pt>
                <c:pt idx="3213">
                  <c:v>235.64349999999999</c:v>
                </c:pt>
                <c:pt idx="3214">
                  <c:v>235.64349999999999</c:v>
                </c:pt>
                <c:pt idx="3215">
                  <c:v>235.64349999999999</c:v>
                </c:pt>
                <c:pt idx="3216">
                  <c:v>235.64349999999999</c:v>
                </c:pt>
                <c:pt idx="3217">
                  <c:v>235.64349999999999</c:v>
                </c:pt>
                <c:pt idx="3218">
                  <c:v>235.64349255000002</c:v>
                </c:pt>
                <c:pt idx="3219">
                  <c:v>235.64346275000003</c:v>
                </c:pt>
                <c:pt idx="3220">
                  <c:v>235.56900000000002</c:v>
                </c:pt>
                <c:pt idx="3221">
                  <c:v>235.56900000000002</c:v>
                </c:pt>
                <c:pt idx="3222">
                  <c:v>235.56900000000002</c:v>
                </c:pt>
                <c:pt idx="3223">
                  <c:v>235.56900000000002</c:v>
                </c:pt>
                <c:pt idx="3224">
                  <c:v>235.56900000000002</c:v>
                </c:pt>
                <c:pt idx="3225">
                  <c:v>235.49449999999999</c:v>
                </c:pt>
                <c:pt idx="3226">
                  <c:v>227.61836000000002</c:v>
                </c:pt>
                <c:pt idx="3227">
                  <c:v>227.61836000000002</c:v>
                </c:pt>
                <c:pt idx="3228">
                  <c:v>212.07915</c:v>
                </c:pt>
                <c:pt idx="3229">
                  <c:v>212.07915</c:v>
                </c:pt>
                <c:pt idx="3230">
                  <c:v>212.07915</c:v>
                </c:pt>
                <c:pt idx="3231">
                  <c:v>212.07915</c:v>
                </c:pt>
                <c:pt idx="3232">
                  <c:v>212.07915</c:v>
                </c:pt>
                <c:pt idx="3233">
                  <c:v>212.07915</c:v>
                </c:pt>
                <c:pt idx="3234">
                  <c:v>208.67450000000002</c:v>
                </c:pt>
                <c:pt idx="3235">
                  <c:v>208.67450000000002</c:v>
                </c:pt>
                <c:pt idx="3236">
                  <c:v>208.67450000000002</c:v>
                </c:pt>
                <c:pt idx="3237">
                  <c:v>208.67450000000002</c:v>
                </c:pt>
                <c:pt idx="3238">
                  <c:v>208.6</c:v>
                </c:pt>
                <c:pt idx="3239">
                  <c:v>208.6</c:v>
                </c:pt>
                <c:pt idx="3240">
                  <c:v>208.6</c:v>
                </c:pt>
                <c:pt idx="3241">
                  <c:v>208.6</c:v>
                </c:pt>
                <c:pt idx="3242">
                  <c:v>208.6</c:v>
                </c:pt>
                <c:pt idx="3243">
                  <c:v>208.6</c:v>
                </c:pt>
                <c:pt idx="3244">
                  <c:v>208.6</c:v>
                </c:pt>
                <c:pt idx="3245">
                  <c:v>208.6</c:v>
                </c:pt>
                <c:pt idx="3246">
                  <c:v>208.6</c:v>
                </c:pt>
                <c:pt idx="3247">
                  <c:v>208.6</c:v>
                </c:pt>
                <c:pt idx="3248">
                  <c:v>208.6</c:v>
                </c:pt>
                <c:pt idx="3249">
                  <c:v>208.6</c:v>
                </c:pt>
                <c:pt idx="3250">
                  <c:v>208.6</c:v>
                </c:pt>
                <c:pt idx="3251">
                  <c:v>208.6</c:v>
                </c:pt>
                <c:pt idx="3252">
                  <c:v>208.6</c:v>
                </c:pt>
                <c:pt idx="3253">
                  <c:v>208.6</c:v>
                </c:pt>
                <c:pt idx="3254">
                  <c:v>208.6</c:v>
                </c:pt>
                <c:pt idx="3255">
                  <c:v>208.6</c:v>
                </c:pt>
                <c:pt idx="3256">
                  <c:v>208.6</c:v>
                </c:pt>
                <c:pt idx="3257">
                  <c:v>208.6</c:v>
                </c:pt>
                <c:pt idx="3258">
                  <c:v>208.6</c:v>
                </c:pt>
                <c:pt idx="3259">
                  <c:v>208.6</c:v>
                </c:pt>
                <c:pt idx="3260">
                  <c:v>208.6</c:v>
                </c:pt>
                <c:pt idx="3261">
                  <c:v>208.6</c:v>
                </c:pt>
                <c:pt idx="3262">
                  <c:v>208.6</c:v>
                </c:pt>
                <c:pt idx="3263">
                  <c:v>208.6</c:v>
                </c:pt>
                <c:pt idx="3264">
                  <c:v>208.6</c:v>
                </c:pt>
                <c:pt idx="3265">
                  <c:v>208.6</c:v>
                </c:pt>
                <c:pt idx="3266">
                  <c:v>208.6</c:v>
                </c:pt>
                <c:pt idx="3267">
                  <c:v>208.6</c:v>
                </c:pt>
                <c:pt idx="3268">
                  <c:v>208.6</c:v>
                </c:pt>
                <c:pt idx="3269">
                  <c:v>208.6</c:v>
                </c:pt>
                <c:pt idx="3270">
                  <c:v>208.6</c:v>
                </c:pt>
                <c:pt idx="3271">
                  <c:v>208.6</c:v>
                </c:pt>
                <c:pt idx="3272">
                  <c:v>208.6</c:v>
                </c:pt>
                <c:pt idx="3273">
                  <c:v>208.6</c:v>
                </c:pt>
                <c:pt idx="3274">
                  <c:v>208.6</c:v>
                </c:pt>
                <c:pt idx="3275">
                  <c:v>208.6</c:v>
                </c:pt>
                <c:pt idx="3276">
                  <c:v>208.6</c:v>
                </c:pt>
                <c:pt idx="3277">
                  <c:v>208.6</c:v>
                </c:pt>
                <c:pt idx="3278">
                  <c:v>208.6</c:v>
                </c:pt>
                <c:pt idx="3279">
                  <c:v>208.6</c:v>
                </c:pt>
                <c:pt idx="3280">
                  <c:v>208.6</c:v>
                </c:pt>
                <c:pt idx="3281">
                  <c:v>208.6</c:v>
                </c:pt>
                <c:pt idx="3282">
                  <c:v>208.6</c:v>
                </c:pt>
                <c:pt idx="3283">
                  <c:v>208.6</c:v>
                </c:pt>
                <c:pt idx="3284">
                  <c:v>208.6</c:v>
                </c:pt>
                <c:pt idx="3285">
                  <c:v>208.6</c:v>
                </c:pt>
                <c:pt idx="3286">
                  <c:v>208.6</c:v>
                </c:pt>
                <c:pt idx="3287">
                  <c:v>208.6</c:v>
                </c:pt>
                <c:pt idx="3288">
                  <c:v>208.6</c:v>
                </c:pt>
                <c:pt idx="3289">
                  <c:v>208.6</c:v>
                </c:pt>
                <c:pt idx="3290">
                  <c:v>208.6</c:v>
                </c:pt>
                <c:pt idx="3291">
                  <c:v>208.6</c:v>
                </c:pt>
                <c:pt idx="3292">
                  <c:v>208.6</c:v>
                </c:pt>
                <c:pt idx="3293">
                  <c:v>208.6</c:v>
                </c:pt>
                <c:pt idx="3294">
                  <c:v>208.6</c:v>
                </c:pt>
                <c:pt idx="3295">
                  <c:v>208.6</c:v>
                </c:pt>
                <c:pt idx="3296">
                  <c:v>208.6</c:v>
                </c:pt>
                <c:pt idx="3297">
                  <c:v>208.6</c:v>
                </c:pt>
                <c:pt idx="3298">
                  <c:v>208.6</c:v>
                </c:pt>
                <c:pt idx="3299">
                  <c:v>208.6</c:v>
                </c:pt>
                <c:pt idx="3300">
                  <c:v>208.6</c:v>
                </c:pt>
                <c:pt idx="3301">
                  <c:v>208.52549999999999</c:v>
                </c:pt>
                <c:pt idx="3302">
                  <c:v>208.52549999999999</c:v>
                </c:pt>
                <c:pt idx="3303">
                  <c:v>208.52549999999999</c:v>
                </c:pt>
                <c:pt idx="3304">
                  <c:v>208.52549999999999</c:v>
                </c:pt>
                <c:pt idx="3305">
                  <c:v>208.52549999999999</c:v>
                </c:pt>
                <c:pt idx="3306">
                  <c:v>208.52549999999999</c:v>
                </c:pt>
                <c:pt idx="3307">
                  <c:v>205.00425749999999</c:v>
                </c:pt>
                <c:pt idx="3308">
                  <c:v>205.00425749999999</c:v>
                </c:pt>
                <c:pt idx="3309">
                  <c:v>204.78075749999999</c:v>
                </c:pt>
                <c:pt idx="3310">
                  <c:v>200.45849100000001</c:v>
                </c:pt>
                <c:pt idx="3311">
                  <c:v>200.45849100000001</c:v>
                </c:pt>
                <c:pt idx="3312">
                  <c:v>200.45849100000001</c:v>
                </c:pt>
                <c:pt idx="3313">
                  <c:v>198.7502805</c:v>
                </c:pt>
                <c:pt idx="3314">
                  <c:v>198.75020599999999</c:v>
                </c:pt>
                <c:pt idx="3315">
                  <c:v>198.75020599999999</c:v>
                </c:pt>
                <c:pt idx="3316">
                  <c:v>198.75020599999999</c:v>
                </c:pt>
                <c:pt idx="3317">
                  <c:v>198.6012656</c:v>
                </c:pt>
                <c:pt idx="3318">
                  <c:v>198.60120599999999</c:v>
                </c:pt>
                <c:pt idx="3319">
                  <c:v>198.60120599999999</c:v>
                </c:pt>
                <c:pt idx="3320">
                  <c:v>187.74</c:v>
                </c:pt>
                <c:pt idx="3321">
                  <c:v>187.74</c:v>
                </c:pt>
                <c:pt idx="3322">
                  <c:v>187.40013100000002</c:v>
                </c:pt>
                <c:pt idx="3323">
                  <c:v>187.40013100000002</c:v>
                </c:pt>
                <c:pt idx="3324">
                  <c:v>187.40013100000002</c:v>
                </c:pt>
                <c:pt idx="3325">
                  <c:v>187.2594005</c:v>
                </c:pt>
                <c:pt idx="3326">
                  <c:v>187.05243950000002</c:v>
                </c:pt>
                <c:pt idx="3327">
                  <c:v>186.85374800000002</c:v>
                </c:pt>
                <c:pt idx="3328">
                  <c:v>186.85374800000002</c:v>
                </c:pt>
                <c:pt idx="3329">
                  <c:v>186.85374800000002</c:v>
                </c:pt>
                <c:pt idx="3330">
                  <c:v>186.85374800000002</c:v>
                </c:pt>
                <c:pt idx="3331">
                  <c:v>185.46283299999999</c:v>
                </c:pt>
                <c:pt idx="3332">
                  <c:v>184.56346900000003</c:v>
                </c:pt>
                <c:pt idx="3333">
                  <c:v>184.56346900000003</c:v>
                </c:pt>
                <c:pt idx="3334">
                  <c:v>184.56346900000003</c:v>
                </c:pt>
                <c:pt idx="3335">
                  <c:v>184.56346900000003</c:v>
                </c:pt>
                <c:pt idx="3336">
                  <c:v>184.56346900000003</c:v>
                </c:pt>
                <c:pt idx="3337">
                  <c:v>184.56346900000003</c:v>
                </c:pt>
                <c:pt idx="3338">
                  <c:v>184.56346900000003</c:v>
                </c:pt>
                <c:pt idx="3339">
                  <c:v>181.29932600000001</c:v>
                </c:pt>
                <c:pt idx="3340">
                  <c:v>181.29932600000001</c:v>
                </c:pt>
                <c:pt idx="3341">
                  <c:v>181.29932600000001</c:v>
                </c:pt>
                <c:pt idx="3342">
                  <c:v>181.29932600000001</c:v>
                </c:pt>
                <c:pt idx="3343">
                  <c:v>181.29932600000001</c:v>
                </c:pt>
                <c:pt idx="3344">
                  <c:v>181.15032600000001</c:v>
                </c:pt>
                <c:pt idx="3345">
                  <c:v>181.15032600000001</c:v>
                </c:pt>
                <c:pt idx="3346">
                  <c:v>181.15032600000001</c:v>
                </c:pt>
                <c:pt idx="3347">
                  <c:v>181.15032600000001</c:v>
                </c:pt>
                <c:pt idx="3348">
                  <c:v>175.4192645</c:v>
                </c:pt>
                <c:pt idx="3349">
                  <c:v>175.4192645</c:v>
                </c:pt>
                <c:pt idx="3350">
                  <c:v>175.2702645</c:v>
                </c:pt>
                <c:pt idx="3351">
                  <c:v>173.6075735</c:v>
                </c:pt>
                <c:pt idx="3352">
                  <c:v>173.6075735</c:v>
                </c:pt>
                <c:pt idx="3353">
                  <c:v>173.30152749999999</c:v>
                </c:pt>
                <c:pt idx="3354">
                  <c:v>173.30152749999999</c:v>
                </c:pt>
                <c:pt idx="3355">
                  <c:v>173.30152749999999</c:v>
                </c:pt>
                <c:pt idx="3356">
                  <c:v>173.30152749999999</c:v>
                </c:pt>
                <c:pt idx="3357">
                  <c:v>173.259882</c:v>
                </c:pt>
                <c:pt idx="3358">
                  <c:v>173.15252749999999</c:v>
                </c:pt>
                <c:pt idx="3359">
                  <c:v>172.75350549999999</c:v>
                </c:pt>
                <c:pt idx="3360">
                  <c:v>172.75350549999999</c:v>
                </c:pt>
                <c:pt idx="3361">
                  <c:v>172.75350549999999</c:v>
                </c:pt>
                <c:pt idx="3362">
                  <c:v>172.75350549999999</c:v>
                </c:pt>
                <c:pt idx="3363">
                  <c:v>172.5548885</c:v>
                </c:pt>
                <c:pt idx="3364">
                  <c:v>172.5548885</c:v>
                </c:pt>
                <c:pt idx="3365">
                  <c:v>172.5548885</c:v>
                </c:pt>
                <c:pt idx="3366">
                  <c:v>172.5548885</c:v>
                </c:pt>
                <c:pt idx="3367">
                  <c:v>165.784254</c:v>
                </c:pt>
                <c:pt idx="3368">
                  <c:v>165.784254</c:v>
                </c:pt>
                <c:pt idx="3369">
                  <c:v>165.64553500000002</c:v>
                </c:pt>
                <c:pt idx="3370">
                  <c:v>156.00530950000001</c:v>
                </c:pt>
                <c:pt idx="3371">
                  <c:v>155.96396200000001</c:v>
                </c:pt>
                <c:pt idx="3372">
                  <c:v>155.9391535</c:v>
                </c:pt>
                <c:pt idx="3373">
                  <c:v>155.9391535</c:v>
                </c:pt>
                <c:pt idx="3374">
                  <c:v>155.93088399999999</c:v>
                </c:pt>
                <c:pt idx="3375">
                  <c:v>155.86457900000002</c:v>
                </c:pt>
                <c:pt idx="3376">
                  <c:v>155.81496200000001</c:v>
                </c:pt>
                <c:pt idx="3377">
                  <c:v>155.81496200000001</c:v>
                </c:pt>
                <c:pt idx="3378">
                  <c:v>155.81496200000001</c:v>
                </c:pt>
                <c:pt idx="3379">
                  <c:v>155.79007899999999</c:v>
                </c:pt>
                <c:pt idx="3380">
                  <c:v>155.78180950000001</c:v>
                </c:pt>
                <c:pt idx="3381">
                  <c:v>155.77354</c:v>
                </c:pt>
                <c:pt idx="3382">
                  <c:v>155.77354</c:v>
                </c:pt>
                <c:pt idx="3383">
                  <c:v>155.71557900000002</c:v>
                </c:pt>
                <c:pt idx="3384">
                  <c:v>155.71557900000002</c:v>
                </c:pt>
                <c:pt idx="3385">
                  <c:v>155.69077050000001</c:v>
                </c:pt>
                <c:pt idx="3386">
                  <c:v>148.2312345</c:v>
                </c:pt>
                <c:pt idx="3387">
                  <c:v>148.23115999999999</c:v>
                </c:pt>
                <c:pt idx="3388">
                  <c:v>148.08230899999998</c:v>
                </c:pt>
                <c:pt idx="3389">
                  <c:v>148.0822345</c:v>
                </c:pt>
                <c:pt idx="3390">
                  <c:v>148.08215999999999</c:v>
                </c:pt>
                <c:pt idx="3391">
                  <c:v>145.28144425000002</c:v>
                </c:pt>
                <c:pt idx="3392">
                  <c:v>145.20698150000001</c:v>
                </c:pt>
                <c:pt idx="3393">
                  <c:v>145.03309849999999</c:v>
                </c:pt>
                <c:pt idx="3394">
                  <c:v>145.03309849999999</c:v>
                </c:pt>
                <c:pt idx="3395">
                  <c:v>144.2468255</c:v>
                </c:pt>
                <c:pt idx="3396">
                  <c:v>144.2468255</c:v>
                </c:pt>
                <c:pt idx="3397">
                  <c:v>144.2468255</c:v>
                </c:pt>
                <c:pt idx="3398">
                  <c:v>144.0978255</c:v>
                </c:pt>
                <c:pt idx="3399">
                  <c:v>143.94055599999999</c:v>
                </c:pt>
                <c:pt idx="3400">
                  <c:v>143.61774750000001</c:v>
                </c:pt>
                <c:pt idx="3401">
                  <c:v>140.94118599999999</c:v>
                </c:pt>
                <c:pt idx="3402">
                  <c:v>140.94118599999999</c:v>
                </c:pt>
                <c:pt idx="3403">
                  <c:v>140.94118599999999</c:v>
                </c:pt>
                <c:pt idx="3404">
                  <c:v>140.94118599999999</c:v>
                </c:pt>
                <c:pt idx="3405">
                  <c:v>140.79218600000002</c:v>
                </c:pt>
                <c:pt idx="3406">
                  <c:v>140.79218600000002</c:v>
                </c:pt>
                <c:pt idx="3407">
                  <c:v>140.71768600000001</c:v>
                </c:pt>
                <c:pt idx="3408">
                  <c:v>140.668069</c:v>
                </c:pt>
                <c:pt idx="3409">
                  <c:v>140.668069</c:v>
                </c:pt>
                <c:pt idx="3410">
                  <c:v>140.668069</c:v>
                </c:pt>
                <c:pt idx="3411">
                  <c:v>140.668069</c:v>
                </c:pt>
                <c:pt idx="3412">
                  <c:v>140.668069</c:v>
                </c:pt>
                <c:pt idx="3413">
                  <c:v>140.668069</c:v>
                </c:pt>
                <c:pt idx="3414">
                  <c:v>140.668069</c:v>
                </c:pt>
                <c:pt idx="3415">
                  <c:v>140.593569</c:v>
                </c:pt>
                <c:pt idx="3416">
                  <c:v>140.593569</c:v>
                </c:pt>
                <c:pt idx="3417">
                  <c:v>140.593569</c:v>
                </c:pt>
                <c:pt idx="3418">
                  <c:v>140.593569</c:v>
                </c:pt>
                <c:pt idx="3419">
                  <c:v>140.593569</c:v>
                </c:pt>
                <c:pt idx="3420">
                  <c:v>140.593569</c:v>
                </c:pt>
                <c:pt idx="3421">
                  <c:v>140.593569</c:v>
                </c:pt>
                <c:pt idx="3422">
                  <c:v>140.593569</c:v>
                </c:pt>
                <c:pt idx="3423">
                  <c:v>140.593569</c:v>
                </c:pt>
                <c:pt idx="3424">
                  <c:v>140.593569</c:v>
                </c:pt>
                <c:pt idx="3425">
                  <c:v>140.593569</c:v>
                </c:pt>
                <c:pt idx="3426">
                  <c:v>140.593569</c:v>
                </c:pt>
                <c:pt idx="3427">
                  <c:v>140.593569</c:v>
                </c:pt>
                <c:pt idx="3428">
                  <c:v>140.593569</c:v>
                </c:pt>
                <c:pt idx="3429">
                  <c:v>140.593569</c:v>
                </c:pt>
                <c:pt idx="3430">
                  <c:v>140.593569</c:v>
                </c:pt>
                <c:pt idx="3431">
                  <c:v>140.593569</c:v>
                </c:pt>
                <c:pt idx="3432">
                  <c:v>140.593569</c:v>
                </c:pt>
                <c:pt idx="3433">
                  <c:v>140.56868599999999</c:v>
                </c:pt>
                <c:pt idx="3434">
                  <c:v>140.56868599999999</c:v>
                </c:pt>
                <c:pt idx="3435">
                  <c:v>140.519069</c:v>
                </c:pt>
                <c:pt idx="3436">
                  <c:v>140.519069</c:v>
                </c:pt>
                <c:pt idx="3437">
                  <c:v>140.519069</c:v>
                </c:pt>
                <c:pt idx="3438">
                  <c:v>140.519069</c:v>
                </c:pt>
                <c:pt idx="3439">
                  <c:v>140.519069</c:v>
                </c:pt>
                <c:pt idx="3440">
                  <c:v>140.519069</c:v>
                </c:pt>
                <c:pt idx="3441">
                  <c:v>140.519069</c:v>
                </c:pt>
                <c:pt idx="3442">
                  <c:v>140.519069</c:v>
                </c:pt>
                <c:pt idx="3443">
                  <c:v>140.519069</c:v>
                </c:pt>
                <c:pt idx="3444">
                  <c:v>140.49418600000001</c:v>
                </c:pt>
                <c:pt idx="3445">
                  <c:v>140.49418600000001</c:v>
                </c:pt>
                <c:pt idx="3446">
                  <c:v>140.444569</c:v>
                </c:pt>
                <c:pt idx="3447">
                  <c:v>140.444569</c:v>
                </c:pt>
                <c:pt idx="3448">
                  <c:v>140.444569</c:v>
                </c:pt>
                <c:pt idx="3449">
                  <c:v>140.444569</c:v>
                </c:pt>
                <c:pt idx="3450">
                  <c:v>140.444569</c:v>
                </c:pt>
                <c:pt idx="3451">
                  <c:v>140.444569</c:v>
                </c:pt>
                <c:pt idx="3452">
                  <c:v>140.444569</c:v>
                </c:pt>
                <c:pt idx="3453">
                  <c:v>140.444569</c:v>
                </c:pt>
                <c:pt idx="3454">
                  <c:v>140.444569</c:v>
                </c:pt>
                <c:pt idx="3455">
                  <c:v>140.444569</c:v>
                </c:pt>
                <c:pt idx="3456">
                  <c:v>140.444569</c:v>
                </c:pt>
                <c:pt idx="3457">
                  <c:v>140.444569</c:v>
                </c:pt>
                <c:pt idx="3458">
                  <c:v>140.444569</c:v>
                </c:pt>
                <c:pt idx="3459">
                  <c:v>140.444569</c:v>
                </c:pt>
                <c:pt idx="3460">
                  <c:v>140.444569</c:v>
                </c:pt>
                <c:pt idx="3461">
                  <c:v>140.444569</c:v>
                </c:pt>
                <c:pt idx="3462">
                  <c:v>140.444569</c:v>
                </c:pt>
                <c:pt idx="3463">
                  <c:v>140.444569</c:v>
                </c:pt>
                <c:pt idx="3464">
                  <c:v>140.44454665000001</c:v>
                </c:pt>
                <c:pt idx="3465">
                  <c:v>140.41968599999998</c:v>
                </c:pt>
                <c:pt idx="3466">
                  <c:v>140.41968599999998</c:v>
                </c:pt>
                <c:pt idx="3467">
                  <c:v>140.41968599999998</c:v>
                </c:pt>
                <c:pt idx="3468">
                  <c:v>140.41968599999998</c:v>
                </c:pt>
                <c:pt idx="3469">
                  <c:v>140.41968599999998</c:v>
                </c:pt>
                <c:pt idx="3470">
                  <c:v>140.41968599999998</c:v>
                </c:pt>
                <c:pt idx="3471">
                  <c:v>140.41968599999998</c:v>
                </c:pt>
                <c:pt idx="3472">
                  <c:v>140.39487750000001</c:v>
                </c:pt>
                <c:pt idx="3473">
                  <c:v>140.39487750000001</c:v>
                </c:pt>
                <c:pt idx="3474">
                  <c:v>140.39487750000001</c:v>
                </c:pt>
                <c:pt idx="3475">
                  <c:v>140.39487750000001</c:v>
                </c:pt>
                <c:pt idx="3476">
                  <c:v>140.39487750000001</c:v>
                </c:pt>
                <c:pt idx="3477">
                  <c:v>140.370069</c:v>
                </c:pt>
                <c:pt idx="3478">
                  <c:v>140.370069</c:v>
                </c:pt>
                <c:pt idx="3479">
                  <c:v>140.370069</c:v>
                </c:pt>
                <c:pt idx="3480">
                  <c:v>140.360086</c:v>
                </c:pt>
                <c:pt idx="3481">
                  <c:v>140.3452307</c:v>
                </c:pt>
                <c:pt idx="3482">
                  <c:v>140.34518600000001</c:v>
                </c:pt>
                <c:pt idx="3483">
                  <c:v>140.34518600000001</c:v>
                </c:pt>
                <c:pt idx="3484">
                  <c:v>140.34518600000001</c:v>
                </c:pt>
                <c:pt idx="3485">
                  <c:v>140.34518600000001</c:v>
                </c:pt>
                <c:pt idx="3486">
                  <c:v>140.34518600000001</c:v>
                </c:pt>
                <c:pt idx="3487">
                  <c:v>140.34518600000001</c:v>
                </c:pt>
                <c:pt idx="3488">
                  <c:v>140.34518600000001</c:v>
                </c:pt>
                <c:pt idx="3489">
                  <c:v>140.34517109999999</c:v>
                </c:pt>
                <c:pt idx="3490">
                  <c:v>140.295569</c:v>
                </c:pt>
                <c:pt idx="3491">
                  <c:v>140.295569</c:v>
                </c:pt>
                <c:pt idx="3492">
                  <c:v>140.295569</c:v>
                </c:pt>
                <c:pt idx="3493">
                  <c:v>140.295569</c:v>
                </c:pt>
                <c:pt idx="3494">
                  <c:v>140.295569</c:v>
                </c:pt>
                <c:pt idx="3495">
                  <c:v>140.295569</c:v>
                </c:pt>
                <c:pt idx="3496">
                  <c:v>140.295569</c:v>
                </c:pt>
                <c:pt idx="3497">
                  <c:v>140.295569</c:v>
                </c:pt>
                <c:pt idx="3498">
                  <c:v>140.295569</c:v>
                </c:pt>
                <c:pt idx="3499">
                  <c:v>140.295569</c:v>
                </c:pt>
                <c:pt idx="3500">
                  <c:v>140.295569</c:v>
                </c:pt>
                <c:pt idx="3501">
                  <c:v>140.295569</c:v>
                </c:pt>
                <c:pt idx="3502">
                  <c:v>140.295569</c:v>
                </c:pt>
                <c:pt idx="3503">
                  <c:v>140.295569</c:v>
                </c:pt>
                <c:pt idx="3504">
                  <c:v>140.295569</c:v>
                </c:pt>
                <c:pt idx="3505">
                  <c:v>140.27068600000001</c:v>
                </c:pt>
                <c:pt idx="3506">
                  <c:v>140.27068600000001</c:v>
                </c:pt>
                <c:pt idx="3507">
                  <c:v>140.27068600000001</c:v>
                </c:pt>
                <c:pt idx="3508">
                  <c:v>140.27068600000001</c:v>
                </c:pt>
                <c:pt idx="3509">
                  <c:v>140.27068600000001</c:v>
                </c:pt>
                <c:pt idx="3510">
                  <c:v>140.27068600000001</c:v>
                </c:pt>
                <c:pt idx="3511">
                  <c:v>140.24587750000001</c:v>
                </c:pt>
                <c:pt idx="3512">
                  <c:v>140.24587750000001</c:v>
                </c:pt>
                <c:pt idx="3513">
                  <c:v>140.221069</c:v>
                </c:pt>
                <c:pt idx="3514">
                  <c:v>140.221069</c:v>
                </c:pt>
                <c:pt idx="3515">
                  <c:v>140.221069</c:v>
                </c:pt>
                <c:pt idx="3516">
                  <c:v>140.221069</c:v>
                </c:pt>
                <c:pt idx="3517">
                  <c:v>140.19618600000001</c:v>
                </c:pt>
                <c:pt idx="3518">
                  <c:v>140.19618600000001</c:v>
                </c:pt>
                <c:pt idx="3519">
                  <c:v>140.19618600000001</c:v>
                </c:pt>
                <c:pt idx="3520">
                  <c:v>140.19618600000001</c:v>
                </c:pt>
                <c:pt idx="3521">
                  <c:v>140.19618600000001</c:v>
                </c:pt>
                <c:pt idx="3522">
                  <c:v>140.19618600000001</c:v>
                </c:pt>
                <c:pt idx="3523">
                  <c:v>140.19618600000001</c:v>
                </c:pt>
                <c:pt idx="3524">
                  <c:v>140.19618600000001</c:v>
                </c:pt>
                <c:pt idx="3525">
                  <c:v>140.19618600000001</c:v>
                </c:pt>
                <c:pt idx="3526">
                  <c:v>140.19618600000001</c:v>
                </c:pt>
                <c:pt idx="3527">
                  <c:v>140.17137750000001</c:v>
                </c:pt>
                <c:pt idx="3528">
                  <c:v>140.12168600000001</c:v>
                </c:pt>
                <c:pt idx="3529">
                  <c:v>140.12168600000001</c:v>
                </c:pt>
                <c:pt idx="3530">
                  <c:v>140.12168600000001</c:v>
                </c:pt>
                <c:pt idx="3531">
                  <c:v>140.12168600000001</c:v>
                </c:pt>
                <c:pt idx="3532">
                  <c:v>140.12168600000001</c:v>
                </c:pt>
                <c:pt idx="3533">
                  <c:v>140.12168600000001</c:v>
                </c:pt>
                <c:pt idx="3534">
                  <c:v>140.09687750000001</c:v>
                </c:pt>
                <c:pt idx="3535">
                  <c:v>140.09687750000001</c:v>
                </c:pt>
                <c:pt idx="3536">
                  <c:v>140.09687750000001</c:v>
                </c:pt>
                <c:pt idx="3537">
                  <c:v>140.09687750000001</c:v>
                </c:pt>
                <c:pt idx="3538">
                  <c:v>140.09687750000001</c:v>
                </c:pt>
                <c:pt idx="3539">
                  <c:v>140.09687750000001</c:v>
                </c:pt>
                <c:pt idx="3540">
                  <c:v>140.09687750000001</c:v>
                </c:pt>
                <c:pt idx="3541">
                  <c:v>140.09687750000001</c:v>
                </c:pt>
                <c:pt idx="3542">
                  <c:v>140.09687750000001</c:v>
                </c:pt>
                <c:pt idx="3543">
                  <c:v>140.09687750000001</c:v>
                </c:pt>
                <c:pt idx="3544">
                  <c:v>140.09687750000001</c:v>
                </c:pt>
                <c:pt idx="3545">
                  <c:v>140.04718599999998</c:v>
                </c:pt>
                <c:pt idx="3546">
                  <c:v>140.04718599999998</c:v>
                </c:pt>
                <c:pt idx="3547">
                  <c:v>140.04718599999998</c:v>
                </c:pt>
                <c:pt idx="3548">
                  <c:v>140.04718599999998</c:v>
                </c:pt>
                <c:pt idx="3549">
                  <c:v>140.04718599999998</c:v>
                </c:pt>
                <c:pt idx="3550">
                  <c:v>140.04718599999998</c:v>
                </c:pt>
                <c:pt idx="3551">
                  <c:v>140.04718599999998</c:v>
                </c:pt>
                <c:pt idx="3552">
                  <c:v>140.04718599999998</c:v>
                </c:pt>
                <c:pt idx="3553">
                  <c:v>140.04718599999998</c:v>
                </c:pt>
                <c:pt idx="3554">
                  <c:v>140.04718599999998</c:v>
                </c:pt>
                <c:pt idx="3555">
                  <c:v>140.04718599999998</c:v>
                </c:pt>
                <c:pt idx="3556">
                  <c:v>140.04718599999998</c:v>
                </c:pt>
                <c:pt idx="3557">
                  <c:v>140.04718599999998</c:v>
                </c:pt>
                <c:pt idx="3558">
                  <c:v>140.04718599999998</c:v>
                </c:pt>
                <c:pt idx="3559">
                  <c:v>140.04718599999998</c:v>
                </c:pt>
                <c:pt idx="3560">
                  <c:v>140.04718599999998</c:v>
                </c:pt>
                <c:pt idx="3561">
                  <c:v>140.04718599999998</c:v>
                </c:pt>
                <c:pt idx="3562">
                  <c:v>140.0223775</c:v>
                </c:pt>
                <c:pt idx="3563">
                  <c:v>140.0223775</c:v>
                </c:pt>
                <c:pt idx="3564">
                  <c:v>139.99756900000003</c:v>
                </c:pt>
                <c:pt idx="3565">
                  <c:v>139.97268600000001</c:v>
                </c:pt>
                <c:pt idx="3566">
                  <c:v>139.97268600000001</c:v>
                </c:pt>
                <c:pt idx="3567">
                  <c:v>139.97268600000001</c:v>
                </c:pt>
                <c:pt idx="3568">
                  <c:v>139.97268600000001</c:v>
                </c:pt>
                <c:pt idx="3569">
                  <c:v>139.97268600000001</c:v>
                </c:pt>
                <c:pt idx="3570">
                  <c:v>139.97268600000001</c:v>
                </c:pt>
                <c:pt idx="3571">
                  <c:v>139.97268600000001</c:v>
                </c:pt>
                <c:pt idx="3572">
                  <c:v>139.97268600000001</c:v>
                </c:pt>
                <c:pt idx="3573">
                  <c:v>139.97268600000001</c:v>
                </c:pt>
                <c:pt idx="3574">
                  <c:v>139.97268600000001</c:v>
                </c:pt>
                <c:pt idx="3575">
                  <c:v>139.97268600000001</c:v>
                </c:pt>
                <c:pt idx="3576">
                  <c:v>139.9478775</c:v>
                </c:pt>
                <c:pt idx="3577">
                  <c:v>139.9478775</c:v>
                </c:pt>
                <c:pt idx="3578">
                  <c:v>139.89818599999998</c:v>
                </c:pt>
                <c:pt idx="3579">
                  <c:v>139.89818599999998</c:v>
                </c:pt>
                <c:pt idx="3580">
                  <c:v>139.89818599999998</c:v>
                </c:pt>
                <c:pt idx="3581">
                  <c:v>139.89818599999998</c:v>
                </c:pt>
                <c:pt idx="3582">
                  <c:v>139.89818599999998</c:v>
                </c:pt>
                <c:pt idx="3583">
                  <c:v>139.89818599999998</c:v>
                </c:pt>
                <c:pt idx="3584">
                  <c:v>139.89818599999998</c:v>
                </c:pt>
                <c:pt idx="3585">
                  <c:v>139.89818599999998</c:v>
                </c:pt>
                <c:pt idx="3586">
                  <c:v>139.89818599999998</c:v>
                </c:pt>
                <c:pt idx="3587">
                  <c:v>139.89818599999998</c:v>
                </c:pt>
                <c:pt idx="3588">
                  <c:v>139.89818599999998</c:v>
                </c:pt>
                <c:pt idx="3589">
                  <c:v>139.89818599999998</c:v>
                </c:pt>
                <c:pt idx="3590">
                  <c:v>139.848569</c:v>
                </c:pt>
                <c:pt idx="3591">
                  <c:v>139.82368600000001</c:v>
                </c:pt>
                <c:pt idx="3592">
                  <c:v>139.82368600000001</c:v>
                </c:pt>
                <c:pt idx="3593">
                  <c:v>139.82368600000001</c:v>
                </c:pt>
                <c:pt idx="3594">
                  <c:v>139.82368600000001</c:v>
                </c:pt>
                <c:pt idx="3595">
                  <c:v>139.82368600000001</c:v>
                </c:pt>
                <c:pt idx="3596">
                  <c:v>139.82368600000001</c:v>
                </c:pt>
                <c:pt idx="3597">
                  <c:v>139.82368600000001</c:v>
                </c:pt>
                <c:pt idx="3598">
                  <c:v>139.7988775</c:v>
                </c:pt>
                <c:pt idx="3599">
                  <c:v>138.79506450000002</c:v>
                </c:pt>
                <c:pt idx="3600">
                  <c:v>138.57156449999999</c:v>
                </c:pt>
                <c:pt idx="3601">
                  <c:v>138.57156449999999</c:v>
                </c:pt>
                <c:pt idx="3602">
                  <c:v>138.49706449999999</c:v>
                </c:pt>
                <c:pt idx="3603">
                  <c:v>138.49706449999999</c:v>
                </c:pt>
                <c:pt idx="3604">
                  <c:v>138.49706449999999</c:v>
                </c:pt>
                <c:pt idx="3605">
                  <c:v>138.49706449999999</c:v>
                </c:pt>
                <c:pt idx="3606">
                  <c:v>138.49706449999999</c:v>
                </c:pt>
                <c:pt idx="3607">
                  <c:v>138.49706449999999</c:v>
                </c:pt>
                <c:pt idx="3608">
                  <c:v>138.49706449999999</c:v>
                </c:pt>
                <c:pt idx="3609">
                  <c:v>138.49706449999999</c:v>
                </c:pt>
                <c:pt idx="3610">
                  <c:v>138.49706449999999</c:v>
                </c:pt>
                <c:pt idx="3611">
                  <c:v>138.49706449999999</c:v>
                </c:pt>
                <c:pt idx="3612">
                  <c:v>138.49706449999999</c:v>
                </c:pt>
                <c:pt idx="3613">
                  <c:v>138.49706449999999</c:v>
                </c:pt>
                <c:pt idx="3614">
                  <c:v>138.49706449999999</c:v>
                </c:pt>
                <c:pt idx="3615">
                  <c:v>138.49706449999999</c:v>
                </c:pt>
                <c:pt idx="3616">
                  <c:v>138.49706449999999</c:v>
                </c:pt>
                <c:pt idx="3617">
                  <c:v>138.42256450000002</c:v>
                </c:pt>
                <c:pt idx="3618">
                  <c:v>138.42256450000002</c:v>
                </c:pt>
                <c:pt idx="3619">
                  <c:v>138.42256450000002</c:v>
                </c:pt>
                <c:pt idx="3620">
                  <c:v>138.42256450000002</c:v>
                </c:pt>
                <c:pt idx="3621">
                  <c:v>138.42256450000002</c:v>
                </c:pt>
                <c:pt idx="3622">
                  <c:v>138.42256450000002</c:v>
                </c:pt>
                <c:pt idx="3623">
                  <c:v>138.42256450000002</c:v>
                </c:pt>
                <c:pt idx="3624">
                  <c:v>138.42256450000002</c:v>
                </c:pt>
                <c:pt idx="3625">
                  <c:v>138.42256450000002</c:v>
                </c:pt>
                <c:pt idx="3626">
                  <c:v>138.42256450000002</c:v>
                </c:pt>
                <c:pt idx="3627">
                  <c:v>138.40393950000001</c:v>
                </c:pt>
                <c:pt idx="3628">
                  <c:v>138.34806449999999</c:v>
                </c:pt>
                <c:pt idx="3629">
                  <c:v>138.34806449999999</c:v>
                </c:pt>
                <c:pt idx="3630">
                  <c:v>138.34806449999999</c:v>
                </c:pt>
                <c:pt idx="3631">
                  <c:v>138.34806449999999</c:v>
                </c:pt>
                <c:pt idx="3632">
                  <c:v>138.34806449999999</c:v>
                </c:pt>
                <c:pt idx="3633">
                  <c:v>138.34806449999999</c:v>
                </c:pt>
                <c:pt idx="3634">
                  <c:v>138.34806449999999</c:v>
                </c:pt>
                <c:pt idx="3635">
                  <c:v>138.34806449999999</c:v>
                </c:pt>
                <c:pt idx="3636">
                  <c:v>138.34806449999999</c:v>
                </c:pt>
                <c:pt idx="3637">
                  <c:v>138.34806449999999</c:v>
                </c:pt>
                <c:pt idx="3638">
                  <c:v>138.34806449999999</c:v>
                </c:pt>
                <c:pt idx="3639">
                  <c:v>138.34806449999999</c:v>
                </c:pt>
                <c:pt idx="3640">
                  <c:v>138.34806449999999</c:v>
                </c:pt>
                <c:pt idx="3641">
                  <c:v>138.34806449999999</c:v>
                </c:pt>
                <c:pt idx="3642">
                  <c:v>138.34806449999999</c:v>
                </c:pt>
                <c:pt idx="3643">
                  <c:v>138.34806449999999</c:v>
                </c:pt>
                <c:pt idx="3644">
                  <c:v>138.34806449999999</c:v>
                </c:pt>
                <c:pt idx="3645">
                  <c:v>138.34806449999999</c:v>
                </c:pt>
                <c:pt idx="3646">
                  <c:v>138.27356450000002</c:v>
                </c:pt>
                <c:pt idx="3647">
                  <c:v>138.27356450000002</c:v>
                </c:pt>
                <c:pt idx="3648">
                  <c:v>138.27356450000002</c:v>
                </c:pt>
                <c:pt idx="3649">
                  <c:v>138.27356450000002</c:v>
                </c:pt>
                <c:pt idx="3650">
                  <c:v>138.27356450000002</c:v>
                </c:pt>
                <c:pt idx="3651">
                  <c:v>138.27356450000002</c:v>
                </c:pt>
                <c:pt idx="3652">
                  <c:v>135.89999450000002</c:v>
                </c:pt>
                <c:pt idx="3653">
                  <c:v>135.89999450000002</c:v>
                </c:pt>
                <c:pt idx="3654">
                  <c:v>135.89999450000002</c:v>
                </c:pt>
                <c:pt idx="3655">
                  <c:v>135.89999450000002</c:v>
                </c:pt>
                <c:pt idx="3656">
                  <c:v>135.89999450000002</c:v>
                </c:pt>
                <c:pt idx="3657">
                  <c:v>135.89999450000002</c:v>
                </c:pt>
                <c:pt idx="3658">
                  <c:v>135.89999450000002</c:v>
                </c:pt>
                <c:pt idx="3659">
                  <c:v>135.82549449999999</c:v>
                </c:pt>
                <c:pt idx="3660">
                  <c:v>135.82549449999999</c:v>
                </c:pt>
                <c:pt idx="3661">
                  <c:v>135.82549449999999</c:v>
                </c:pt>
                <c:pt idx="3662">
                  <c:v>135.75099449999999</c:v>
                </c:pt>
                <c:pt idx="3663">
                  <c:v>135.75099449999999</c:v>
                </c:pt>
                <c:pt idx="3664">
                  <c:v>135.75099449999999</c:v>
                </c:pt>
                <c:pt idx="3665">
                  <c:v>135.75099449999999</c:v>
                </c:pt>
                <c:pt idx="3666">
                  <c:v>135.75099449999999</c:v>
                </c:pt>
                <c:pt idx="3667">
                  <c:v>135.75099449999999</c:v>
                </c:pt>
                <c:pt idx="3668">
                  <c:v>135.75099449999999</c:v>
                </c:pt>
                <c:pt idx="3669">
                  <c:v>135.75099449999999</c:v>
                </c:pt>
                <c:pt idx="3670">
                  <c:v>135.75099449999999</c:v>
                </c:pt>
                <c:pt idx="3671">
                  <c:v>135.73363600000002</c:v>
                </c:pt>
                <c:pt idx="3672">
                  <c:v>135.73363600000002</c:v>
                </c:pt>
                <c:pt idx="3673">
                  <c:v>135.73363600000002</c:v>
                </c:pt>
                <c:pt idx="3674">
                  <c:v>135.67649450000002</c:v>
                </c:pt>
                <c:pt idx="3675">
                  <c:v>135.67649450000002</c:v>
                </c:pt>
                <c:pt idx="3676">
                  <c:v>135.65913599999999</c:v>
                </c:pt>
                <c:pt idx="3677">
                  <c:v>135.58463600000002</c:v>
                </c:pt>
                <c:pt idx="3678">
                  <c:v>135.58463600000002</c:v>
                </c:pt>
                <c:pt idx="3679">
                  <c:v>135.58463600000002</c:v>
                </c:pt>
                <c:pt idx="3680">
                  <c:v>135.58463600000002</c:v>
                </c:pt>
                <c:pt idx="3681">
                  <c:v>135.58463600000002</c:v>
                </c:pt>
                <c:pt idx="3682">
                  <c:v>135.58463600000002</c:v>
                </c:pt>
                <c:pt idx="3683">
                  <c:v>135.58463600000002</c:v>
                </c:pt>
                <c:pt idx="3684">
                  <c:v>135.58463600000002</c:v>
                </c:pt>
                <c:pt idx="3685">
                  <c:v>135.58463600000002</c:v>
                </c:pt>
                <c:pt idx="3686">
                  <c:v>135.58463600000002</c:v>
                </c:pt>
                <c:pt idx="3687">
                  <c:v>135.58463600000002</c:v>
                </c:pt>
                <c:pt idx="3688">
                  <c:v>135.58463600000002</c:v>
                </c:pt>
                <c:pt idx="3689">
                  <c:v>135.58463600000002</c:v>
                </c:pt>
                <c:pt idx="3690">
                  <c:v>135.58463600000002</c:v>
                </c:pt>
                <c:pt idx="3691">
                  <c:v>135.58463600000002</c:v>
                </c:pt>
                <c:pt idx="3692">
                  <c:v>135.58463600000002</c:v>
                </c:pt>
                <c:pt idx="3693">
                  <c:v>135.58463600000002</c:v>
                </c:pt>
                <c:pt idx="3694">
                  <c:v>135.51013600000002</c:v>
                </c:pt>
                <c:pt idx="3695">
                  <c:v>135.51013600000002</c:v>
                </c:pt>
                <c:pt idx="3696">
                  <c:v>135.51013600000002</c:v>
                </c:pt>
                <c:pt idx="3697">
                  <c:v>135.51013600000002</c:v>
                </c:pt>
                <c:pt idx="3698">
                  <c:v>135.43563599999999</c:v>
                </c:pt>
                <c:pt idx="3699">
                  <c:v>135.43563599999999</c:v>
                </c:pt>
                <c:pt idx="3700">
                  <c:v>135.43563599999999</c:v>
                </c:pt>
                <c:pt idx="3701">
                  <c:v>135.43563599999999</c:v>
                </c:pt>
                <c:pt idx="3702">
                  <c:v>135.43563599999999</c:v>
                </c:pt>
                <c:pt idx="3703">
                  <c:v>135.43563599999999</c:v>
                </c:pt>
                <c:pt idx="3704">
                  <c:v>135.43563599999999</c:v>
                </c:pt>
                <c:pt idx="3705">
                  <c:v>135.43563599999999</c:v>
                </c:pt>
                <c:pt idx="3706">
                  <c:v>135.43563599999999</c:v>
                </c:pt>
                <c:pt idx="3707">
                  <c:v>135.43563599999999</c:v>
                </c:pt>
                <c:pt idx="3708">
                  <c:v>135.43563599999999</c:v>
                </c:pt>
                <c:pt idx="3709">
                  <c:v>135.43563599999999</c:v>
                </c:pt>
                <c:pt idx="3710">
                  <c:v>135.43563599999999</c:v>
                </c:pt>
                <c:pt idx="3711">
                  <c:v>135.43563599999999</c:v>
                </c:pt>
                <c:pt idx="3712">
                  <c:v>135.43563599999999</c:v>
                </c:pt>
                <c:pt idx="3713">
                  <c:v>135.43563599999999</c:v>
                </c:pt>
                <c:pt idx="3714">
                  <c:v>135.43563599999999</c:v>
                </c:pt>
                <c:pt idx="3715">
                  <c:v>135.43563599999999</c:v>
                </c:pt>
                <c:pt idx="3716">
                  <c:v>135.43563599999999</c:v>
                </c:pt>
                <c:pt idx="3717">
                  <c:v>135.43563599999999</c:v>
                </c:pt>
                <c:pt idx="3718">
                  <c:v>135.43563599999999</c:v>
                </c:pt>
                <c:pt idx="3719">
                  <c:v>135.43563599999999</c:v>
                </c:pt>
                <c:pt idx="3720">
                  <c:v>135.43563599999999</c:v>
                </c:pt>
                <c:pt idx="3721">
                  <c:v>135.43563599999999</c:v>
                </c:pt>
                <c:pt idx="3722">
                  <c:v>135.43563599999999</c:v>
                </c:pt>
                <c:pt idx="3723">
                  <c:v>135.43563599999999</c:v>
                </c:pt>
                <c:pt idx="3724">
                  <c:v>135.43563599999999</c:v>
                </c:pt>
                <c:pt idx="3725">
                  <c:v>135.43563599999999</c:v>
                </c:pt>
                <c:pt idx="3726">
                  <c:v>135.43563599999999</c:v>
                </c:pt>
                <c:pt idx="3727">
                  <c:v>135.43563599999999</c:v>
                </c:pt>
                <c:pt idx="3728">
                  <c:v>135.43563599999999</c:v>
                </c:pt>
                <c:pt idx="3729">
                  <c:v>135.43563599999999</c:v>
                </c:pt>
                <c:pt idx="3730">
                  <c:v>135.43563599999999</c:v>
                </c:pt>
                <c:pt idx="3731">
                  <c:v>135.43563599999999</c:v>
                </c:pt>
                <c:pt idx="3732">
                  <c:v>135.43563599999999</c:v>
                </c:pt>
                <c:pt idx="3733">
                  <c:v>135.43563599999999</c:v>
                </c:pt>
                <c:pt idx="3734">
                  <c:v>135.43563599999999</c:v>
                </c:pt>
                <c:pt idx="3735">
                  <c:v>135.43563599999999</c:v>
                </c:pt>
                <c:pt idx="3736">
                  <c:v>135.43563599999999</c:v>
                </c:pt>
                <c:pt idx="3737">
                  <c:v>135.43563599999999</c:v>
                </c:pt>
                <c:pt idx="3738">
                  <c:v>135.43563599999999</c:v>
                </c:pt>
                <c:pt idx="3739">
                  <c:v>135.43563599999999</c:v>
                </c:pt>
                <c:pt idx="3740">
                  <c:v>135.43563599999999</c:v>
                </c:pt>
                <c:pt idx="3741">
                  <c:v>135.43563599999999</c:v>
                </c:pt>
                <c:pt idx="3742">
                  <c:v>135.43563599999999</c:v>
                </c:pt>
                <c:pt idx="3743">
                  <c:v>135.43563599999999</c:v>
                </c:pt>
                <c:pt idx="3744">
                  <c:v>135.41909700000002</c:v>
                </c:pt>
                <c:pt idx="3745">
                  <c:v>135.41909700000002</c:v>
                </c:pt>
                <c:pt idx="3746">
                  <c:v>135.36113600000002</c:v>
                </c:pt>
                <c:pt idx="3747">
                  <c:v>135.28663599999999</c:v>
                </c:pt>
                <c:pt idx="3748">
                  <c:v>135.28663599999999</c:v>
                </c:pt>
                <c:pt idx="3749">
                  <c:v>135.28663599999999</c:v>
                </c:pt>
                <c:pt idx="3750">
                  <c:v>135.28663599999999</c:v>
                </c:pt>
                <c:pt idx="3751">
                  <c:v>135.27009700000002</c:v>
                </c:pt>
                <c:pt idx="3752">
                  <c:v>132.405721</c:v>
                </c:pt>
                <c:pt idx="3753">
                  <c:v>132.405721</c:v>
                </c:pt>
                <c:pt idx="3754">
                  <c:v>132.405721</c:v>
                </c:pt>
                <c:pt idx="3755">
                  <c:v>132.405721</c:v>
                </c:pt>
                <c:pt idx="3756">
                  <c:v>132.405721</c:v>
                </c:pt>
                <c:pt idx="3757">
                  <c:v>132.405721</c:v>
                </c:pt>
                <c:pt idx="3758">
                  <c:v>132.405721</c:v>
                </c:pt>
                <c:pt idx="3759">
                  <c:v>132.405721</c:v>
                </c:pt>
                <c:pt idx="3760">
                  <c:v>132.331221</c:v>
                </c:pt>
                <c:pt idx="3761">
                  <c:v>132.331221</c:v>
                </c:pt>
                <c:pt idx="3762">
                  <c:v>132.256721</c:v>
                </c:pt>
                <c:pt idx="3763">
                  <c:v>132.256721</c:v>
                </c:pt>
                <c:pt idx="3764">
                  <c:v>132.256721</c:v>
                </c:pt>
                <c:pt idx="3765">
                  <c:v>132.256721</c:v>
                </c:pt>
                <c:pt idx="3766">
                  <c:v>132.256721</c:v>
                </c:pt>
                <c:pt idx="3767">
                  <c:v>132.256721</c:v>
                </c:pt>
                <c:pt idx="3768">
                  <c:v>132.256721</c:v>
                </c:pt>
                <c:pt idx="3769">
                  <c:v>132.256721</c:v>
                </c:pt>
                <c:pt idx="3770">
                  <c:v>132.256721</c:v>
                </c:pt>
                <c:pt idx="3771">
                  <c:v>132.256721</c:v>
                </c:pt>
                <c:pt idx="3772">
                  <c:v>132.256721</c:v>
                </c:pt>
                <c:pt idx="3773">
                  <c:v>132.256721</c:v>
                </c:pt>
                <c:pt idx="3774">
                  <c:v>132.256721</c:v>
                </c:pt>
                <c:pt idx="3775">
                  <c:v>132.256721</c:v>
                </c:pt>
                <c:pt idx="3776">
                  <c:v>132.256721</c:v>
                </c:pt>
                <c:pt idx="3777">
                  <c:v>132.256721</c:v>
                </c:pt>
                <c:pt idx="3778">
                  <c:v>132.182221</c:v>
                </c:pt>
                <c:pt idx="3779">
                  <c:v>132.107721</c:v>
                </c:pt>
                <c:pt idx="3780">
                  <c:v>132.107721</c:v>
                </c:pt>
                <c:pt idx="3781">
                  <c:v>131.84497440000001</c:v>
                </c:pt>
                <c:pt idx="3782">
                  <c:v>130.86960549999998</c:v>
                </c:pt>
                <c:pt idx="3783">
                  <c:v>130.42420724999999</c:v>
                </c:pt>
                <c:pt idx="3784">
                  <c:v>130.42410294999999</c:v>
                </c:pt>
                <c:pt idx="3785">
                  <c:v>130.1870365</c:v>
                </c:pt>
                <c:pt idx="3786">
                  <c:v>130.1870365</c:v>
                </c:pt>
                <c:pt idx="3787">
                  <c:v>130.1870365</c:v>
                </c:pt>
                <c:pt idx="3788">
                  <c:v>130.08109750000003</c:v>
                </c:pt>
                <c:pt idx="3789">
                  <c:v>130.08109750000003</c:v>
                </c:pt>
                <c:pt idx="3790">
                  <c:v>130.08109750000003</c:v>
                </c:pt>
                <c:pt idx="3791">
                  <c:v>130.0065975</c:v>
                </c:pt>
                <c:pt idx="3792">
                  <c:v>129.9635365</c:v>
                </c:pt>
                <c:pt idx="3793">
                  <c:v>129.93209750000003</c:v>
                </c:pt>
                <c:pt idx="3794">
                  <c:v>129.93209750000003</c:v>
                </c:pt>
                <c:pt idx="3795">
                  <c:v>129.93209750000003</c:v>
                </c:pt>
                <c:pt idx="3796">
                  <c:v>129.93209750000003</c:v>
                </c:pt>
                <c:pt idx="3797">
                  <c:v>129.93209750000003</c:v>
                </c:pt>
                <c:pt idx="3798">
                  <c:v>129.93209750000003</c:v>
                </c:pt>
                <c:pt idx="3799">
                  <c:v>129.93209750000003</c:v>
                </c:pt>
                <c:pt idx="3800">
                  <c:v>129.93209750000003</c:v>
                </c:pt>
                <c:pt idx="3801">
                  <c:v>129.93209750000003</c:v>
                </c:pt>
                <c:pt idx="3802">
                  <c:v>129.93209750000003</c:v>
                </c:pt>
                <c:pt idx="3803">
                  <c:v>129.93209750000003</c:v>
                </c:pt>
                <c:pt idx="3804">
                  <c:v>129.86236550000001</c:v>
                </c:pt>
                <c:pt idx="3805">
                  <c:v>129.8575975</c:v>
                </c:pt>
                <c:pt idx="3806">
                  <c:v>129.84448549999999</c:v>
                </c:pt>
                <c:pt idx="3807">
                  <c:v>129.84448549999999</c:v>
                </c:pt>
                <c:pt idx="3808">
                  <c:v>129.84448549999999</c:v>
                </c:pt>
                <c:pt idx="3809">
                  <c:v>129.8145365</c:v>
                </c:pt>
                <c:pt idx="3810">
                  <c:v>129.807906</c:v>
                </c:pt>
                <c:pt idx="3811">
                  <c:v>129.69556</c:v>
                </c:pt>
                <c:pt idx="3812">
                  <c:v>129.69556</c:v>
                </c:pt>
                <c:pt idx="3813">
                  <c:v>129.69556</c:v>
                </c:pt>
                <c:pt idx="3814">
                  <c:v>129.69556</c:v>
                </c:pt>
                <c:pt idx="3815">
                  <c:v>129.69556</c:v>
                </c:pt>
                <c:pt idx="3816">
                  <c:v>129.69556</c:v>
                </c:pt>
                <c:pt idx="3817">
                  <c:v>129.69556</c:v>
                </c:pt>
                <c:pt idx="3818">
                  <c:v>129.62106</c:v>
                </c:pt>
                <c:pt idx="3819">
                  <c:v>129.62106</c:v>
                </c:pt>
                <c:pt idx="3820">
                  <c:v>129.62106</c:v>
                </c:pt>
                <c:pt idx="3821">
                  <c:v>129.62106</c:v>
                </c:pt>
                <c:pt idx="3822">
                  <c:v>129.62106</c:v>
                </c:pt>
                <c:pt idx="3823">
                  <c:v>129.62106</c:v>
                </c:pt>
                <c:pt idx="3824">
                  <c:v>129.62106</c:v>
                </c:pt>
                <c:pt idx="3825">
                  <c:v>129.62106</c:v>
                </c:pt>
                <c:pt idx="3826">
                  <c:v>129.62106</c:v>
                </c:pt>
                <c:pt idx="3827">
                  <c:v>129.62106</c:v>
                </c:pt>
                <c:pt idx="3828">
                  <c:v>129.62106</c:v>
                </c:pt>
                <c:pt idx="3829">
                  <c:v>129.62106</c:v>
                </c:pt>
                <c:pt idx="3830">
                  <c:v>129.62106</c:v>
                </c:pt>
                <c:pt idx="3831">
                  <c:v>129.62106</c:v>
                </c:pt>
                <c:pt idx="3832">
                  <c:v>129.54656</c:v>
                </c:pt>
                <c:pt idx="3833">
                  <c:v>129.54656</c:v>
                </c:pt>
                <c:pt idx="3834">
                  <c:v>129.54656</c:v>
                </c:pt>
                <c:pt idx="3835">
                  <c:v>129.54656</c:v>
                </c:pt>
                <c:pt idx="3836">
                  <c:v>129.54656</c:v>
                </c:pt>
                <c:pt idx="3837">
                  <c:v>129.54656</c:v>
                </c:pt>
                <c:pt idx="3838">
                  <c:v>129.54656</c:v>
                </c:pt>
                <c:pt idx="3839">
                  <c:v>129.54656</c:v>
                </c:pt>
                <c:pt idx="3840">
                  <c:v>129.54656</c:v>
                </c:pt>
                <c:pt idx="3841">
                  <c:v>129.47206</c:v>
                </c:pt>
                <c:pt idx="3842">
                  <c:v>129.47206</c:v>
                </c:pt>
                <c:pt idx="3843">
                  <c:v>129.47206</c:v>
                </c:pt>
                <c:pt idx="3844">
                  <c:v>129.47206</c:v>
                </c:pt>
                <c:pt idx="3845">
                  <c:v>129.47206</c:v>
                </c:pt>
                <c:pt idx="3846">
                  <c:v>129.39756</c:v>
                </c:pt>
                <c:pt idx="3847">
                  <c:v>129.2045305</c:v>
                </c:pt>
                <c:pt idx="3848">
                  <c:v>129.2045305</c:v>
                </c:pt>
                <c:pt idx="3849">
                  <c:v>129.1300305</c:v>
                </c:pt>
                <c:pt idx="3850">
                  <c:v>129.1300305</c:v>
                </c:pt>
                <c:pt idx="3851">
                  <c:v>129.06447050000003</c:v>
                </c:pt>
                <c:pt idx="3852">
                  <c:v>129.0555305</c:v>
                </c:pt>
                <c:pt idx="3853">
                  <c:v>128.99108800000002</c:v>
                </c:pt>
                <c:pt idx="3854">
                  <c:v>128.99108800000002</c:v>
                </c:pt>
                <c:pt idx="3855">
                  <c:v>128.9899705</c:v>
                </c:pt>
                <c:pt idx="3856">
                  <c:v>128.9810305</c:v>
                </c:pt>
                <c:pt idx="3857">
                  <c:v>128.9810305</c:v>
                </c:pt>
                <c:pt idx="3858">
                  <c:v>128.9810305</c:v>
                </c:pt>
                <c:pt idx="3859">
                  <c:v>128.9810305</c:v>
                </c:pt>
                <c:pt idx="3860">
                  <c:v>128.91658799999999</c:v>
                </c:pt>
                <c:pt idx="3861">
                  <c:v>128.91658799999999</c:v>
                </c:pt>
                <c:pt idx="3862">
                  <c:v>128.91658799999999</c:v>
                </c:pt>
                <c:pt idx="3863">
                  <c:v>128.91658799999999</c:v>
                </c:pt>
                <c:pt idx="3864">
                  <c:v>128.91658799999999</c:v>
                </c:pt>
                <c:pt idx="3865">
                  <c:v>128.91658799999999</c:v>
                </c:pt>
                <c:pt idx="3866">
                  <c:v>128.91658799999999</c:v>
                </c:pt>
                <c:pt idx="3867">
                  <c:v>128.91658799999999</c:v>
                </c:pt>
                <c:pt idx="3868">
                  <c:v>128.9154705</c:v>
                </c:pt>
                <c:pt idx="3869">
                  <c:v>128.84208799999999</c:v>
                </c:pt>
                <c:pt idx="3870">
                  <c:v>128.84208799999999</c:v>
                </c:pt>
                <c:pt idx="3871">
                  <c:v>128.84208799999999</c:v>
                </c:pt>
                <c:pt idx="3872">
                  <c:v>128.84208799999999</c:v>
                </c:pt>
                <c:pt idx="3873">
                  <c:v>128.84208799999999</c:v>
                </c:pt>
                <c:pt idx="3874">
                  <c:v>128.84208799999999</c:v>
                </c:pt>
                <c:pt idx="3875">
                  <c:v>128.8409705</c:v>
                </c:pt>
                <c:pt idx="3876">
                  <c:v>128.8409705</c:v>
                </c:pt>
                <c:pt idx="3877">
                  <c:v>128.8409705</c:v>
                </c:pt>
                <c:pt idx="3878">
                  <c:v>128.8409705</c:v>
                </c:pt>
                <c:pt idx="3879">
                  <c:v>128.8409705</c:v>
                </c:pt>
                <c:pt idx="3880">
                  <c:v>128.8409705</c:v>
                </c:pt>
                <c:pt idx="3881">
                  <c:v>128.76758800000002</c:v>
                </c:pt>
                <c:pt idx="3882">
                  <c:v>128.7664705</c:v>
                </c:pt>
                <c:pt idx="3883">
                  <c:v>128.7664705</c:v>
                </c:pt>
                <c:pt idx="3884">
                  <c:v>128.7664705</c:v>
                </c:pt>
                <c:pt idx="3885">
                  <c:v>128.7664705</c:v>
                </c:pt>
                <c:pt idx="3886">
                  <c:v>128.7664705</c:v>
                </c:pt>
                <c:pt idx="3887">
                  <c:v>128.7664705</c:v>
                </c:pt>
                <c:pt idx="3888">
                  <c:v>128.7664705</c:v>
                </c:pt>
                <c:pt idx="3889">
                  <c:v>128.7664705</c:v>
                </c:pt>
                <c:pt idx="3890">
                  <c:v>128.6174705</c:v>
                </c:pt>
                <c:pt idx="3891">
                  <c:v>128.6174705</c:v>
                </c:pt>
                <c:pt idx="3892">
                  <c:v>128.54408799999999</c:v>
                </c:pt>
                <c:pt idx="3893">
                  <c:v>127.87023549999999</c:v>
                </c:pt>
                <c:pt idx="3894">
                  <c:v>127.64673550000001</c:v>
                </c:pt>
                <c:pt idx="3895">
                  <c:v>127.57223550000001</c:v>
                </c:pt>
                <c:pt idx="3896">
                  <c:v>127.53506</c:v>
                </c:pt>
                <c:pt idx="3897">
                  <c:v>127.53506</c:v>
                </c:pt>
                <c:pt idx="3898">
                  <c:v>127.53506</c:v>
                </c:pt>
                <c:pt idx="3899">
                  <c:v>127.53506</c:v>
                </c:pt>
                <c:pt idx="3900">
                  <c:v>127.53506</c:v>
                </c:pt>
                <c:pt idx="3901">
                  <c:v>127.26186849999999</c:v>
                </c:pt>
                <c:pt idx="3902">
                  <c:v>127.26186849999999</c:v>
                </c:pt>
                <c:pt idx="3903">
                  <c:v>127.26186849999999</c:v>
                </c:pt>
                <c:pt idx="3904">
                  <c:v>127.03836849999999</c:v>
                </c:pt>
                <c:pt idx="3905">
                  <c:v>127.03836849999999</c:v>
                </c:pt>
                <c:pt idx="3906">
                  <c:v>127.03836849999999</c:v>
                </c:pt>
                <c:pt idx="3907">
                  <c:v>127.03836849999999</c:v>
                </c:pt>
                <c:pt idx="3908">
                  <c:v>127.03836849999999</c:v>
                </c:pt>
                <c:pt idx="3909">
                  <c:v>127.03836849999999</c:v>
                </c:pt>
                <c:pt idx="3910">
                  <c:v>127.03836849999999</c:v>
                </c:pt>
                <c:pt idx="3911">
                  <c:v>127.03836849999999</c:v>
                </c:pt>
                <c:pt idx="3912">
                  <c:v>126.53422699999999</c:v>
                </c:pt>
                <c:pt idx="3913">
                  <c:v>126.20501150000001</c:v>
                </c:pt>
                <c:pt idx="3914">
                  <c:v>126.1305413</c:v>
                </c:pt>
                <c:pt idx="3915">
                  <c:v>126.1305115</c:v>
                </c:pt>
                <c:pt idx="3916">
                  <c:v>126.1305115</c:v>
                </c:pt>
                <c:pt idx="3917">
                  <c:v>126.1305115</c:v>
                </c:pt>
                <c:pt idx="3918">
                  <c:v>126.1305115</c:v>
                </c:pt>
                <c:pt idx="3919">
                  <c:v>126.1305115</c:v>
                </c:pt>
                <c:pt idx="3920">
                  <c:v>126.1305115</c:v>
                </c:pt>
                <c:pt idx="3921">
                  <c:v>126.1305115</c:v>
                </c:pt>
                <c:pt idx="3922">
                  <c:v>126.1305115</c:v>
                </c:pt>
                <c:pt idx="3923">
                  <c:v>126.0560115</c:v>
                </c:pt>
                <c:pt idx="3924">
                  <c:v>126.0560115</c:v>
                </c:pt>
                <c:pt idx="3925">
                  <c:v>126.0560115</c:v>
                </c:pt>
                <c:pt idx="3926">
                  <c:v>126.0560115</c:v>
                </c:pt>
                <c:pt idx="3927">
                  <c:v>126.0560115</c:v>
                </c:pt>
                <c:pt idx="3928">
                  <c:v>126.0560115</c:v>
                </c:pt>
                <c:pt idx="3929">
                  <c:v>126.0560115</c:v>
                </c:pt>
                <c:pt idx="3930">
                  <c:v>126.0560115</c:v>
                </c:pt>
                <c:pt idx="3931">
                  <c:v>126.0560115</c:v>
                </c:pt>
                <c:pt idx="3932">
                  <c:v>126.0560115</c:v>
                </c:pt>
                <c:pt idx="3933">
                  <c:v>126.0560115</c:v>
                </c:pt>
                <c:pt idx="3934">
                  <c:v>126.0560115</c:v>
                </c:pt>
                <c:pt idx="3935">
                  <c:v>126.0560115</c:v>
                </c:pt>
                <c:pt idx="3936">
                  <c:v>126.0560115</c:v>
                </c:pt>
                <c:pt idx="3937">
                  <c:v>126.0560115</c:v>
                </c:pt>
                <c:pt idx="3938">
                  <c:v>126.0560115</c:v>
                </c:pt>
                <c:pt idx="3939">
                  <c:v>126.0560115</c:v>
                </c:pt>
                <c:pt idx="3940">
                  <c:v>126.0560115</c:v>
                </c:pt>
                <c:pt idx="3941">
                  <c:v>126.0560115</c:v>
                </c:pt>
                <c:pt idx="3942">
                  <c:v>126.0560115</c:v>
                </c:pt>
                <c:pt idx="3943">
                  <c:v>126.0560115</c:v>
                </c:pt>
                <c:pt idx="3944">
                  <c:v>126.0560115</c:v>
                </c:pt>
                <c:pt idx="3945">
                  <c:v>126.0560115</c:v>
                </c:pt>
                <c:pt idx="3946">
                  <c:v>126.0560115</c:v>
                </c:pt>
                <c:pt idx="3947">
                  <c:v>126.0560115</c:v>
                </c:pt>
                <c:pt idx="3948">
                  <c:v>126.0560115</c:v>
                </c:pt>
                <c:pt idx="3949">
                  <c:v>126.054894</c:v>
                </c:pt>
                <c:pt idx="3950">
                  <c:v>126.054894</c:v>
                </c:pt>
                <c:pt idx="3951">
                  <c:v>125.98151150000001</c:v>
                </c:pt>
                <c:pt idx="3952">
                  <c:v>125.98151150000001</c:v>
                </c:pt>
                <c:pt idx="3953">
                  <c:v>125.98151150000001</c:v>
                </c:pt>
                <c:pt idx="3954">
                  <c:v>125.98151150000001</c:v>
                </c:pt>
                <c:pt idx="3955">
                  <c:v>125.98151150000001</c:v>
                </c:pt>
                <c:pt idx="3956">
                  <c:v>125.98151150000001</c:v>
                </c:pt>
                <c:pt idx="3957">
                  <c:v>125.98151150000001</c:v>
                </c:pt>
                <c:pt idx="3958">
                  <c:v>125.98151150000001</c:v>
                </c:pt>
                <c:pt idx="3959">
                  <c:v>125.98151150000001</c:v>
                </c:pt>
                <c:pt idx="3960">
                  <c:v>125.98151150000001</c:v>
                </c:pt>
                <c:pt idx="3961">
                  <c:v>125.98151150000001</c:v>
                </c:pt>
                <c:pt idx="3962">
                  <c:v>125.98151150000001</c:v>
                </c:pt>
                <c:pt idx="3963">
                  <c:v>125.9605025</c:v>
                </c:pt>
                <c:pt idx="3964">
                  <c:v>125.9070115</c:v>
                </c:pt>
                <c:pt idx="3965">
                  <c:v>125.9070115</c:v>
                </c:pt>
                <c:pt idx="3966">
                  <c:v>125.9070115</c:v>
                </c:pt>
                <c:pt idx="3967">
                  <c:v>125.9070115</c:v>
                </c:pt>
                <c:pt idx="3968">
                  <c:v>125.9070115</c:v>
                </c:pt>
                <c:pt idx="3969">
                  <c:v>125.9070115</c:v>
                </c:pt>
                <c:pt idx="3970">
                  <c:v>125.9070115</c:v>
                </c:pt>
                <c:pt idx="3971">
                  <c:v>125.9070115</c:v>
                </c:pt>
                <c:pt idx="3972">
                  <c:v>125.9070115</c:v>
                </c:pt>
                <c:pt idx="3973">
                  <c:v>125.9070115</c:v>
                </c:pt>
                <c:pt idx="3974">
                  <c:v>125.83251150000001</c:v>
                </c:pt>
                <c:pt idx="3975">
                  <c:v>125.83251150000001</c:v>
                </c:pt>
                <c:pt idx="3976">
                  <c:v>125.83251150000001</c:v>
                </c:pt>
                <c:pt idx="3977">
                  <c:v>125.83251150000001</c:v>
                </c:pt>
                <c:pt idx="3978">
                  <c:v>125.83251150000001</c:v>
                </c:pt>
                <c:pt idx="3979">
                  <c:v>125.83251150000001</c:v>
                </c:pt>
                <c:pt idx="3980">
                  <c:v>125.83251150000001</c:v>
                </c:pt>
                <c:pt idx="3981">
                  <c:v>125.81150250000002</c:v>
                </c:pt>
                <c:pt idx="3982">
                  <c:v>125.68351150000001</c:v>
                </c:pt>
                <c:pt idx="3983">
                  <c:v>125.68351150000001</c:v>
                </c:pt>
                <c:pt idx="3984">
                  <c:v>125.68351150000001</c:v>
                </c:pt>
                <c:pt idx="3985">
                  <c:v>125.3645025</c:v>
                </c:pt>
                <c:pt idx="3986">
                  <c:v>124.58031550000001</c:v>
                </c:pt>
                <c:pt idx="3987">
                  <c:v>124.58031550000001</c:v>
                </c:pt>
                <c:pt idx="3988">
                  <c:v>124.58031550000001</c:v>
                </c:pt>
                <c:pt idx="3989">
                  <c:v>124.5058155</c:v>
                </c:pt>
                <c:pt idx="3990">
                  <c:v>124.43131550000001</c:v>
                </c:pt>
                <c:pt idx="3991">
                  <c:v>124.43131550000001</c:v>
                </c:pt>
                <c:pt idx="3992">
                  <c:v>124.43131550000001</c:v>
                </c:pt>
                <c:pt idx="3993">
                  <c:v>124.43131550000001</c:v>
                </c:pt>
                <c:pt idx="3994">
                  <c:v>124.43131550000001</c:v>
                </c:pt>
                <c:pt idx="3995">
                  <c:v>124.43131550000001</c:v>
                </c:pt>
                <c:pt idx="3996">
                  <c:v>124.43131550000001</c:v>
                </c:pt>
                <c:pt idx="3997">
                  <c:v>124.43131550000001</c:v>
                </c:pt>
                <c:pt idx="3998">
                  <c:v>124.2823155</c:v>
                </c:pt>
                <c:pt idx="3999">
                  <c:v>123.51362450000001</c:v>
                </c:pt>
                <c:pt idx="4000">
                  <c:v>123.51362450000001</c:v>
                </c:pt>
                <c:pt idx="4001">
                  <c:v>123.51362450000001</c:v>
                </c:pt>
                <c:pt idx="4002">
                  <c:v>122.24295249999999</c:v>
                </c:pt>
                <c:pt idx="4003">
                  <c:v>122.24295249999999</c:v>
                </c:pt>
                <c:pt idx="4004">
                  <c:v>121.81755750000001</c:v>
                </c:pt>
                <c:pt idx="4005">
                  <c:v>121.81755750000001</c:v>
                </c:pt>
                <c:pt idx="4006">
                  <c:v>121.81755750000001</c:v>
                </c:pt>
                <c:pt idx="4007">
                  <c:v>121.81755750000001</c:v>
                </c:pt>
                <c:pt idx="4008">
                  <c:v>121.74305749999999</c:v>
                </c:pt>
                <c:pt idx="4009">
                  <c:v>121.74305749999999</c:v>
                </c:pt>
                <c:pt idx="4010">
                  <c:v>121.74305749999999</c:v>
                </c:pt>
                <c:pt idx="4011">
                  <c:v>121.74305749999999</c:v>
                </c:pt>
                <c:pt idx="4012">
                  <c:v>121.61640749999999</c:v>
                </c:pt>
                <c:pt idx="4013">
                  <c:v>120.01778650000001</c:v>
                </c:pt>
                <c:pt idx="4014">
                  <c:v>119.86886100000001</c:v>
                </c:pt>
                <c:pt idx="4015">
                  <c:v>119.86886100000001</c:v>
                </c:pt>
                <c:pt idx="4016">
                  <c:v>119.86886100000001</c:v>
                </c:pt>
                <c:pt idx="4017">
                  <c:v>119.86886100000001</c:v>
                </c:pt>
                <c:pt idx="4018">
                  <c:v>119.86886100000001</c:v>
                </c:pt>
                <c:pt idx="4019">
                  <c:v>119.86886100000001</c:v>
                </c:pt>
                <c:pt idx="4020">
                  <c:v>119.86886100000001</c:v>
                </c:pt>
                <c:pt idx="4021">
                  <c:v>119.86886100000001</c:v>
                </c:pt>
                <c:pt idx="4022">
                  <c:v>119.86886100000001</c:v>
                </c:pt>
                <c:pt idx="4023">
                  <c:v>119.86886100000001</c:v>
                </c:pt>
                <c:pt idx="4024">
                  <c:v>119.86886100000001</c:v>
                </c:pt>
                <c:pt idx="4025">
                  <c:v>119.86886100000001</c:v>
                </c:pt>
                <c:pt idx="4026">
                  <c:v>119.86886100000001</c:v>
                </c:pt>
                <c:pt idx="4027">
                  <c:v>119.86886100000001</c:v>
                </c:pt>
                <c:pt idx="4028">
                  <c:v>119.7942865</c:v>
                </c:pt>
                <c:pt idx="4029">
                  <c:v>119.7942865</c:v>
                </c:pt>
                <c:pt idx="4030">
                  <c:v>119.7942865</c:v>
                </c:pt>
                <c:pt idx="4031">
                  <c:v>119.7942865</c:v>
                </c:pt>
                <c:pt idx="4032">
                  <c:v>119.71978649999998</c:v>
                </c:pt>
                <c:pt idx="4033">
                  <c:v>119.71978649999998</c:v>
                </c:pt>
                <c:pt idx="4034">
                  <c:v>119.71978649999998</c:v>
                </c:pt>
                <c:pt idx="4035">
                  <c:v>119.71978649999998</c:v>
                </c:pt>
                <c:pt idx="4036">
                  <c:v>119.71978649999998</c:v>
                </c:pt>
                <c:pt idx="4037">
                  <c:v>119.71978649999998</c:v>
                </c:pt>
                <c:pt idx="4038">
                  <c:v>119.71978649999998</c:v>
                </c:pt>
                <c:pt idx="4039">
                  <c:v>119.71978649999998</c:v>
                </c:pt>
                <c:pt idx="4040">
                  <c:v>119.71978649999998</c:v>
                </c:pt>
                <c:pt idx="4041">
                  <c:v>119.71978649999998</c:v>
                </c:pt>
                <c:pt idx="4042">
                  <c:v>119.71978649999998</c:v>
                </c:pt>
                <c:pt idx="4043">
                  <c:v>119.64528650000001</c:v>
                </c:pt>
                <c:pt idx="4044">
                  <c:v>119.64528650000001</c:v>
                </c:pt>
                <c:pt idx="4045">
                  <c:v>119.64528650000001</c:v>
                </c:pt>
                <c:pt idx="4046">
                  <c:v>119.64528650000001</c:v>
                </c:pt>
                <c:pt idx="4047">
                  <c:v>119.64528650000001</c:v>
                </c:pt>
                <c:pt idx="4048">
                  <c:v>119.62047799999999</c:v>
                </c:pt>
                <c:pt idx="4049">
                  <c:v>119.62047799999999</c:v>
                </c:pt>
                <c:pt idx="4050">
                  <c:v>119.5707865</c:v>
                </c:pt>
                <c:pt idx="4051">
                  <c:v>119.49628650000001</c:v>
                </c:pt>
                <c:pt idx="4052">
                  <c:v>119.49628650000001</c:v>
                </c:pt>
                <c:pt idx="4053">
                  <c:v>119.49628650000001</c:v>
                </c:pt>
                <c:pt idx="4054">
                  <c:v>119.49628650000001</c:v>
                </c:pt>
                <c:pt idx="4055">
                  <c:v>119.34728650000001</c:v>
                </c:pt>
                <c:pt idx="4056">
                  <c:v>119.34728650000001</c:v>
                </c:pt>
                <c:pt idx="4057">
                  <c:v>119.34728650000001</c:v>
                </c:pt>
                <c:pt idx="4058">
                  <c:v>118.75665050000001</c:v>
                </c:pt>
                <c:pt idx="4059">
                  <c:v>118.75665050000001</c:v>
                </c:pt>
                <c:pt idx="4060">
                  <c:v>118.66047100000002</c:v>
                </c:pt>
                <c:pt idx="4061">
                  <c:v>118.66047100000002</c:v>
                </c:pt>
                <c:pt idx="4062">
                  <c:v>118.60765049999999</c:v>
                </c:pt>
                <c:pt idx="4063">
                  <c:v>118.511471</c:v>
                </c:pt>
                <c:pt idx="4064">
                  <c:v>118.362471</c:v>
                </c:pt>
                <c:pt idx="4065">
                  <c:v>118.213471</c:v>
                </c:pt>
                <c:pt idx="4066">
                  <c:v>117.3061355</c:v>
                </c:pt>
                <c:pt idx="4067">
                  <c:v>117.3061355</c:v>
                </c:pt>
                <c:pt idx="4068">
                  <c:v>117.22336600000001</c:v>
                </c:pt>
                <c:pt idx="4069">
                  <c:v>117.2150965</c:v>
                </c:pt>
                <c:pt idx="4070">
                  <c:v>117.19028800000001</c:v>
                </c:pt>
                <c:pt idx="4071">
                  <c:v>117.19028800000001</c:v>
                </c:pt>
                <c:pt idx="4072">
                  <c:v>117.19028800000001</c:v>
                </c:pt>
                <c:pt idx="4073">
                  <c:v>117.11578800000001</c:v>
                </c:pt>
                <c:pt idx="4074">
                  <c:v>117.11578800000001</c:v>
                </c:pt>
                <c:pt idx="4075">
                  <c:v>117.057827</c:v>
                </c:pt>
                <c:pt idx="4076">
                  <c:v>117.05780465000001</c:v>
                </c:pt>
                <c:pt idx="4077">
                  <c:v>117.04128800000001</c:v>
                </c:pt>
                <c:pt idx="4078">
                  <c:v>117.04128800000001</c:v>
                </c:pt>
                <c:pt idx="4079">
                  <c:v>117.04128800000001</c:v>
                </c:pt>
                <c:pt idx="4080">
                  <c:v>116.983327</c:v>
                </c:pt>
                <c:pt idx="4081">
                  <c:v>116.983327</c:v>
                </c:pt>
                <c:pt idx="4082">
                  <c:v>116.983327</c:v>
                </c:pt>
                <c:pt idx="4083">
                  <c:v>116.96678800000001</c:v>
                </c:pt>
                <c:pt idx="4084">
                  <c:v>116.96678800000001</c:v>
                </c:pt>
                <c:pt idx="4085">
                  <c:v>116.96678800000001</c:v>
                </c:pt>
                <c:pt idx="4086">
                  <c:v>116.96678800000001</c:v>
                </c:pt>
                <c:pt idx="4087">
                  <c:v>116.96678800000001</c:v>
                </c:pt>
                <c:pt idx="4088">
                  <c:v>116.93885050000002</c:v>
                </c:pt>
                <c:pt idx="4089">
                  <c:v>116.9314005</c:v>
                </c:pt>
                <c:pt idx="4090">
                  <c:v>116.89228799999999</c:v>
                </c:pt>
                <c:pt idx="4091">
                  <c:v>116.89228799999999</c:v>
                </c:pt>
                <c:pt idx="4092">
                  <c:v>116.81778799999999</c:v>
                </c:pt>
                <c:pt idx="4093">
                  <c:v>116.81778799999999</c:v>
                </c:pt>
                <c:pt idx="4094">
                  <c:v>116.81778799999999</c:v>
                </c:pt>
                <c:pt idx="4095">
                  <c:v>116.81778799999999</c:v>
                </c:pt>
                <c:pt idx="4096">
                  <c:v>116.81778799999999</c:v>
                </c:pt>
                <c:pt idx="4097">
                  <c:v>116.81778799999999</c:v>
                </c:pt>
                <c:pt idx="4098">
                  <c:v>116.81778799999999</c:v>
                </c:pt>
                <c:pt idx="4099">
                  <c:v>116.81778799999999</c:v>
                </c:pt>
                <c:pt idx="4100">
                  <c:v>116.81778799999999</c:v>
                </c:pt>
                <c:pt idx="4101">
                  <c:v>116.81778799999999</c:v>
                </c:pt>
                <c:pt idx="4102">
                  <c:v>116.809444</c:v>
                </c:pt>
                <c:pt idx="4103">
                  <c:v>116.809444</c:v>
                </c:pt>
                <c:pt idx="4104">
                  <c:v>116.809444</c:v>
                </c:pt>
                <c:pt idx="4105">
                  <c:v>116.78463549999999</c:v>
                </c:pt>
                <c:pt idx="4106">
                  <c:v>116.7515575</c:v>
                </c:pt>
                <c:pt idx="4107">
                  <c:v>116.74328800000001</c:v>
                </c:pt>
                <c:pt idx="4108">
                  <c:v>116.74328800000001</c:v>
                </c:pt>
                <c:pt idx="4109">
                  <c:v>116.718405</c:v>
                </c:pt>
                <c:pt idx="4110">
                  <c:v>116.03240900000002</c:v>
                </c:pt>
                <c:pt idx="4111">
                  <c:v>114.77410400000001</c:v>
                </c:pt>
                <c:pt idx="4112">
                  <c:v>114.77410400000001</c:v>
                </c:pt>
                <c:pt idx="4113">
                  <c:v>114.77410400000001</c:v>
                </c:pt>
                <c:pt idx="4114">
                  <c:v>114.77410400000001</c:v>
                </c:pt>
                <c:pt idx="4115">
                  <c:v>114.56840950000002</c:v>
                </c:pt>
                <c:pt idx="4116">
                  <c:v>113.26242450000001</c:v>
                </c:pt>
                <c:pt idx="4117">
                  <c:v>112.786146</c:v>
                </c:pt>
                <c:pt idx="4118">
                  <c:v>112.786146</c:v>
                </c:pt>
                <c:pt idx="4119">
                  <c:v>112.786146</c:v>
                </c:pt>
                <c:pt idx="4120">
                  <c:v>111.79023000000001</c:v>
                </c:pt>
                <c:pt idx="4121">
                  <c:v>111.6018195</c:v>
                </c:pt>
                <c:pt idx="4122">
                  <c:v>111.1548195</c:v>
                </c:pt>
                <c:pt idx="4123">
                  <c:v>111.1548195</c:v>
                </c:pt>
                <c:pt idx="4124">
                  <c:v>111.1548195</c:v>
                </c:pt>
                <c:pt idx="4125">
                  <c:v>111.1548195</c:v>
                </c:pt>
                <c:pt idx="4126">
                  <c:v>111.1548195</c:v>
                </c:pt>
                <c:pt idx="4127">
                  <c:v>111.0803195</c:v>
                </c:pt>
                <c:pt idx="4128">
                  <c:v>111.0803195</c:v>
                </c:pt>
                <c:pt idx="4129">
                  <c:v>111.0803195</c:v>
                </c:pt>
                <c:pt idx="4130">
                  <c:v>111.0803195</c:v>
                </c:pt>
                <c:pt idx="4131">
                  <c:v>111.0803195</c:v>
                </c:pt>
                <c:pt idx="4132">
                  <c:v>111.0803195</c:v>
                </c:pt>
                <c:pt idx="4133">
                  <c:v>111.0058195</c:v>
                </c:pt>
                <c:pt idx="4134">
                  <c:v>111.0058195</c:v>
                </c:pt>
                <c:pt idx="4135">
                  <c:v>111.0058195</c:v>
                </c:pt>
                <c:pt idx="4136">
                  <c:v>111.0058195</c:v>
                </c:pt>
                <c:pt idx="4137">
                  <c:v>111.0058195</c:v>
                </c:pt>
                <c:pt idx="4138">
                  <c:v>111.0058195</c:v>
                </c:pt>
                <c:pt idx="4139">
                  <c:v>110.9313195</c:v>
                </c:pt>
                <c:pt idx="4140">
                  <c:v>110.9313195</c:v>
                </c:pt>
                <c:pt idx="4141">
                  <c:v>110.9313195</c:v>
                </c:pt>
                <c:pt idx="4142">
                  <c:v>110.9313195</c:v>
                </c:pt>
                <c:pt idx="4143">
                  <c:v>110.89687070000001</c:v>
                </c:pt>
                <c:pt idx="4144">
                  <c:v>110.8568195</c:v>
                </c:pt>
                <c:pt idx="4145">
                  <c:v>110.8568195</c:v>
                </c:pt>
                <c:pt idx="4146">
                  <c:v>110.8568195</c:v>
                </c:pt>
                <c:pt idx="4147">
                  <c:v>110.8568195</c:v>
                </c:pt>
                <c:pt idx="4148">
                  <c:v>110.8568195</c:v>
                </c:pt>
                <c:pt idx="4149">
                  <c:v>110.8568195</c:v>
                </c:pt>
                <c:pt idx="4150">
                  <c:v>110.792973</c:v>
                </c:pt>
                <c:pt idx="4151">
                  <c:v>110.7823195</c:v>
                </c:pt>
                <c:pt idx="4152">
                  <c:v>110.7823195</c:v>
                </c:pt>
                <c:pt idx="4153">
                  <c:v>110.7823195</c:v>
                </c:pt>
                <c:pt idx="4154">
                  <c:v>110.7823195</c:v>
                </c:pt>
                <c:pt idx="4155">
                  <c:v>110.72249600000001</c:v>
                </c:pt>
                <c:pt idx="4156">
                  <c:v>110.66505649999999</c:v>
                </c:pt>
                <c:pt idx="4157">
                  <c:v>110.63331950000001</c:v>
                </c:pt>
                <c:pt idx="4158">
                  <c:v>110.51568400000001</c:v>
                </c:pt>
                <c:pt idx="4159">
                  <c:v>110.51568400000001</c:v>
                </c:pt>
                <c:pt idx="4160">
                  <c:v>110.49899600000001</c:v>
                </c:pt>
                <c:pt idx="4161">
                  <c:v>110.49899600000001</c:v>
                </c:pt>
                <c:pt idx="4162">
                  <c:v>110.44118400000001</c:v>
                </c:pt>
                <c:pt idx="4163">
                  <c:v>110.2250595</c:v>
                </c:pt>
                <c:pt idx="4164">
                  <c:v>110.2250595</c:v>
                </c:pt>
                <c:pt idx="4165">
                  <c:v>110.2250595</c:v>
                </c:pt>
                <c:pt idx="4166">
                  <c:v>110.15055950000001</c:v>
                </c:pt>
                <c:pt idx="4167">
                  <c:v>110.15055950000001</c:v>
                </c:pt>
                <c:pt idx="4168">
                  <c:v>110.15055950000001</c:v>
                </c:pt>
                <c:pt idx="4169">
                  <c:v>110.0878305</c:v>
                </c:pt>
                <c:pt idx="4170">
                  <c:v>110.0878305</c:v>
                </c:pt>
                <c:pt idx="4171">
                  <c:v>110.0878305</c:v>
                </c:pt>
                <c:pt idx="4172">
                  <c:v>110.0760595</c:v>
                </c:pt>
                <c:pt idx="4173">
                  <c:v>110.0760595</c:v>
                </c:pt>
                <c:pt idx="4174">
                  <c:v>110.0760595</c:v>
                </c:pt>
                <c:pt idx="4175">
                  <c:v>110.0760595</c:v>
                </c:pt>
                <c:pt idx="4176">
                  <c:v>109.9270595</c:v>
                </c:pt>
                <c:pt idx="4177">
                  <c:v>109.7129465</c:v>
                </c:pt>
                <c:pt idx="4178">
                  <c:v>109.05421749999999</c:v>
                </c:pt>
                <c:pt idx="4179">
                  <c:v>109.05421749999999</c:v>
                </c:pt>
                <c:pt idx="4180">
                  <c:v>109.05421749999999</c:v>
                </c:pt>
                <c:pt idx="4181">
                  <c:v>108.97971750000001</c:v>
                </c:pt>
                <c:pt idx="4182">
                  <c:v>108.97971750000001</c:v>
                </c:pt>
                <c:pt idx="4183">
                  <c:v>108.97971750000001</c:v>
                </c:pt>
                <c:pt idx="4184">
                  <c:v>108.97971750000001</c:v>
                </c:pt>
                <c:pt idx="4185">
                  <c:v>108.97971750000001</c:v>
                </c:pt>
                <c:pt idx="4186">
                  <c:v>108.9622845</c:v>
                </c:pt>
                <c:pt idx="4187">
                  <c:v>108.90521750000001</c:v>
                </c:pt>
                <c:pt idx="4188">
                  <c:v>108.90521750000001</c:v>
                </c:pt>
                <c:pt idx="4189">
                  <c:v>108.90521750000001</c:v>
                </c:pt>
                <c:pt idx="4190">
                  <c:v>108.90521750000001</c:v>
                </c:pt>
                <c:pt idx="4191">
                  <c:v>108.8877845</c:v>
                </c:pt>
                <c:pt idx="4192">
                  <c:v>108.83071750000001</c:v>
                </c:pt>
                <c:pt idx="4193">
                  <c:v>108.83071750000001</c:v>
                </c:pt>
                <c:pt idx="4194">
                  <c:v>108.83071750000001</c:v>
                </c:pt>
                <c:pt idx="4195">
                  <c:v>108.83071750000001</c:v>
                </c:pt>
                <c:pt idx="4196">
                  <c:v>108.81328450000001</c:v>
                </c:pt>
                <c:pt idx="4197">
                  <c:v>108.80764485</c:v>
                </c:pt>
                <c:pt idx="4198">
                  <c:v>108.80754800000001</c:v>
                </c:pt>
                <c:pt idx="4199">
                  <c:v>108.80754800000001</c:v>
                </c:pt>
                <c:pt idx="4200">
                  <c:v>108.80754800000001</c:v>
                </c:pt>
                <c:pt idx="4201">
                  <c:v>108.80754800000001</c:v>
                </c:pt>
                <c:pt idx="4202">
                  <c:v>108.80754800000001</c:v>
                </c:pt>
                <c:pt idx="4203">
                  <c:v>108.80754800000001</c:v>
                </c:pt>
                <c:pt idx="4204">
                  <c:v>108.5327175</c:v>
                </c:pt>
                <c:pt idx="4205">
                  <c:v>106.0350305</c:v>
                </c:pt>
                <c:pt idx="4206">
                  <c:v>105.7990145</c:v>
                </c:pt>
                <c:pt idx="4207">
                  <c:v>105.7245145</c:v>
                </c:pt>
                <c:pt idx="4208">
                  <c:v>105.7245145</c:v>
                </c:pt>
                <c:pt idx="4209">
                  <c:v>105.7245145</c:v>
                </c:pt>
                <c:pt idx="4210">
                  <c:v>105.7245145</c:v>
                </c:pt>
                <c:pt idx="4211">
                  <c:v>105.7245145</c:v>
                </c:pt>
                <c:pt idx="4212">
                  <c:v>105.7245145</c:v>
                </c:pt>
                <c:pt idx="4213">
                  <c:v>105.7245145</c:v>
                </c:pt>
                <c:pt idx="4214">
                  <c:v>105.7245145</c:v>
                </c:pt>
                <c:pt idx="4215">
                  <c:v>105.7245145</c:v>
                </c:pt>
                <c:pt idx="4216">
                  <c:v>105.7245145</c:v>
                </c:pt>
                <c:pt idx="4217">
                  <c:v>105.6500145</c:v>
                </c:pt>
                <c:pt idx="4218">
                  <c:v>105.6500145</c:v>
                </c:pt>
                <c:pt idx="4219">
                  <c:v>105.6500145</c:v>
                </c:pt>
                <c:pt idx="4220">
                  <c:v>105.6500145</c:v>
                </c:pt>
                <c:pt idx="4221">
                  <c:v>105.6500145</c:v>
                </c:pt>
                <c:pt idx="4222">
                  <c:v>105.6500145</c:v>
                </c:pt>
                <c:pt idx="4223">
                  <c:v>105.6127645</c:v>
                </c:pt>
                <c:pt idx="4224">
                  <c:v>105.57551450000001</c:v>
                </c:pt>
                <c:pt idx="4225">
                  <c:v>105.57551450000001</c:v>
                </c:pt>
                <c:pt idx="4226">
                  <c:v>105.57551450000001</c:v>
                </c:pt>
                <c:pt idx="4227">
                  <c:v>105.57551450000001</c:v>
                </c:pt>
                <c:pt idx="4228">
                  <c:v>105.57551450000001</c:v>
                </c:pt>
                <c:pt idx="4229">
                  <c:v>105.57551450000001</c:v>
                </c:pt>
                <c:pt idx="4230">
                  <c:v>105.57551450000001</c:v>
                </c:pt>
                <c:pt idx="4231">
                  <c:v>105.57551450000001</c:v>
                </c:pt>
                <c:pt idx="4232">
                  <c:v>105.57551450000001</c:v>
                </c:pt>
                <c:pt idx="4233">
                  <c:v>105.57551450000001</c:v>
                </c:pt>
                <c:pt idx="4234">
                  <c:v>105.57551450000001</c:v>
                </c:pt>
                <c:pt idx="4235">
                  <c:v>105.57551450000001</c:v>
                </c:pt>
                <c:pt idx="4236">
                  <c:v>105.57551450000001</c:v>
                </c:pt>
                <c:pt idx="4237">
                  <c:v>105.57551450000001</c:v>
                </c:pt>
                <c:pt idx="4238">
                  <c:v>105.57551450000001</c:v>
                </c:pt>
                <c:pt idx="4239">
                  <c:v>105.57551450000001</c:v>
                </c:pt>
                <c:pt idx="4240">
                  <c:v>105.57551450000001</c:v>
                </c:pt>
                <c:pt idx="4241">
                  <c:v>105.57551450000001</c:v>
                </c:pt>
                <c:pt idx="4242">
                  <c:v>105.57551450000001</c:v>
                </c:pt>
                <c:pt idx="4243">
                  <c:v>105.57551450000001</c:v>
                </c:pt>
                <c:pt idx="4244">
                  <c:v>105.57551450000001</c:v>
                </c:pt>
                <c:pt idx="4245">
                  <c:v>105.50101450000001</c:v>
                </c:pt>
                <c:pt idx="4246">
                  <c:v>105.50101450000001</c:v>
                </c:pt>
                <c:pt idx="4247">
                  <c:v>105.50101450000001</c:v>
                </c:pt>
                <c:pt idx="4248">
                  <c:v>105.50101450000001</c:v>
                </c:pt>
                <c:pt idx="4249">
                  <c:v>105.50101450000001</c:v>
                </c:pt>
                <c:pt idx="4250">
                  <c:v>105.50101450000001</c:v>
                </c:pt>
                <c:pt idx="4251">
                  <c:v>105.50101450000001</c:v>
                </c:pt>
                <c:pt idx="4252">
                  <c:v>105.50101450000001</c:v>
                </c:pt>
                <c:pt idx="4253">
                  <c:v>105.50101450000001</c:v>
                </c:pt>
                <c:pt idx="4254">
                  <c:v>105.50101450000001</c:v>
                </c:pt>
                <c:pt idx="4255">
                  <c:v>105.50101450000001</c:v>
                </c:pt>
                <c:pt idx="4256">
                  <c:v>105.50101450000001</c:v>
                </c:pt>
                <c:pt idx="4257">
                  <c:v>105.50101450000001</c:v>
                </c:pt>
                <c:pt idx="4258">
                  <c:v>105.50101450000001</c:v>
                </c:pt>
                <c:pt idx="4259">
                  <c:v>105.50101450000001</c:v>
                </c:pt>
                <c:pt idx="4260">
                  <c:v>105.50101450000001</c:v>
                </c:pt>
                <c:pt idx="4261">
                  <c:v>105.50101450000001</c:v>
                </c:pt>
                <c:pt idx="4262">
                  <c:v>105.50101450000001</c:v>
                </c:pt>
                <c:pt idx="4263">
                  <c:v>105.50101450000001</c:v>
                </c:pt>
                <c:pt idx="4264">
                  <c:v>105.50101450000001</c:v>
                </c:pt>
                <c:pt idx="4265">
                  <c:v>105.50101450000001</c:v>
                </c:pt>
                <c:pt idx="4266">
                  <c:v>105.50101450000001</c:v>
                </c:pt>
                <c:pt idx="4267">
                  <c:v>105.50101450000001</c:v>
                </c:pt>
                <c:pt idx="4268">
                  <c:v>105.50101450000001</c:v>
                </c:pt>
                <c:pt idx="4269">
                  <c:v>105.50101450000001</c:v>
                </c:pt>
                <c:pt idx="4270">
                  <c:v>105.50101450000001</c:v>
                </c:pt>
                <c:pt idx="4271">
                  <c:v>105.50101450000001</c:v>
                </c:pt>
                <c:pt idx="4272">
                  <c:v>105.50101450000001</c:v>
                </c:pt>
                <c:pt idx="4273">
                  <c:v>105.50101450000001</c:v>
                </c:pt>
                <c:pt idx="4274">
                  <c:v>105.50101450000001</c:v>
                </c:pt>
                <c:pt idx="4275">
                  <c:v>105.467564</c:v>
                </c:pt>
                <c:pt idx="4276">
                  <c:v>105.467564</c:v>
                </c:pt>
                <c:pt idx="4277">
                  <c:v>105.42701365000001</c:v>
                </c:pt>
                <c:pt idx="4278">
                  <c:v>105.42651450000001</c:v>
                </c:pt>
                <c:pt idx="4279">
                  <c:v>105.42651450000001</c:v>
                </c:pt>
                <c:pt idx="4280">
                  <c:v>105.42651450000001</c:v>
                </c:pt>
                <c:pt idx="4281">
                  <c:v>105.42651450000001</c:v>
                </c:pt>
                <c:pt idx="4282">
                  <c:v>105.42651450000001</c:v>
                </c:pt>
                <c:pt idx="4283">
                  <c:v>105.42651450000001</c:v>
                </c:pt>
                <c:pt idx="4284">
                  <c:v>105.42651450000001</c:v>
                </c:pt>
                <c:pt idx="4285">
                  <c:v>105.42651450000001</c:v>
                </c:pt>
                <c:pt idx="4286">
                  <c:v>105.42651450000001</c:v>
                </c:pt>
                <c:pt idx="4287">
                  <c:v>105.42651450000001</c:v>
                </c:pt>
                <c:pt idx="4288">
                  <c:v>105.42651450000001</c:v>
                </c:pt>
                <c:pt idx="4289">
                  <c:v>105.42651450000001</c:v>
                </c:pt>
                <c:pt idx="4290">
                  <c:v>105.42651450000001</c:v>
                </c:pt>
                <c:pt idx="4291">
                  <c:v>105.42651450000001</c:v>
                </c:pt>
                <c:pt idx="4292">
                  <c:v>105.42651450000001</c:v>
                </c:pt>
                <c:pt idx="4293">
                  <c:v>105.42651450000001</c:v>
                </c:pt>
                <c:pt idx="4294">
                  <c:v>105.42651450000001</c:v>
                </c:pt>
                <c:pt idx="4295">
                  <c:v>105.42651450000001</c:v>
                </c:pt>
                <c:pt idx="4296">
                  <c:v>105.42651450000001</c:v>
                </c:pt>
                <c:pt idx="4297">
                  <c:v>105.42651450000001</c:v>
                </c:pt>
                <c:pt idx="4298">
                  <c:v>105.42651450000001</c:v>
                </c:pt>
                <c:pt idx="4299">
                  <c:v>105.42651450000001</c:v>
                </c:pt>
                <c:pt idx="4300">
                  <c:v>105.42651450000001</c:v>
                </c:pt>
                <c:pt idx="4301">
                  <c:v>105.42651450000001</c:v>
                </c:pt>
                <c:pt idx="4302">
                  <c:v>105.42651450000001</c:v>
                </c:pt>
                <c:pt idx="4303">
                  <c:v>105.42651450000001</c:v>
                </c:pt>
                <c:pt idx="4304">
                  <c:v>105.42651450000001</c:v>
                </c:pt>
                <c:pt idx="4305">
                  <c:v>105.42651450000001</c:v>
                </c:pt>
                <c:pt idx="4306">
                  <c:v>105.42651450000001</c:v>
                </c:pt>
                <c:pt idx="4307">
                  <c:v>105.42651450000001</c:v>
                </c:pt>
                <c:pt idx="4308">
                  <c:v>105.42651450000001</c:v>
                </c:pt>
                <c:pt idx="4309">
                  <c:v>105.42651450000001</c:v>
                </c:pt>
                <c:pt idx="4310">
                  <c:v>105.42651450000001</c:v>
                </c:pt>
                <c:pt idx="4311">
                  <c:v>105.42651450000001</c:v>
                </c:pt>
                <c:pt idx="4312">
                  <c:v>105.42651450000001</c:v>
                </c:pt>
                <c:pt idx="4313">
                  <c:v>105.42651450000001</c:v>
                </c:pt>
                <c:pt idx="4314">
                  <c:v>105.42651450000001</c:v>
                </c:pt>
                <c:pt idx="4315">
                  <c:v>105.42651450000001</c:v>
                </c:pt>
                <c:pt idx="4316">
                  <c:v>105.42651450000001</c:v>
                </c:pt>
                <c:pt idx="4317">
                  <c:v>105.42651450000001</c:v>
                </c:pt>
                <c:pt idx="4318">
                  <c:v>105.42651450000001</c:v>
                </c:pt>
                <c:pt idx="4319">
                  <c:v>105.42651450000001</c:v>
                </c:pt>
                <c:pt idx="4320">
                  <c:v>105.42651450000001</c:v>
                </c:pt>
                <c:pt idx="4321">
                  <c:v>105.42651450000001</c:v>
                </c:pt>
                <c:pt idx="4322">
                  <c:v>105.42651450000001</c:v>
                </c:pt>
                <c:pt idx="4323">
                  <c:v>105.42651450000001</c:v>
                </c:pt>
                <c:pt idx="4324">
                  <c:v>105.42651450000001</c:v>
                </c:pt>
                <c:pt idx="4325">
                  <c:v>105.42651450000001</c:v>
                </c:pt>
                <c:pt idx="4326">
                  <c:v>105.42651450000001</c:v>
                </c:pt>
                <c:pt idx="4327">
                  <c:v>105.42651450000001</c:v>
                </c:pt>
                <c:pt idx="4328">
                  <c:v>105.42651450000001</c:v>
                </c:pt>
                <c:pt idx="4329">
                  <c:v>105.42651450000001</c:v>
                </c:pt>
                <c:pt idx="4330">
                  <c:v>105.42651450000001</c:v>
                </c:pt>
                <c:pt idx="4331">
                  <c:v>105.42651450000001</c:v>
                </c:pt>
                <c:pt idx="4332">
                  <c:v>105.42651450000001</c:v>
                </c:pt>
                <c:pt idx="4333">
                  <c:v>105.42651450000001</c:v>
                </c:pt>
                <c:pt idx="4334">
                  <c:v>105.42651450000001</c:v>
                </c:pt>
                <c:pt idx="4335">
                  <c:v>105.42651450000001</c:v>
                </c:pt>
                <c:pt idx="4336">
                  <c:v>105.42651450000001</c:v>
                </c:pt>
                <c:pt idx="4337">
                  <c:v>105.42651450000001</c:v>
                </c:pt>
                <c:pt idx="4338">
                  <c:v>105.42651450000001</c:v>
                </c:pt>
                <c:pt idx="4339">
                  <c:v>105.42651450000001</c:v>
                </c:pt>
                <c:pt idx="4340">
                  <c:v>105.42651450000001</c:v>
                </c:pt>
                <c:pt idx="4341">
                  <c:v>105.42651450000001</c:v>
                </c:pt>
                <c:pt idx="4342">
                  <c:v>105.42651450000001</c:v>
                </c:pt>
                <c:pt idx="4343">
                  <c:v>105.42651450000001</c:v>
                </c:pt>
                <c:pt idx="4344">
                  <c:v>105.42651450000001</c:v>
                </c:pt>
                <c:pt idx="4345">
                  <c:v>105.42651450000001</c:v>
                </c:pt>
                <c:pt idx="4346">
                  <c:v>105.42651450000001</c:v>
                </c:pt>
                <c:pt idx="4347">
                  <c:v>105.42651450000001</c:v>
                </c:pt>
                <c:pt idx="4348">
                  <c:v>105.42651450000001</c:v>
                </c:pt>
                <c:pt idx="4349">
                  <c:v>105.42651450000001</c:v>
                </c:pt>
                <c:pt idx="4350">
                  <c:v>105.42651450000001</c:v>
                </c:pt>
                <c:pt idx="4351">
                  <c:v>105.42651450000001</c:v>
                </c:pt>
                <c:pt idx="4352">
                  <c:v>105.42651450000001</c:v>
                </c:pt>
                <c:pt idx="4353">
                  <c:v>105.42651450000001</c:v>
                </c:pt>
                <c:pt idx="4354">
                  <c:v>105.42651450000001</c:v>
                </c:pt>
                <c:pt idx="4355">
                  <c:v>105.42651450000001</c:v>
                </c:pt>
                <c:pt idx="4356">
                  <c:v>105.42644</c:v>
                </c:pt>
                <c:pt idx="4357">
                  <c:v>105.3892645</c:v>
                </c:pt>
                <c:pt idx="4358">
                  <c:v>105.3733215</c:v>
                </c:pt>
                <c:pt idx="4359">
                  <c:v>105.3520145</c:v>
                </c:pt>
                <c:pt idx="4360">
                  <c:v>105.3520145</c:v>
                </c:pt>
                <c:pt idx="4361">
                  <c:v>105.3520145</c:v>
                </c:pt>
                <c:pt idx="4362">
                  <c:v>105.3520145</c:v>
                </c:pt>
                <c:pt idx="4363">
                  <c:v>105.3520145</c:v>
                </c:pt>
                <c:pt idx="4364">
                  <c:v>105.3520145</c:v>
                </c:pt>
                <c:pt idx="4365">
                  <c:v>105.3520145</c:v>
                </c:pt>
                <c:pt idx="4366">
                  <c:v>105.3520145</c:v>
                </c:pt>
                <c:pt idx="4367">
                  <c:v>105.3520145</c:v>
                </c:pt>
                <c:pt idx="4368">
                  <c:v>105.3520145</c:v>
                </c:pt>
                <c:pt idx="4369">
                  <c:v>105.3520145</c:v>
                </c:pt>
                <c:pt idx="4370">
                  <c:v>105.3520145</c:v>
                </c:pt>
                <c:pt idx="4371">
                  <c:v>105.3520145</c:v>
                </c:pt>
                <c:pt idx="4372">
                  <c:v>105.3520145</c:v>
                </c:pt>
                <c:pt idx="4373">
                  <c:v>105.3520145</c:v>
                </c:pt>
                <c:pt idx="4374">
                  <c:v>105.3520145</c:v>
                </c:pt>
                <c:pt idx="4375">
                  <c:v>105.3520145</c:v>
                </c:pt>
                <c:pt idx="4376">
                  <c:v>105.3520145</c:v>
                </c:pt>
                <c:pt idx="4377">
                  <c:v>105.3520145</c:v>
                </c:pt>
                <c:pt idx="4378">
                  <c:v>105.3520145</c:v>
                </c:pt>
                <c:pt idx="4379">
                  <c:v>105.3520145</c:v>
                </c:pt>
                <c:pt idx="4380">
                  <c:v>105.3520145</c:v>
                </c:pt>
                <c:pt idx="4381">
                  <c:v>105.3520145</c:v>
                </c:pt>
                <c:pt idx="4382">
                  <c:v>105.3520145</c:v>
                </c:pt>
                <c:pt idx="4383">
                  <c:v>105.3520145</c:v>
                </c:pt>
                <c:pt idx="4384">
                  <c:v>105.3520145</c:v>
                </c:pt>
                <c:pt idx="4385">
                  <c:v>105.3520145</c:v>
                </c:pt>
                <c:pt idx="4386">
                  <c:v>105.3520145</c:v>
                </c:pt>
                <c:pt idx="4387">
                  <c:v>105.3520145</c:v>
                </c:pt>
                <c:pt idx="4388">
                  <c:v>105.3520145</c:v>
                </c:pt>
                <c:pt idx="4389">
                  <c:v>105.3520145</c:v>
                </c:pt>
                <c:pt idx="4390">
                  <c:v>105.3520145</c:v>
                </c:pt>
                <c:pt idx="4391">
                  <c:v>105.3520145</c:v>
                </c:pt>
                <c:pt idx="4392">
                  <c:v>105.3520145</c:v>
                </c:pt>
                <c:pt idx="4393">
                  <c:v>105.3520145</c:v>
                </c:pt>
                <c:pt idx="4394">
                  <c:v>105.3520145</c:v>
                </c:pt>
                <c:pt idx="4395">
                  <c:v>105.3520145</c:v>
                </c:pt>
                <c:pt idx="4396">
                  <c:v>105.3520145</c:v>
                </c:pt>
                <c:pt idx="4397">
                  <c:v>105.3520145</c:v>
                </c:pt>
                <c:pt idx="4398">
                  <c:v>105.3520145</c:v>
                </c:pt>
                <c:pt idx="4399">
                  <c:v>105.3520145</c:v>
                </c:pt>
                <c:pt idx="4400">
                  <c:v>105.3520145</c:v>
                </c:pt>
                <c:pt idx="4401">
                  <c:v>105.3520145</c:v>
                </c:pt>
                <c:pt idx="4402">
                  <c:v>105.3520145</c:v>
                </c:pt>
                <c:pt idx="4403">
                  <c:v>105.3520145</c:v>
                </c:pt>
                <c:pt idx="4404">
                  <c:v>105.3520145</c:v>
                </c:pt>
                <c:pt idx="4405">
                  <c:v>105.3520145</c:v>
                </c:pt>
                <c:pt idx="4406">
                  <c:v>105.3520145</c:v>
                </c:pt>
                <c:pt idx="4407">
                  <c:v>105.3520145</c:v>
                </c:pt>
                <c:pt idx="4408">
                  <c:v>105.3520145</c:v>
                </c:pt>
                <c:pt idx="4409">
                  <c:v>105.3520145</c:v>
                </c:pt>
                <c:pt idx="4410">
                  <c:v>105.3520145</c:v>
                </c:pt>
                <c:pt idx="4411">
                  <c:v>105.3520145</c:v>
                </c:pt>
                <c:pt idx="4412">
                  <c:v>105.3520145</c:v>
                </c:pt>
                <c:pt idx="4413">
                  <c:v>105.3520145</c:v>
                </c:pt>
                <c:pt idx="4414">
                  <c:v>105.3520145</c:v>
                </c:pt>
                <c:pt idx="4415">
                  <c:v>105.3520145</c:v>
                </c:pt>
                <c:pt idx="4416">
                  <c:v>105.3520145</c:v>
                </c:pt>
                <c:pt idx="4417">
                  <c:v>105.3520145</c:v>
                </c:pt>
                <c:pt idx="4418">
                  <c:v>105.3520145</c:v>
                </c:pt>
                <c:pt idx="4419">
                  <c:v>105.3520145</c:v>
                </c:pt>
                <c:pt idx="4420">
                  <c:v>105.3520145</c:v>
                </c:pt>
                <c:pt idx="4421">
                  <c:v>105.3520145</c:v>
                </c:pt>
                <c:pt idx="4422">
                  <c:v>105.3520145</c:v>
                </c:pt>
                <c:pt idx="4423">
                  <c:v>105.3520145</c:v>
                </c:pt>
                <c:pt idx="4424">
                  <c:v>105.3520145</c:v>
                </c:pt>
                <c:pt idx="4425">
                  <c:v>105.3520145</c:v>
                </c:pt>
                <c:pt idx="4426">
                  <c:v>105.3520145</c:v>
                </c:pt>
                <c:pt idx="4427">
                  <c:v>105.3520145</c:v>
                </c:pt>
                <c:pt idx="4428">
                  <c:v>105.3520145</c:v>
                </c:pt>
                <c:pt idx="4429">
                  <c:v>105.3520145</c:v>
                </c:pt>
                <c:pt idx="4430">
                  <c:v>105.3520145</c:v>
                </c:pt>
                <c:pt idx="4431">
                  <c:v>105.3520145</c:v>
                </c:pt>
                <c:pt idx="4432">
                  <c:v>105.3520145</c:v>
                </c:pt>
                <c:pt idx="4433">
                  <c:v>105.3520145</c:v>
                </c:pt>
                <c:pt idx="4434">
                  <c:v>105.3520145</c:v>
                </c:pt>
                <c:pt idx="4435">
                  <c:v>105.3520145</c:v>
                </c:pt>
                <c:pt idx="4436">
                  <c:v>105.3520145</c:v>
                </c:pt>
                <c:pt idx="4437">
                  <c:v>105.3520145</c:v>
                </c:pt>
                <c:pt idx="4438">
                  <c:v>105.3520145</c:v>
                </c:pt>
                <c:pt idx="4439">
                  <c:v>105.3520145</c:v>
                </c:pt>
                <c:pt idx="4440">
                  <c:v>105.3520145</c:v>
                </c:pt>
                <c:pt idx="4441">
                  <c:v>105.3520145</c:v>
                </c:pt>
                <c:pt idx="4442">
                  <c:v>105.3520145</c:v>
                </c:pt>
                <c:pt idx="4443">
                  <c:v>105.3520145</c:v>
                </c:pt>
                <c:pt idx="4444">
                  <c:v>105.3520145</c:v>
                </c:pt>
                <c:pt idx="4445">
                  <c:v>105.3520145</c:v>
                </c:pt>
                <c:pt idx="4446">
                  <c:v>105.3520145</c:v>
                </c:pt>
                <c:pt idx="4447">
                  <c:v>105.3520145</c:v>
                </c:pt>
                <c:pt idx="4448">
                  <c:v>105.3520145</c:v>
                </c:pt>
                <c:pt idx="4449">
                  <c:v>105.3520145</c:v>
                </c:pt>
                <c:pt idx="4450">
                  <c:v>105.3520145</c:v>
                </c:pt>
                <c:pt idx="4451">
                  <c:v>105.3520145</c:v>
                </c:pt>
                <c:pt idx="4452">
                  <c:v>105.3520145</c:v>
                </c:pt>
                <c:pt idx="4453">
                  <c:v>105.3520145</c:v>
                </c:pt>
                <c:pt idx="4454">
                  <c:v>105.3520145</c:v>
                </c:pt>
                <c:pt idx="4455">
                  <c:v>105.3520145</c:v>
                </c:pt>
                <c:pt idx="4456">
                  <c:v>105.3520145</c:v>
                </c:pt>
                <c:pt idx="4457">
                  <c:v>105.3520145</c:v>
                </c:pt>
                <c:pt idx="4458">
                  <c:v>105.3520145</c:v>
                </c:pt>
                <c:pt idx="4459">
                  <c:v>105.3520145</c:v>
                </c:pt>
                <c:pt idx="4460">
                  <c:v>105.3520145</c:v>
                </c:pt>
                <c:pt idx="4461">
                  <c:v>105.3520145</c:v>
                </c:pt>
                <c:pt idx="4462">
                  <c:v>105.3520145</c:v>
                </c:pt>
                <c:pt idx="4463">
                  <c:v>105.3520145</c:v>
                </c:pt>
                <c:pt idx="4464">
                  <c:v>105.3520145</c:v>
                </c:pt>
                <c:pt idx="4465">
                  <c:v>105.3520145</c:v>
                </c:pt>
                <c:pt idx="4466">
                  <c:v>105.3520145</c:v>
                </c:pt>
                <c:pt idx="4467">
                  <c:v>105.3520145</c:v>
                </c:pt>
                <c:pt idx="4468">
                  <c:v>105.3520145</c:v>
                </c:pt>
                <c:pt idx="4469">
                  <c:v>105.3520145</c:v>
                </c:pt>
                <c:pt idx="4470">
                  <c:v>105.3520145</c:v>
                </c:pt>
                <c:pt idx="4471">
                  <c:v>105.3520145</c:v>
                </c:pt>
                <c:pt idx="4472">
                  <c:v>105.3520145</c:v>
                </c:pt>
                <c:pt idx="4473">
                  <c:v>105.3520145</c:v>
                </c:pt>
                <c:pt idx="4474">
                  <c:v>105.3520145</c:v>
                </c:pt>
                <c:pt idx="4475">
                  <c:v>105.3520145</c:v>
                </c:pt>
                <c:pt idx="4476">
                  <c:v>105.3520145</c:v>
                </c:pt>
                <c:pt idx="4477">
                  <c:v>105.3520145</c:v>
                </c:pt>
                <c:pt idx="4478">
                  <c:v>105.3520145</c:v>
                </c:pt>
                <c:pt idx="4479">
                  <c:v>105.3520145</c:v>
                </c:pt>
                <c:pt idx="4480">
                  <c:v>105.343745</c:v>
                </c:pt>
                <c:pt idx="4481">
                  <c:v>105.3333895</c:v>
                </c:pt>
                <c:pt idx="4482">
                  <c:v>105.3333895</c:v>
                </c:pt>
                <c:pt idx="4483">
                  <c:v>105.3333895</c:v>
                </c:pt>
                <c:pt idx="4484">
                  <c:v>105.31856400000001</c:v>
                </c:pt>
                <c:pt idx="4485">
                  <c:v>105.31856400000001</c:v>
                </c:pt>
                <c:pt idx="4486">
                  <c:v>105.31856400000001</c:v>
                </c:pt>
                <c:pt idx="4487">
                  <c:v>105.31856400000001</c:v>
                </c:pt>
                <c:pt idx="4488">
                  <c:v>105.31856400000001</c:v>
                </c:pt>
                <c:pt idx="4489">
                  <c:v>105.31476450000001</c:v>
                </c:pt>
                <c:pt idx="4490">
                  <c:v>105.31476450000001</c:v>
                </c:pt>
                <c:pt idx="4491">
                  <c:v>105.2988215</c:v>
                </c:pt>
                <c:pt idx="4492">
                  <c:v>105.2988215</c:v>
                </c:pt>
                <c:pt idx="4493">
                  <c:v>105.2988215</c:v>
                </c:pt>
                <c:pt idx="4494">
                  <c:v>105.2988215</c:v>
                </c:pt>
                <c:pt idx="4495">
                  <c:v>105.2775592</c:v>
                </c:pt>
                <c:pt idx="4496">
                  <c:v>105.27755175</c:v>
                </c:pt>
                <c:pt idx="4497">
                  <c:v>105.27752940000001</c:v>
                </c:pt>
                <c:pt idx="4498">
                  <c:v>105.27752195000001</c:v>
                </c:pt>
                <c:pt idx="4499">
                  <c:v>105.2775145</c:v>
                </c:pt>
                <c:pt idx="4500">
                  <c:v>105.2775145</c:v>
                </c:pt>
                <c:pt idx="4501">
                  <c:v>105.2775145</c:v>
                </c:pt>
                <c:pt idx="4502">
                  <c:v>105.2775145</c:v>
                </c:pt>
                <c:pt idx="4503">
                  <c:v>105.2775145</c:v>
                </c:pt>
                <c:pt idx="4504">
                  <c:v>105.2775145</c:v>
                </c:pt>
                <c:pt idx="4505">
                  <c:v>105.2775145</c:v>
                </c:pt>
                <c:pt idx="4506">
                  <c:v>105.2775145</c:v>
                </c:pt>
                <c:pt idx="4507">
                  <c:v>105.2775145</c:v>
                </c:pt>
                <c:pt idx="4508">
                  <c:v>105.2775145</c:v>
                </c:pt>
                <c:pt idx="4509">
                  <c:v>105.2775145</c:v>
                </c:pt>
                <c:pt idx="4510">
                  <c:v>105.2775145</c:v>
                </c:pt>
                <c:pt idx="4511">
                  <c:v>105.2775145</c:v>
                </c:pt>
                <c:pt idx="4512">
                  <c:v>105.2775145</c:v>
                </c:pt>
                <c:pt idx="4513">
                  <c:v>105.2775145</c:v>
                </c:pt>
                <c:pt idx="4514">
                  <c:v>105.2775145</c:v>
                </c:pt>
                <c:pt idx="4515">
                  <c:v>105.2775145</c:v>
                </c:pt>
                <c:pt idx="4516">
                  <c:v>105.2775145</c:v>
                </c:pt>
                <c:pt idx="4517">
                  <c:v>105.2775145</c:v>
                </c:pt>
                <c:pt idx="4518">
                  <c:v>105.2775145</c:v>
                </c:pt>
                <c:pt idx="4519">
                  <c:v>105.2775145</c:v>
                </c:pt>
                <c:pt idx="4520">
                  <c:v>105.2775145</c:v>
                </c:pt>
                <c:pt idx="4521">
                  <c:v>105.2775145</c:v>
                </c:pt>
                <c:pt idx="4522">
                  <c:v>105.2775145</c:v>
                </c:pt>
                <c:pt idx="4523">
                  <c:v>105.2775145</c:v>
                </c:pt>
                <c:pt idx="4524">
                  <c:v>105.2775145</c:v>
                </c:pt>
                <c:pt idx="4525">
                  <c:v>105.2775145</c:v>
                </c:pt>
                <c:pt idx="4526">
                  <c:v>105.2775145</c:v>
                </c:pt>
                <c:pt idx="4527">
                  <c:v>105.2775145</c:v>
                </c:pt>
                <c:pt idx="4528">
                  <c:v>105.2775145</c:v>
                </c:pt>
                <c:pt idx="4529">
                  <c:v>105.2775145</c:v>
                </c:pt>
                <c:pt idx="4530">
                  <c:v>105.2775145</c:v>
                </c:pt>
                <c:pt idx="4531">
                  <c:v>105.2775145</c:v>
                </c:pt>
                <c:pt idx="4532">
                  <c:v>105.2775145</c:v>
                </c:pt>
                <c:pt idx="4533">
                  <c:v>105.2775145</c:v>
                </c:pt>
                <c:pt idx="4534">
                  <c:v>105.2775145</c:v>
                </c:pt>
                <c:pt idx="4535">
                  <c:v>105.2775145</c:v>
                </c:pt>
                <c:pt idx="4536">
                  <c:v>105.2775145</c:v>
                </c:pt>
                <c:pt idx="4537">
                  <c:v>105.2775145</c:v>
                </c:pt>
                <c:pt idx="4538">
                  <c:v>105.2775145</c:v>
                </c:pt>
                <c:pt idx="4539">
                  <c:v>105.2775145</c:v>
                </c:pt>
                <c:pt idx="4540">
                  <c:v>105.2775145</c:v>
                </c:pt>
                <c:pt idx="4541">
                  <c:v>105.2775145</c:v>
                </c:pt>
                <c:pt idx="4542">
                  <c:v>105.2775145</c:v>
                </c:pt>
                <c:pt idx="4543">
                  <c:v>105.2775145</c:v>
                </c:pt>
                <c:pt idx="4544">
                  <c:v>105.2775145</c:v>
                </c:pt>
                <c:pt idx="4545">
                  <c:v>105.2775145</c:v>
                </c:pt>
                <c:pt idx="4546">
                  <c:v>105.2775145</c:v>
                </c:pt>
                <c:pt idx="4547">
                  <c:v>105.2775145</c:v>
                </c:pt>
                <c:pt idx="4548">
                  <c:v>105.2775145</c:v>
                </c:pt>
                <c:pt idx="4549">
                  <c:v>105.2775145</c:v>
                </c:pt>
                <c:pt idx="4550">
                  <c:v>105.2775145</c:v>
                </c:pt>
                <c:pt idx="4551">
                  <c:v>105.2775145</c:v>
                </c:pt>
                <c:pt idx="4552">
                  <c:v>105.2775145</c:v>
                </c:pt>
                <c:pt idx="4553">
                  <c:v>105.2775145</c:v>
                </c:pt>
                <c:pt idx="4554">
                  <c:v>105.2775145</c:v>
                </c:pt>
                <c:pt idx="4555">
                  <c:v>105.2775145</c:v>
                </c:pt>
                <c:pt idx="4556">
                  <c:v>105.2775145</c:v>
                </c:pt>
                <c:pt idx="4557">
                  <c:v>105.2775145</c:v>
                </c:pt>
                <c:pt idx="4558">
                  <c:v>105.2775145</c:v>
                </c:pt>
                <c:pt idx="4559">
                  <c:v>105.2775145</c:v>
                </c:pt>
                <c:pt idx="4560">
                  <c:v>105.2775145</c:v>
                </c:pt>
                <c:pt idx="4561">
                  <c:v>105.2775145</c:v>
                </c:pt>
                <c:pt idx="4562">
                  <c:v>105.2775145</c:v>
                </c:pt>
                <c:pt idx="4563">
                  <c:v>105.2775145</c:v>
                </c:pt>
                <c:pt idx="4564">
                  <c:v>105.2775145</c:v>
                </c:pt>
                <c:pt idx="4565">
                  <c:v>105.2775145</c:v>
                </c:pt>
                <c:pt idx="4566">
                  <c:v>105.2775145</c:v>
                </c:pt>
                <c:pt idx="4567">
                  <c:v>105.2775145</c:v>
                </c:pt>
                <c:pt idx="4568">
                  <c:v>105.2775145</c:v>
                </c:pt>
                <c:pt idx="4569">
                  <c:v>105.2775145</c:v>
                </c:pt>
                <c:pt idx="4570">
                  <c:v>105.2775145</c:v>
                </c:pt>
                <c:pt idx="4571">
                  <c:v>105.2775145</c:v>
                </c:pt>
                <c:pt idx="4572">
                  <c:v>105.2775145</c:v>
                </c:pt>
                <c:pt idx="4573">
                  <c:v>105.2775145</c:v>
                </c:pt>
                <c:pt idx="4574">
                  <c:v>105.2775145</c:v>
                </c:pt>
                <c:pt idx="4575">
                  <c:v>105.2775145</c:v>
                </c:pt>
                <c:pt idx="4576">
                  <c:v>105.2775145</c:v>
                </c:pt>
                <c:pt idx="4577">
                  <c:v>105.2775145</c:v>
                </c:pt>
                <c:pt idx="4578">
                  <c:v>105.2775145</c:v>
                </c:pt>
                <c:pt idx="4579">
                  <c:v>105.2775145</c:v>
                </c:pt>
                <c:pt idx="4580">
                  <c:v>105.2775145</c:v>
                </c:pt>
                <c:pt idx="4581">
                  <c:v>105.2775145</c:v>
                </c:pt>
                <c:pt idx="4582">
                  <c:v>105.2775145</c:v>
                </c:pt>
                <c:pt idx="4583">
                  <c:v>105.2775145</c:v>
                </c:pt>
                <c:pt idx="4584">
                  <c:v>105.2775145</c:v>
                </c:pt>
                <c:pt idx="4585">
                  <c:v>105.2775145</c:v>
                </c:pt>
                <c:pt idx="4586">
                  <c:v>105.2775145</c:v>
                </c:pt>
                <c:pt idx="4587">
                  <c:v>105.2775145</c:v>
                </c:pt>
                <c:pt idx="4588">
                  <c:v>105.2775145</c:v>
                </c:pt>
                <c:pt idx="4589">
                  <c:v>105.2775145</c:v>
                </c:pt>
                <c:pt idx="4590">
                  <c:v>105.2775145</c:v>
                </c:pt>
                <c:pt idx="4591">
                  <c:v>105.2775145</c:v>
                </c:pt>
                <c:pt idx="4592">
                  <c:v>105.2775145</c:v>
                </c:pt>
                <c:pt idx="4593">
                  <c:v>105.2775145</c:v>
                </c:pt>
                <c:pt idx="4594">
                  <c:v>105.2775145</c:v>
                </c:pt>
                <c:pt idx="4595">
                  <c:v>105.2775145</c:v>
                </c:pt>
                <c:pt idx="4596">
                  <c:v>105.2775145</c:v>
                </c:pt>
                <c:pt idx="4597">
                  <c:v>105.2775145</c:v>
                </c:pt>
                <c:pt idx="4598">
                  <c:v>105.2775145</c:v>
                </c:pt>
                <c:pt idx="4599">
                  <c:v>105.2775145</c:v>
                </c:pt>
                <c:pt idx="4600">
                  <c:v>105.2775145</c:v>
                </c:pt>
                <c:pt idx="4601">
                  <c:v>105.2775145</c:v>
                </c:pt>
                <c:pt idx="4602">
                  <c:v>105.2775145</c:v>
                </c:pt>
                <c:pt idx="4603">
                  <c:v>105.2775145</c:v>
                </c:pt>
                <c:pt idx="4604">
                  <c:v>105.2775145</c:v>
                </c:pt>
                <c:pt idx="4605">
                  <c:v>105.2775145</c:v>
                </c:pt>
                <c:pt idx="4606">
                  <c:v>105.2775145</c:v>
                </c:pt>
                <c:pt idx="4607">
                  <c:v>105.2775145</c:v>
                </c:pt>
                <c:pt idx="4608">
                  <c:v>105.2775145</c:v>
                </c:pt>
                <c:pt idx="4609">
                  <c:v>105.2775145</c:v>
                </c:pt>
                <c:pt idx="4610">
                  <c:v>105.2775145</c:v>
                </c:pt>
                <c:pt idx="4611">
                  <c:v>105.2775145</c:v>
                </c:pt>
                <c:pt idx="4612">
                  <c:v>105.2775145</c:v>
                </c:pt>
                <c:pt idx="4613">
                  <c:v>105.2775145</c:v>
                </c:pt>
                <c:pt idx="4614">
                  <c:v>105.2775145</c:v>
                </c:pt>
                <c:pt idx="4615">
                  <c:v>105.2775145</c:v>
                </c:pt>
                <c:pt idx="4616">
                  <c:v>105.2775145</c:v>
                </c:pt>
                <c:pt idx="4617">
                  <c:v>105.2775145</c:v>
                </c:pt>
                <c:pt idx="4618">
                  <c:v>105.2775145</c:v>
                </c:pt>
                <c:pt idx="4619">
                  <c:v>105.2775145</c:v>
                </c:pt>
                <c:pt idx="4620">
                  <c:v>105.2775145</c:v>
                </c:pt>
                <c:pt idx="4621">
                  <c:v>105.2775145</c:v>
                </c:pt>
                <c:pt idx="4622">
                  <c:v>105.2775145</c:v>
                </c:pt>
                <c:pt idx="4623">
                  <c:v>105.2775145</c:v>
                </c:pt>
                <c:pt idx="4624">
                  <c:v>105.2775145</c:v>
                </c:pt>
                <c:pt idx="4625">
                  <c:v>105.2775145</c:v>
                </c:pt>
                <c:pt idx="4626">
                  <c:v>105.2775145</c:v>
                </c:pt>
                <c:pt idx="4627">
                  <c:v>105.2775145</c:v>
                </c:pt>
                <c:pt idx="4628">
                  <c:v>105.2775145</c:v>
                </c:pt>
                <c:pt idx="4629">
                  <c:v>105.2775145</c:v>
                </c:pt>
                <c:pt idx="4630">
                  <c:v>105.2775145</c:v>
                </c:pt>
                <c:pt idx="4631">
                  <c:v>105.2775145</c:v>
                </c:pt>
                <c:pt idx="4632">
                  <c:v>105.2775145</c:v>
                </c:pt>
                <c:pt idx="4633">
                  <c:v>105.2775145</c:v>
                </c:pt>
                <c:pt idx="4634">
                  <c:v>105.2775145</c:v>
                </c:pt>
                <c:pt idx="4635">
                  <c:v>105.2775145</c:v>
                </c:pt>
                <c:pt idx="4636">
                  <c:v>105.2775145</c:v>
                </c:pt>
                <c:pt idx="4637">
                  <c:v>105.2775145</c:v>
                </c:pt>
                <c:pt idx="4638">
                  <c:v>105.2775145</c:v>
                </c:pt>
                <c:pt idx="4639">
                  <c:v>105.2775145</c:v>
                </c:pt>
                <c:pt idx="4640">
                  <c:v>105.2775145</c:v>
                </c:pt>
                <c:pt idx="4641">
                  <c:v>105.2775145</c:v>
                </c:pt>
                <c:pt idx="4642">
                  <c:v>105.2775145</c:v>
                </c:pt>
                <c:pt idx="4643">
                  <c:v>105.2775145</c:v>
                </c:pt>
                <c:pt idx="4644">
                  <c:v>105.2775145</c:v>
                </c:pt>
                <c:pt idx="4645">
                  <c:v>105.2775145</c:v>
                </c:pt>
                <c:pt idx="4646">
                  <c:v>105.2775145</c:v>
                </c:pt>
                <c:pt idx="4647">
                  <c:v>105.2775145</c:v>
                </c:pt>
                <c:pt idx="4648">
                  <c:v>105.2775145</c:v>
                </c:pt>
                <c:pt idx="4649">
                  <c:v>105.2775145</c:v>
                </c:pt>
                <c:pt idx="4650">
                  <c:v>105.2775145</c:v>
                </c:pt>
                <c:pt idx="4651">
                  <c:v>105.2775145</c:v>
                </c:pt>
                <c:pt idx="4652">
                  <c:v>105.2775145</c:v>
                </c:pt>
                <c:pt idx="4653">
                  <c:v>105.2775145</c:v>
                </c:pt>
                <c:pt idx="4654">
                  <c:v>105.2775145</c:v>
                </c:pt>
                <c:pt idx="4655">
                  <c:v>105.2775145</c:v>
                </c:pt>
                <c:pt idx="4656">
                  <c:v>105.2775145</c:v>
                </c:pt>
                <c:pt idx="4657">
                  <c:v>105.2775145</c:v>
                </c:pt>
                <c:pt idx="4658">
                  <c:v>105.2775145</c:v>
                </c:pt>
                <c:pt idx="4659">
                  <c:v>105.2775145</c:v>
                </c:pt>
                <c:pt idx="4660">
                  <c:v>105.2775145</c:v>
                </c:pt>
                <c:pt idx="4661">
                  <c:v>105.2775145</c:v>
                </c:pt>
                <c:pt idx="4662">
                  <c:v>105.2775145</c:v>
                </c:pt>
                <c:pt idx="4663">
                  <c:v>105.2775145</c:v>
                </c:pt>
                <c:pt idx="4664">
                  <c:v>105.2775145</c:v>
                </c:pt>
                <c:pt idx="4665">
                  <c:v>105.2775145</c:v>
                </c:pt>
                <c:pt idx="4666">
                  <c:v>105.2775145</c:v>
                </c:pt>
                <c:pt idx="4667">
                  <c:v>105.2775145</c:v>
                </c:pt>
                <c:pt idx="4668">
                  <c:v>105.2775145</c:v>
                </c:pt>
                <c:pt idx="4669">
                  <c:v>105.2775145</c:v>
                </c:pt>
                <c:pt idx="4670">
                  <c:v>105.2775145</c:v>
                </c:pt>
                <c:pt idx="4671">
                  <c:v>105.2775145</c:v>
                </c:pt>
                <c:pt idx="4672">
                  <c:v>105.2775145</c:v>
                </c:pt>
                <c:pt idx="4673">
                  <c:v>105.2775145</c:v>
                </c:pt>
                <c:pt idx="4674">
                  <c:v>105.2775145</c:v>
                </c:pt>
                <c:pt idx="4675">
                  <c:v>105.2775145</c:v>
                </c:pt>
                <c:pt idx="4676">
                  <c:v>105.2775145</c:v>
                </c:pt>
                <c:pt idx="4677">
                  <c:v>105.2775145</c:v>
                </c:pt>
                <c:pt idx="4678">
                  <c:v>105.2775145</c:v>
                </c:pt>
                <c:pt idx="4679">
                  <c:v>105.2775145</c:v>
                </c:pt>
                <c:pt idx="4680">
                  <c:v>105.2775145</c:v>
                </c:pt>
                <c:pt idx="4681">
                  <c:v>105.2775145</c:v>
                </c:pt>
                <c:pt idx="4682">
                  <c:v>105.2775145</c:v>
                </c:pt>
                <c:pt idx="4683">
                  <c:v>105.2775145</c:v>
                </c:pt>
                <c:pt idx="4684">
                  <c:v>105.2775145</c:v>
                </c:pt>
                <c:pt idx="4685">
                  <c:v>105.2775145</c:v>
                </c:pt>
                <c:pt idx="4686">
                  <c:v>105.2775145</c:v>
                </c:pt>
                <c:pt idx="4687">
                  <c:v>105.2775145</c:v>
                </c:pt>
                <c:pt idx="4688">
                  <c:v>105.2775145</c:v>
                </c:pt>
                <c:pt idx="4689">
                  <c:v>105.2775145</c:v>
                </c:pt>
                <c:pt idx="4690">
                  <c:v>105.2775145</c:v>
                </c:pt>
                <c:pt idx="4691">
                  <c:v>105.2775145</c:v>
                </c:pt>
                <c:pt idx="4692">
                  <c:v>105.2775145</c:v>
                </c:pt>
                <c:pt idx="4693">
                  <c:v>105.2775145</c:v>
                </c:pt>
                <c:pt idx="4694">
                  <c:v>105.2775145</c:v>
                </c:pt>
                <c:pt idx="4695">
                  <c:v>105.2775145</c:v>
                </c:pt>
                <c:pt idx="4696">
                  <c:v>105.2775145</c:v>
                </c:pt>
                <c:pt idx="4697">
                  <c:v>105.2775145</c:v>
                </c:pt>
                <c:pt idx="4698">
                  <c:v>105.2775145</c:v>
                </c:pt>
                <c:pt idx="4699">
                  <c:v>105.2775145</c:v>
                </c:pt>
                <c:pt idx="4700">
                  <c:v>105.2775145</c:v>
                </c:pt>
                <c:pt idx="4701">
                  <c:v>105.2775145</c:v>
                </c:pt>
                <c:pt idx="4702">
                  <c:v>105.2775145</c:v>
                </c:pt>
                <c:pt idx="4703">
                  <c:v>105.2775145</c:v>
                </c:pt>
                <c:pt idx="4704">
                  <c:v>105.2775145</c:v>
                </c:pt>
                <c:pt idx="4705">
                  <c:v>105.2775145</c:v>
                </c:pt>
                <c:pt idx="4706">
                  <c:v>105.2775145</c:v>
                </c:pt>
                <c:pt idx="4707">
                  <c:v>105.2775145</c:v>
                </c:pt>
                <c:pt idx="4708">
                  <c:v>105.2775145</c:v>
                </c:pt>
                <c:pt idx="4709">
                  <c:v>105.2775145</c:v>
                </c:pt>
                <c:pt idx="4710">
                  <c:v>105.2775145</c:v>
                </c:pt>
                <c:pt idx="4711">
                  <c:v>105.2775145</c:v>
                </c:pt>
                <c:pt idx="4712">
                  <c:v>105.2775145</c:v>
                </c:pt>
                <c:pt idx="4713">
                  <c:v>105.2775145</c:v>
                </c:pt>
                <c:pt idx="4714">
                  <c:v>105.2775145</c:v>
                </c:pt>
                <c:pt idx="4715">
                  <c:v>105.2775145</c:v>
                </c:pt>
                <c:pt idx="4716">
                  <c:v>105.2775145</c:v>
                </c:pt>
                <c:pt idx="4717">
                  <c:v>105.2775145</c:v>
                </c:pt>
                <c:pt idx="4718">
                  <c:v>105.2775145</c:v>
                </c:pt>
                <c:pt idx="4719">
                  <c:v>105.2775145</c:v>
                </c:pt>
                <c:pt idx="4720">
                  <c:v>105.2775145</c:v>
                </c:pt>
                <c:pt idx="4721">
                  <c:v>105.252706</c:v>
                </c:pt>
                <c:pt idx="4722">
                  <c:v>105.252706</c:v>
                </c:pt>
                <c:pt idx="4723">
                  <c:v>105.24406400000001</c:v>
                </c:pt>
                <c:pt idx="4724">
                  <c:v>105.24406400000001</c:v>
                </c:pt>
                <c:pt idx="4725">
                  <c:v>105.24406400000001</c:v>
                </c:pt>
                <c:pt idx="4726">
                  <c:v>105.229015</c:v>
                </c:pt>
                <c:pt idx="4727">
                  <c:v>105.229015</c:v>
                </c:pt>
                <c:pt idx="4728">
                  <c:v>105.229015</c:v>
                </c:pt>
                <c:pt idx="4729">
                  <c:v>105.229015</c:v>
                </c:pt>
                <c:pt idx="4730">
                  <c:v>105.2243215</c:v>
                </c:pt>
                <c:pt idx="4731">
                  <c:v>105.2243215</c:v>
                </c:pt>
                <c:pt idx="4732">
                  <c:v>105.2243215</c:v>
                </c:pt>
                <c:pt idx="4733">
                  <c:v>105.2243215</c:v>
                </c:pt>
                <c:pt idx="4734">
                  <c:v>105.2243215</c:v>
                </c:pt>
                <c:pt idx="4735">
                  <c:v>105.2243215</c:v>
                </c:pt>
                <c:pt idx="4736">
                  <c:v>105.2243215</c:v>
                </c:pt>
                <c:pt idx="4737">
                  <c:v>105.2243215</c:v>
                </c:pt>
                <c:pt idx="4738">
                  <c:v>105.2243215</c:v>
                </c:pt>
                <c:pt idx="4739">
                  <c:v>105.2243215</c:v>
                </c:pt>
                <c:pt idx="4740">
                  <c:v>105.2243215</c:v>
                </c:pt>
                <c:pt idx="4741">
                  <c:v>105.2243215</c:v>
                </c:pt>
                <c:pt idx="4742">
                  <c:v>105.22163950000001</c:v>
                </c:pt>
                <c:pt idx="4743">
                  <c:v>105.22163950000001</c:v>
                </c:pt>
                <c:pt idx="4744">
                  <c:v>105.20741000000001</c:v>
                </c:pt>
                <c:pt idx="4745">
                  <c:v>105.20741000000001</c:v>
                </c:pt>
                <c:pt idx="4746">
                  <c:v>105.20741000000001</c:v>
                </c:pt>
                <c:pt idx="4747">
                  <c:v>105.20741000000001</c:v>
                </c:pt>
                <c:pt idx="4748">
                  <c:v>105.20303684999999</c:v>
                </c:pt>
                <c:pt idx="4749">
                  <c:v>105.20301449999999</c:v>
                </c:pt>
                <c:pt idx="4750">
                  <c:v>105.20301449999999</c:v>
                </c:pt>
                <c:pt idx="4751">
                  <c:v>105.20301449999999</c:v>
                </c:pt>
                <c:pt idx="4752">
                  <c:v>105.20301449999999</c:v>
                </c:pt>
                <c:pt idx="4753">
                  <c:v>105.20301449999999</c:v>
                </c:pt>
                <c:pt idx="4754">
                  <c:v>105.20301449999999</c:v>
                </c:pt>
                <c:pt idx="4755">
                  <c:v>105.20301449999999</c:v>
                </c:pt>
                <c:pt idx="4756">
                  <c:v>105.20301449999999</c:v>
                </c:pt>
                <c:pt idx="4757">
                  <c:v>105.20301449999999</c:v>
                </c:pt>
                <c:pt idx="4758">
                  <c:v>105.20301449999999</c:v>
                </c:pt>
                <c:pt idx="4759">
                  <c:v>105.20301449999999</c:v>
                </c:pt>
                <c:pt idx="4760">
                  <c:v>105.20301449999999</c:v>
                </c:pt>
                <c:pt idx="4761">
                  <c:v>105.20301449999999</c:v>
                </c:pt>
                <c:pt idx="4762">
                  <c:v>105.20301449999999</c:v>
                </c:pt>
                <c:pt idx="4763">
                  <c:v>105.20301449999999</c:v>
                </c:pt>
                <c:pt idx="4764">
                  <c:v>105.20301449999999</c:v>
                </c:pt>
                <c:pt idx="4765">
                  <c:v>105.20301449999999</c:v>
                </c:pt>
                <c:pt idx="4766">
                  <c:v>105.20301449999999</c:v>
                </c:pt>
                <c:pt idx="4767">
                  <c:v>105.20301449999999</c:v>
                </c:pt>
                <c:pt idx="4768">
                  <c:v>105.20301449999999</c:v>
                </c:pt>
                <c:pt idx="4769">
                  <c:v>105.20301449999999</c:v>
                </c:pt>
                <c:pt idx="4770">
                  <c:v>105.20301449999999</c:v>
                </c:pt>
                <c:pt idx="4771">
                  <c:v>105.20301449999999</c:v>
                </c:pt>
                <c:pt idx="4772">
                  <c:v>105.20301449999999</c:v>
                </c:pt>
                <c:pt idx="4773">
                  <c:v>105.20301449999999</c:v>
                </c:pt>
                <c:pt idx="4774">
                  <c:v>105.20301449999999</c:v>
                </c:pt>
                <c:pt idx="4775">
                  <c:v>105.20301449999999</c:v>
                </c:pt>
                <c:pt idx="4776">
                  <c:v>105.20301449999999</c:v>
                </c:pt>
                <c:pt idx="4777">
                  <c:v>105.20301449999999</c:v>
                </c:pt>
                <c:pt idx="4778">
                  <c:v>105.20301449999999</c:v>
                </c:pt>
                <c:pt idx="4779">
                  <c:v>105.20301449999999</c:v>
                </c:pt>
                <c:pt idx="4780">
                  <c:v>105.20301449999999</c:v>
                </c:pt>
                <c:pt idx="4781">
                  <c:v>105.20301449999999</c:v>
                </c:pt>
                <c:pt idx="4782">
                  <c:v>105.20301449999999</c:v>
                </c:pt>
                <c:pt idx="4783">
                  <c:v>105.20301449999999</c:v>
                </c:pt>
                <c:pt idx="4784">
                  <c:v>105.20301449999999</c:v>
                </c:pt>
                <c:pt idx="4785">
                  <c:v>105.20301449999999</c:v>
                </c:pt>
                <c:pt idx="4786">
                  <c:v>105.20301449999999</c:v>
                </c:pt>
                <c:pt idx="4787">
                  <c:v>105.20301449999999</c:v>
                </c:pt>
                <c:pt idx="4788">
                  <c:v>105.20301449999999</c:v>
                </c:pt>
                <c:pt idx="4789">
                  <c:v>105.20301449999999</c:v>
                </c:pt>
                <c:pt idx="4790">
                  <c:v>105.20301449999999</c:v>
                </c:pt>
                <c:pt idx="4791">
                  <c:v>105.20301449999999</c:v>
                </c:pt>
                <c:pt idx="4792">
                  <c:v>105.20301449999999</c:v>
                </c:pt>
                <c:pt idx="4793">
                  <c:v>105.20301449999999</c:v>
                </c:pt>
                <c:pt idx="4794">
                  <c:v>105.20301449999999</c:v>
                </c:pt>
                <c:pt idx="4795">
                  <c:v>105.20301449999999</c:v>
                </c:pt>
                <c:pt idx="4796">
                  <c:v>105.20301449999999</c:v>
                </c:pt>
                <c:pt idx="4797">
                  <c:v>105.20301449999999</c:v>
                </c:pt>
                <c:pt idx="4798">
                  <c:v>105.20301449999999</c:v>
                </c:pt>
                <c:pt idx="4799">
                  <c:v>105.20301449999999</c:v>
                </c:pt>
                <c:pt idx="4800">
                  <c:v>105.20301449999999</c:v>
                </c:pt>
                <c:pt idx="4801">
                  <c:v>105.20301449999999</c:v>
                </c:pt>
                <c:pt idx="4802">
                  <c:v>105.20301449999999</c:v>
                </c:pt>
                <c:pt idx="4803">
                  <c:v>105.20301449999999</c:v>
                </c:pt>
                <c:pt idx="4804">
                  <c:v>105.20301449999999</c:v>
                </c:pt>
                <c:pt idx="4805">
                  <c:v>105.20301449999999</c:v>
                </c:pt>
                <c:pt idx="4806">
                  <c:v>105.20301449999999</c:v>
                </c:pt>
                <c:pt idx="4807">
                  <c:v>105.20301449999999</c:v>
                </c:pt>
                <c:pt idx="4808">
                  <c:v>105.20301449999999</c:v>
                </c:pt>
                <c:pt idx="4809">
                  <c:v>105.20301449999999</c:v>
                </c:pt>
                <c:pt idx="4810">
                  <c:v>105.20301449999999</c:v>
                </c:pt>
                <c:pt idx="4811">
                  <c:v>105.20301449999999</c:v>
                </c:pt>
                <c:pt idx="4812">
                  <c:v>105.20301449999999</c:v>
                </c:pt>
                <c:pt idx="4813">
                  <c:v>105.20301449999999</c:v>
                </c:pt>
                <c:pt idx="4814">
                  <c:v>105.20301449999999</c:v>
                </c:pt>
                <c:pt idx="4815">
                  <c:v>105.20301449999999</c:v>
                </c:pt>
                <c:pt idx="4816">
                  <c:v>105.20301449999999</c:v>
                </c:pt>
                <c:pt idx="4817">
                  <c:v>105.20301449999999</c:v>
                </c:pt>
                <c:pt idx="4818">
                  <c:v>105.20301449999999</c:v>
                </c:pt>
                <c:pt idx="4819">
                  <c:v>105.20301449999999</c:v>
                </c:pt>
                <c:pt idx="4820">
                  <c:v>105.20301449999999</c:v>
                </c:pt>
                <c:pt idx="4821">
                  <c:v>105.20301449999999</c:v>
                </c:pt>
                <c:pt idx="4822">
                  <c:v>105.20301449999999</c:v>
                </c:pt>
                <c:pt idx="4823">
                  <c:v>105.20301449999999</c:v>
                </c:pt>
                <c:pt idx="4824">
                  <c:v>105.20301449999999</c:v>
                </c:pt>
                <c:pt idx="4825">
                  <c:v>105.20301449999999</c:v>
                </c:pt>
                <c:pt idx="4826">
                  <c:v>105.20301449999999</c:v>
                </c:pt>
                <c:pt idx="4827">
                  <c:v>105.20301449999999</c:v>
                </c:pt>
                <c:pt idx="4828">
                  <c:v>105.20301449999999</c:v>
                </c:pt>
                <c:pt idx="4829">
                  <c:v>105.20301449999999</c:v>
                </c:pt>
                <c:pt idx="4830">
                  <c:v>105.20301449999999</c:v>
                </c:pt>
                <c:pt idx="4831">
                  <c:v>105.20301449999999</c:v>
                </c:pt>
                <c:pt idx="4832">
                  <c:v>105.20301449999999</c:v>
                </c:pt>
                <c:pt idx="4833">
                  <c:v>105.20301449999999</c:v>
                </c:pt>
                <c:pt idx="4834">
                  <c:v>105.20301449999999</c:v>
                </c:pt>
                <c:pt idx="4835">
                  <c:v>105.20301449999999</c:v>
                </c:pt>
                <c:pt idx="4836">
                  <c:v>105.20301449999999</c:v>
                </c:pt>
                <c:pt idx="4837">
                  <c:v>105.20301449999999</c:v>
                </c:pt>
                <c:pt idx="4838">
                  <c:v>105.20301449999999</c:v>
                </c:pt>
                <c:pt idx="4839">
                  <c:v>105.20301449999999</c:v>
                </c:pt>
                <c:pt idx="4840">
                  <c:v>105.20301449999999</c:v>
                </c:pt>
                <c:pt idx="4841">
                  <c:v>105.20301449999999</c:v>
                </c:pt>
                <c:pt idx="4842">
                  <c:v>105.20301449999999</c:v>
                </c:pt>
                <c:pt idx="4843">
                  <c:v>105.20301449999999</c:v>
                </c:pt>
                <c:pt idx="4844">
                  <c:v>105.20301449999999</c:v>
                </c:pt>
                <c:pt idx="4845">
                  <c:v>105.20301449999999</c:v>
                </c:pt>
                <c:pt idx="4846">
                  <c:v>105.20301449999999</c:v>
                </c:pt>
                <c:pt idx="4847">
                  <c:v>105.20301449999999</c:v>
                </c:pt>
                <c:pt idx="4848">
                  <c:v>105.20301449999999</c:v>
                </c:pt>
                <c:pt idx="4849">
                  <c:v>105.20301449999999</c:v>
                </c:pt>
                <c:pt idx="4850">
                  <c:v>105.20301449999999</c:v>
                </c:pt>
                <c:pt idx="4851">
                  <c:v>105.20301449999999</c:v>
                </c:pt>
                <c:pt idx="4852">
                  <c:v>105.20301449999999</c:v>
                </c:pt>
                <c:pt idx="4853">
                  <c:v>105.20301449999999</c:v>
                </c:pt>
                <c:pt idx="4854">
                  <c:v>105.20301449999999</c:v>
                </c:pt>
                <c:pt idx="4855">
                  <c:v>105.20301449999999</c:v>
                </c:pt>
                <c:pt idx="4856">
                  <c:v>105.20301449999999</c:v>
                </c:pt>
                <c:pt idx="4857">
                  <c:v>105.20301449999999</c:v>
                </c:pt>
                <c:pt idx="4858">
                  <c:v>105.20301449999999</c:v>
                </c:pt>
                <c:pt idx="4859">
                  <c:v>105.20301449999999</c:v>
                </c:pt>
                <c:pt idx="4860">
                  <c:v>105.20301449999999</c:v>
                </c:pt>
                <c:pt idx="4861">
                  <c:v>105.20301449999999</c:v>
                </c:pt>
                <c:pt idx="4862">
                  <c:v>105.20301449999999</c:v>
                </c:pt>
                <c:pt idx="4863">
                  <c:v>105.20301449999999</c:v>
                </c:pt>
                <c:pt idx="4864">
                  <c:v>105.20301449999999</c:v>
                </c:pt>
                <c:pt idx="4865">
                  <c:v>105.20301449999999</c:v>
                </c:pt>
                <c:pt idx="4866">
                  <c:v>105.20301449999999</c:v>
                </c:pt>
                <c:pt idx="4867">
                  <c:v>105.20301449999999</c:v>
                </c:pt>
                <c:pt idx="4868">
                  <c:v>105.20301449999999</c:v>
                </c:pt>
                <c:pt idx="4869">
                  <c:v>105.20301449999999</c:v>
                </c:pt>
                <c:pt idx="4870">
                  <c:v>105.20301449999999</c:v>
                </c:pt>
                <c:pt idx="4871">
                  <c:v>105.20301449999999</c:v>
                </c:pt>
                <c:pt idx="4872">
                  <c:v>105.20301449999999</c:v>
                </c:pt>
                <c:pt idx="4873">
                  <c:v>105.20301449999999</c:v>
                </c:pt>
                <c:pt idx="4874">
                  <c:v>105.20301449999999</c:v>
                </c:pt>
                <c:pt idx="4875">
                  <c:v>105.20301449999999</c:v>
                </c:pt>
                <c:pt idx="4876">
                  <c:v>105.20301449999999</c:v>
                </c:pt>
                <c:pt idx="4877">
                  <c:v>105.20301449999999</c:v>
                </c:pt>
                <c:pt idx="4878">
                  <c:v>105.20301449999999</c:v>
                </c:pt>
                <c:pt idx="4879">
                  <c:v>105.20301449999999</c:v>
                </c:pt>
                <c:pt idx="4880">
                  <c:v>105.20301449999999</c:v>
                </c:pt>
                <c:pt idx="4881">
                  <c:v>105.20301449999999</c:v>
                </c:pt>
                <c:pt idx="4882">
                  <c:v>105.20301449999999</c:v>
                </c:pt>
                <c:pt idx="4883">
                  <c:v>105.20301449999999</c:v>
                </c:pt>
                <c:pt idx="4884">
                  <c:v>105.20301449999999</c:v>
                </c:pt>
                <c:pt idx="4885">
                  <c:v>105.20301449999999</c:v>
                </c:pt>
                <c:pt idx="4886">
                  <c:v>105.20301449999999</c:v>
                </c:pt>
                <c:pt idx="4887">
                  <c:v>105.20301449999999</c:v>
                </c:pt>
                <c:pt idx="4888">
                  <c:v>105.20301449999999</c:v>
                </c:pt>
                <c:pt idx="4889">
                  <c:v>105.20301449999999</c:v>
                </c:pt>
                <c:pt idx="4890">
                  <c:v>105.20301449999999</c:v>
                </c:pt>
                <c:pt idx="4891">
                  <c:v>105.20301449999999</c:v>
                </c:pt>
                <c:pt idx="4892">
                  <c:v>105.20301449999999</c:v>
                </c:pt>
                <c:pt idx="4893">
                  <c:v>105.20301449999999</c:v>
                </c:pt>
                <c:pt idx="4894">
                  <c:v>105.20301449999999</c:v>
                </c:pt>
                <c:pt idx="4895">
                  <c:v>105.20301449999999</c:v>
                </c:pt>
                <c:pt idx="4896">
                  <c:v>105.20301449999999</c:v>
                </c:pt>
                <c:pt idx="4897">
                  <c:v>105.20301449999999</c:v>
                </c:pt>
                <c:pt idx="4898">
                  <c:v>105.20301449999999</c:v>
                </c:pt>
                <c:pt idx="4899">
                  <c:v>105.20301449999999</c:v>
                </c:pt>
                <c:pt idx="4900">
                  <c:v>105.20301449999999</c:v>
                </c:pt>
                <c:pt idx="4901">
                  <c:v>105.20301449999999</c:v>
                </c:pt>
                <c:pt idx="4902">
                  <c:v>105.20301449999999</c:v>
                </c:pt>
                <c:pt idx="4903">
                  <c:v>105.20301449999999</c:v>
                </c:pt>
                <c:pt idx="4904">
                  <c:v>105.20301449999999</c:v>
                </c:pt>
                <c:pt idx="4905">
                  <c:v>105.20301449999999</c:v>
                </c:pt>
                <c:pt idx="4906">
                  <c:v>105.20301449999999</c:v>
                </c:pt>
                <c:pt idx="4907">
                  <c:v>105.20301449999999</c:v>
                </c:pt>
                <c:pt idx="4908">
                  <c:v>105.20301449999999</c:v>
                </c:pt>
                <c:pt idx="4909">
                  <c:v>105.20301449999999</c:v>
                </c:pt>
                <c:pt idx="4910">
                  <c:v>105.20301449999999</c:v>
                </c:pt>
                <c:pt idx="4911">
                  <c:v>105.20301449999999</c:v>
                </c:pt>
                <c:pt idx="4912">
                  <c:v>105.20301449999999</c:v>
                </c:pt>
                <c:pt idx="4913">
                  <c:v>105.20301449999999</c:v>
                </c:pt>
                <c:pt idx="4914">
                  <c:v>105.20301449999999</c:v>
                </c:pt>
                <c:pt idx="4915">
                  <c:v>105.20301449999999</c:v>
                </c:pt>
                <c:pt idx="4916">
                  <c:v>105.20301449999999</c:v>
                </c:pt>
                <c:pt idx="4917">
                  <c:v>105.20301449999999</c:v>
                </c:pt>
                <c:pt idx="4918">
                  <c:v>105.20301449999999</c:v>
                </c:pt>
                <c:pt idx="4919">
                  <c:v>105.20301449999999</c:v>
                </c:pt>
                <c:pt idx="4920">
                  <c:v>105.20301449999999</c:v>
                </c:pt>
                <c:pt idx="4921">
                  <c:v>105.20301449999999</c:v>
                </c:pt>
                <c:pt idx="4922">
                  <c:v>105.20301449999999</c:v>
                </c:pt>
                <c:pt idx="4923">
                  <c:v>105.20301449999999</c:v>
                </c:pt>
                <c:pt idx="4924">
                  <c:v>105.20301449999999</c:v>
                </c:pt>
                <c:pt idx="4925">
                  <c:v>105.20301449999999</c:v>
                </c:pt>
                <c:pt idx="4926">
                  <c:v>105.20301449999999</c:v>
                </c:pt>
                <c:pt idx="4927">
                  <c:v>105.20301449999999</c:v>
                </c:pt>
                <c:pt idx="4928">
                  <c:v>105.20301449999999</c:v>
                </c:pt>
                <c:pt idx="4929">
                  <c:v>105.20301449999999</c:v>
                </c:pt>
                <c:pt idx="4930">
                  <c:v>105.20301449999999</c:v>
                </c:pt>
                <c:pt idx="4931">
                  <c:v>105.20301449999999</c:v>
                </c:pt>
                <c:pt idx="4932">
                  <c:v>105.20301449999999</c:v>
                </c:pt>
                <c:pt idx="4933">
                  <c:v>105.20301449999999</c:v>
                </c:pt>
                <c:pt idx="4934">
                  <c:v>105.20301449999999</c:v>
                </c:pt>
                <c:pt idx="4935">
                  <c:v>105.20301449999999</c:v>
                </c:pt>
                <c:pt idx="4936">
                  <c:v>105.20301449999999</c:v>
                </c:pt>
                <c:pt idx="4937">
                  <c:v>105.20301449999999</c:v>
                </c:pt>
                <c:pt idx="4938">
                  <c:v>105.20301449999999</c:v>
                </c:pt>
                <c:pt idx="4939">
                  <c:v>105.20301449999999</c:v>
                </c:pt>
                <c:pt idx="4940">
                  <c:v>105.20301449999999</c:v>
                </c:pt>
                <c:pt idx="4941">
                  <c:v>105.20301449999999</c:v>
                </c:pt>
                <c:pt idx="4942">
                  <c:v>105.20301449999999</c:v>
                </c:pt>
                <c:pt idx="4943">
                  <c:v>105.20301449999999</c:v>
                </c:pt>
                <c:pt idx="4944">
                  <c:v>105.20301449999999</c:v>
                </c:pt>
                <c:pt idx="4945">
                  <c:v>105.20301449999999</c:v>
                </c:pt>
                <c:pt idx="4946">
                  <c:v>105.20301449999999</c:v>
                </c:pt>
                <c:pt idx="4947">
                  <c:v>105.20301449999999</c:v>
                </c:pt>
                <c:pt idx="4948">
                  <c:v>105.20301449999999</c:v>
                </c:pt>
                <c:pt idx="4949">
                  <c:v>105.20301449999999</c:v>
                </c:pt>
                <c:pt idx="4950">
                  <c:v>105.20301449999999</c:v>
                </c:pt>
                <c:pt idx="4951">
                  <c:v>105.20301449999999</c:v>
                </c:pt>
                <c:pt idx="4952">
                  <c:v>105.20301449999999</c:v>
                </c:pt>
                <c:pt idx="4953">
                  <c:v>105.20301449999999</c:v>
                </c:pt>
                <c:pt idx="4954">
                  <c:v>105.20301449999999</c:v>
                </c:pt>
                <c:pt idx="4955">
                  <c:v>105.20301449999999</c:v>
                </c:pt>
                <c:pt idx="4956">
                  <c:v>105.20301449999999</c:v>
                </c:pt>
                <c:pt idx="4957">
                  <c:v>105.20301449999999</c:v>
                </c:pt>
                <c:pt idx="4958">
                  <c:v>105.20301449999999</c:v>
                </c:pt>
                <c:pt idx="4959">
                  <c:v>105.20301449999999</c:v>
                </c:pt>
                <c:pt idx="4960">
                  <c:v>105.20301449999999</c:v>
                </c:pt>
                <c:pt idx="4961">
                  <c:v>105.20301449999999</c:v>
                </c:pt>
                <c:pt idx="4962">
                  <c:v>105.20301449999999</c:v>
                </c:pt>
                <c:pt idx="4963">
                  <c:v>105.20301449999999</c:v>
                </c:pt>
                <c:pt idx="4964">
                  <c:v>105.20301449999999</c:v>
                </c:pt>
                <c:pt idx="4965">
                  <c:v>105.20301449999999</c:v>
                </c:pt>
                <c:pt idx="4966">
                  <c:v>105.20301449999999</c:v>
                </c:pt>
                <c:pt idx="4967">
                  <c:v>105.20301449999999</c:v>
                </c:pt>
                <c:pt idx="4968">
                  <c:v>105.20301449999999</c:v>
                </c:pt>
                <c:pt idx="4969">
                  <c:v>105.20301449999999</c:v>
                </c:pt>
                <c:pt idx="4970">
                  <c:v>105.20301449999999</c:v>
                </c:pt>
                <c:pt idx="4971">
                  <c:v>105.20301449999999</c:v>
                </c:pt>
                <c:pt idx="4972">
                  <c:v>105.20301449999999</c:v>
                </c:pt>
                <c:pt idx="4973">
                  <c:v>105.20301449999999</c:v>
                </c:pt>
                <c:pt idx="4974">
                  <c:v>105.20301449999999</c:v>
                </c:pt>
                <c:pt idx="4975">
                  <c:v>105.20301449999999</c:v>
                </c:pt>
                <c:pt idx="4976">
                  <c:v>105.20301449999999</c:v>
                </c:pt>
                <c:pt idx="4977">
                  <c:v>105.20301449999999</c:v>
                </c:pt>
                <c:pt idx="4978">
                  <c:v>105.20301449999999</c:v>
                </c:pt>
                <c:pt idx="4979">
                  <c:v>105.20301449999999</c:v>
                </c:pt>
                <c:pt idx="4980">
                  <c:v>105.20301449999999</c:v>
                </c:pt>
                <c:pt idx="4981">
                  <c:v>105.20301449999999</c:v>
                </c:pt>
                <c:pt idx="4982">
                  <c:v>105.20301449999999</c:v>
                </c:pt>
                <c:pt idx="4983">
                  <c:v>105.20301449999999</c:v>
                </c:pt>
                <c:pt idx="4984">
                  <c:v>105.20301449999999</c:v>
                </c:pt>
                <c:pt idx="4985">
                  <c:v>105.20301449999999</c:v>
                </c:pt>
                <c:pt idx="4986">
                  <c:v>105.20301449999999</c:v>
                </c:pt>
                <c:pt idx="4987">
                  <c:v>105.20301449999999</c:v>
                </c:pt>
                <c:pt idx="4988">
                  <c:v>105.20301449999999</c:v>
                </c:pt>
                <c:pt idx="4989">
                  <c:v>105.20301449999999</c:v>
                </c:pt>
                <c:pt idx="4990">
                  <c:v>105.20301449999999</c:v>
                </c:pt>
                <c:pt idx="4991">
                  <c:v>105.20301449999999</c:v>
                </c:pt>
                <c:pt idx="4992">
                  <c:v>105.20301449999999</c:v>
                </c:pt>
                <c:pt idx="4993">
                  <c:v>105.20301449999999</c:v>
                </c:pt>
                <c:pt idx="4994">
                  <c:v>105.20301449999999</c:v>
                </c:pt>
                <c:pt idx="4995">
                  <c:v>105.20301449999999</c:v>
                </c:pt>
                <c:pt idx="4996">
                  <c:v>105.20301449999999</c:v>
                </c:pt>
                <c:pt idx="4997">
                  <c:v>105.18438950000001</c:v>
                </c:pt>
                <c:pt idx="4998">
                  <c:v>105.18438950000001</c:v>
                </c:pt>
                <c:pt idx="4999">
                  <c:v>105.178206</c:v>
                </c:pt>
                <c:pt idx="5000">
                  <c:v>105.1739595</c:v>
                </c:pt>
                <c:pt idx="5001">
                  <c:v>105.1739595</c:v>
                </c:pt>
                <c:pt idx="5002">
                  <c:v>105.1739595</c:v>
                </c:pt>
                <c:pt idx="5003">
                  <c:v>105.1739595</c:v>
                </c:pt>
                <c:pt idx="5004">
                  <c:v>105.1739595</c:v>
                </c:pt>
                <c:pt idx="5005">
                  <c:v>105.1739595</c:v>
                </c:pt>
                <c:pt idx="5006">
                  <c:v>105.1739595</c:v>
                </c:pt>
                <c:pt idx="5007">
                  <c:v>105.1739595</c:v>
                </c:pt>
                <c:pt idx="5008">
                  <c:v>105.1739595</c:v>
                </c:pt>
                <c:pt idx="5009">
                  <c:v>105.1739595</c:v>
                </c:pt>
                <c:pt idx="5010">
                  <c:v>105.16956400000001</c:v>
                </c:pt>
                <c:pt idx="5011">
                  <c:v>105.16956400000001</c:v>
                </c:pt>
                <c:pt idx="5012">
                  <c:v>105.15451499999999</c:v>
                </c:pt>
                <c:pt idx="5013">
                  <c:v>105.15451499999999</c:v>
                </c:pt>
                <c:pt idx="5014">
                  <c:v>105.15451499999999</c:v>
                </c:pt>
                <c:pt idx="5015">
                  <c:v>105.15451499999999</c:v>
                </c:pt>
                <c:pt idx="5016">
                  <c:v>105.15451499999999</c:v>
                </c:pt>
                <c:pt idx="5017">
                  <c:v>105.15451499999999</c:v>
                </c:pt>
                <c:pt idx="5018">
                  <c:v>105.15451499999999</c:v>
                </c:pt>
                <c:pt idx="5019">
                  <c:v>105.15451499999999</c:v>
                </c:pt>
                <c:pt idx="5020">
                  <c:v>105.153323</c:v>
                </c:pt>
                <c:pt idx="5021">
                  <c:v>105.1498215</c:v>
                </c:pt>
                <c:pt idx="5022">
                  <c:v>105.1498215</c:v>
                </c:pt>
                <c:pt idx="5023">
                  <c:v>105.1498215</c:v>
                </c:pt>
                <c:pt idx="5024">
                  <c:v>105.1498215</c:v>
                </c:pt>
                <c:pt idx="5025">
                  <c:v>105.1498215</c:v>
                </c:pt>
                <c:pt idx="5026">
                  <c:v>105.1498215</c:v>
                </c:pt>
                <c:pt idx="5027">
                  <c:v>105.1498215</c:v>
                </c:pt>
                <c:pt idx="5028">
                  <c:v>105.1498215</c:v>
                </c:pt>
                <c:pt idx="5029">
                  <c:v>105.1498215</c:v>
                </c:pt>
                <c:pt idx="5030">
                  <c:v>105.1498215</c:v>
                </c:pt>
                <c:pt idx="5031">
                  <c:v>105.1498215</c:v>
                </c:pt>
                <c:pt idx="5032">
                  <c:v>105.1498215</c:v>
                </c:pt>
                <c:pt idx="5033">
                  <c:v>105.1498215</c:v>
                </c:pt>
                <c:pt idx="5034">
                  <c:v>105.1498215</c:v>
                </c:pt>
                <c:pt idx="5035">
                  <c:v>105.1498215</c:v>
                </c:pt>
                <c:pt idx="5036">
                  <c:v>105.1498215</c:v>
                </c:pt>
                <c:pt idx="5037">
                  <c:v>105.13291000000001</c:v>
                </c:pt>
                <c:pt idx="5038">
                  <c:v>105.13291000000001</c:v>
                </c:pt>
                <c:pt idx="5039">
                  <c:v>105.13291000000001</c:v>
                </c:pt>
                <c:pt idx="5040">
                  <c:v>105.13291000000001</c:v>
                </c:pt>
                <c:pt idx="5041">
                  <c:v>105.1289615</c:v>
                </c:pt>
                <c:pt idx="5042">
                  <c:v>105.12851449999999</c:v>
                </c:pt>
                <c:pt idx="5043">
                  <c:v>105.12851449999999</c:v>
                </c:pt>
                <c:pt idx="5044">
                  <c:v>105.12851449999999</c:v>
                </c:pt>
                <c:pt idx="5045">
                  <c:v>105.12851449999999</c:v>
                </c:pt>
                <c:pt idx="5046">
                  <c:v>105.12851449999999</c:v>
                </c:pt>
                <c:pt idx="5047">
                  <c:v>105.12851449999999</c:v>
                </c:pt>
                <c:pt idx="5048">
                  <c:v>105.12851449999999</c:v>
                </c:pt>
                <c:pt idx="5049">
                  <c:v>105.12851449999999</c:v>
                </c:pt>
                <c:pt idx="5050">
                  <c:v>105.12851449999999</c:v>
                </c:pt>
                <c:pt idx="5051">
                  <c:v>105.12851449999999</c:v>
                </c:pt>
                <c:pt idx="5052">
                  <c:v>105.12851449999999</c:v>
                </c:pt>
                <c:pt idx="5053">
                  <c:v>105.12851449999999</c:v>
                </c:pt>
                <c:pt idx="5054">
                  <c:v>105.12851449999999</c:v>
                </c:pt>
                <c:pt idx="5055">
                  <c:v>105.12851449999999</c:v>
                </c:pt>
                <c:pt idx="5056">
                  <c:v>105.12851449999999</c:v>
                </c:pt>
                <c:pt idx="5057">
                  <c:v>105.12851449999999</c:v>
                </c:pt>
                <c:pt idx="5058">
                  <c:v>105.12851449999999</c:v>
                </c:pt>
                <c:pt idx="5059">
                  <c:v>105.12851449999999</c:v>
                </c:pt>
                <c:pt idx="5060">
                  <c:v>105.12851449999999</c:v>
                </c:pt>
                <c:pt idx="5061">
                  <c:v>105.12851449999999</c:v>
                </c:pt>
                <c:pt idx="5062">
                  <c:v>105.12851449999999</c:v>
                </c:pt>
                <c:pt idx="5063">
                  <c:v>105.12851449999999</c:v>
                </c:pt>
                <c:pt idx="5064">
                  <c:v>105.12851449999999</c:v>
                </c:pt>
                <c:pt idx="5065">
                  <c:v>105.12851449999999</c:v>
                </c:pt>
                <c:pt idx="5066">
                  <c:v>105.12851449999999</c:v>
                </c:pt>
                <c:pt idx="5067">
                  <c:v>105.12851449999999</c:v>
                </c:pt>
                <c:pt idx="5068">
                  <c:v>105.12851449999999</c:v>
                </c:pt>
                <c:pt idx="5069">
                  <c:v>105.12851449999999</c:v>
                </c:pt>
                <c:pt idx="5070">
                  <c:v>105.12851449999999</c:v>
                </c:pt>
                <c:pt idx="5071">
                  <c:v>105.12851449999999</c:v>
                </c:pt>
                <c:pt idx="5072">
                  <c:v>105.12851449999999</c:v>
                </c:pt>
                <c:pt idx="5073">
                  <c:v>105.12851449999999</c:v>
                </c:pt>
                <c:pt idx="5074">
                  <c:v>105.12851449999999</c:v>
                </c:pt>
                <c:pt idx="5075">
                  <c:v>105.12851449999999</c:v>
                </c:pt>
                <c:pt idx="5076">
                  <c:v>105.12851449999999</c:v>
                </c:pt>
                <c:pt idx="5077">
                  <c:v>105.12851449999999</c:v>
                </c:pt>
                <c:pt idx="5078">
                  <c:v>105.12851449999999</c:v>
                </c:pt>
                <c:pt idx="5079">
                  <c:v>105.12851449999999</c:v>
                </c:pt>
                <c:pt idx="5080">
                  <c:v>105.12851449999999</c:v>
                </c:pt>
                <c:pt idx="5081">
                  <c:v>105.12851449999999</c:v>
                </c:pt>
                <c:pt idx="5082">
                  <c:v>105.12851449999999</c:v>
                </c:pt>
                <c:pt idx="5083">
                  <c:v>105.12851449999999</c:v>
                </c:pt>
                <c:pt idx="5084">
                  <c:v>105.12851449999999</c:v>
                </c:pt>
                <c:pt idx="5085">
                  <c:v>105.12851449999999</c:v>
                </c:pt>
                <c:pt idx="5086">
                  <c:v>105.12851449999999</c:v>
                </c:pt>
                <c:pt idx="5087">
                  <c:v>105.12851449999999</c:v>
                </c:pt>
                <c:pt idx="5088">
                  <c:v>105.12851449999999</c:v>
                </c:pt>
                <c:pt idx="5089">
                  <c:v>105.12851449999999</c:v>
                </c:pt>
                <c:pt idx="5090">
                  <c:v>105.12851449999999</c:v>
                </c:pt>
                <c:pt idx="5091">
                  <c:v>105.12851449999999</c:v>
                </c:pt>
                <c:pt idx="5092">
                  <c:v>105.12851449999999</c:v>
                </c:pt>
                <c:pt idx="5093">
                  <c:v>105.12851449999999</c:v>
                </c:pt>
                <c:pt idx="5094">
                  <c:v>105.12851449999999</c:v>
                </c:pt>
                <c:pt idx="5095">
                  <c:v>105.12851449999999</c:v>
                </c:pt>
                <c:pt idx="5096">
                  <c:v>105.12851449999999</c:v>
                </c:pt>
                <c:pt idx="5097">
                  <c:v>105.12851449999999</c:v>
                </c:pt>
                <c:pt idx="5098">
                  <c:v>105.12851449999999</c:v>
                </c:pt>
                <c:pt idx="5099">
                  <c:v>105.12851449999999</c:v>
                </c:pt>
                <c:pt idx="5100">
                  <c:v>105.12851449999999</c:v>
                </c:pt>
                <c:pt idx="5101">
                  <c:v>105.12851449999999</c:v>
                </c:pt>
                <c:pt idx="5102">
                  <c:v>105.12851449999999</c:v>
                </c:pt>
                <c:pt idx="5103">
                  <c:v>105.12851449999999</c:v>
                </c:pt>
                <c:pt idx="5104">
                  <c:v>105.12851449999999</c:v>
                </c:pt>
                <c:pt idx="5105">
                  <c:v>105.12851449999999</c:v>
                </c:pt>
                <c:pt idx="5106">
                  <c:v>105.12851449999999</c:v>
                </c:pt>
                <c:pt idx="5107">
                  <c:v>105.12851449999999</c:v>
                </c:pt>
                <c:pt idx="5108">
                  <c:v>105.12851449999999</c:v>
                </c:pt>
                <c:pt idx="5109">
                  <c:v>105.12851449999999</c:v>
                </c:pt>
                <c:pt idx="5110">
                  <c:v>105.12851449999999</c:v>
                </c:pt>
                <c:pt idx="5111">
                  <c:v>105.12851449999999</c:v>
                </c:pt>
                <c:pt idx="5112">
                  <c:v>105.12851449999999</c:v>
                </c:pt>
                <c:pt idx="5113">
                  <c:v>105.12851449999999</c:v>
                </c:pt>
                <c:pt idx="5114">
                  <c:v>105.12851449999999</c:v>
                </c:pt>
                <c:pt idx="5115">
                  <c:v>105.12851449999999</c:v>
                </c:pt>
                <c:pt idx="5116">
                  <c:v>105.12851449999999</c:v>
                </c:pt>
                <c:pt idx="5117">
                  <c:v>105.12851449999999</c:v>
                </c:pt>
                <c:pt idx="5118">
                  <c:v>105.12851449999999</c:v>
                </c:pt>
                <c:pt idx="5119">
                  <c:v>105.12851449999999</c:v>
                </c:pt>
                <c:pt idx="5120">
                  <c:v>105.12851449999999</c:v>
                </c:pt>
                <c:pt idx="5121">
                  <c:v>105.12851449999999</c:v>
                </c:pt>
                <c:pt idx="5122">
                  <c:v>105.12851449999999</c:v>
                </c:pt>
                <c:pt idx="5123">
                  <c:v>105.12851449999999</c:v>
                </c:pt>
                <c:pt idx="5124">
                  <c:v>105.12851449999999</c:v>
                </c:pt>
                <c:pt idx="5125">
                  <c:v>105.12851449999999</c:v>
                </c:pt>
                <c:pt idx="5126">
                  <c:v>105.12851449999999</c:v>
                </c:pt>
                <c:pt idx="5127">
                  <c:v>105.12851449999999</c:v>
                </c:pt>
                <c:pt idx="5128">
                  <c:v>105.12851449999999</c:v>
                </c:pt>
                <c:pt idx="5129">
                  <c:v>105.12851449999999</c:v>
                </c:pt>
                <c:pt idx="5130">
                  <c:v>105.12851449999999</c:v>
                </c:pt>
                <c:pt idx="5131">
                  <c:v>105.12851449999999</c:v>
                </c:pt>
                <c:pt idx="5132">
                  <c:v>105.12851449999999</c:v>
                </c:pt>
                <c:pt idx="5133">
                  <c:v>105.12851449999999</c:v>
                </c:pt>
                <c:pt idx="5134">
                  <c:v>105.12851449999999</c:v>
                </c:pt>
                <c:pt idx="5135">
                  <c:v>105.12851449999999</c:v>
                </c:pt>
                <c:pt idx="5136">
                  <c:v>105.12851449999999</c:v>
                </c:pt>
                <c:pt idx="5137">
                  <c:v>105.12851449999999</c:v>
                </c:pt>
                <c:pt idx="5138">
                  <c:v>105.12851449999999</c:v>
                </c:pt>
                <c:pt idx="5139">
                  <c:v>105.12851449999999</c:v>
                </c:pt>
                <c:pt idx="5140">
                  <c:v>105.12851449999999</c:v>
                </c:pt>
                <c:pt idx="5141">
                  <c:v>105.12851449999999</c:v>
                </c:pt>
                <c:pt idx="5142">
                  <c:v>105.12851449999999</c:v>
                </c:pt>
                <c:pt idx="5143">
                  <c:v>105.12851449999999</c:v>
                </c:pt>
                <c:pt idx="5144">
                  <c:v>105.12851449999999</c:v>
                </c:pt>
                <c:pt idx="5145">
                  <c:v>105.12851449999999</c:v>
                </c:pt>
                <c:pt idx="5146">
                  <c:v>105.12851449999999</c:v>
                </c:pt>
                <c:pt idx="5147">
                  <c:v>105.12851449999999</c:v>
                </c:pt>
                <c:pt idx="5148">
                  <c:v>105.12851449999999</c:v>
                </c:pt>
                <c:pt idx="5149">
                  <c:v>105.12851449999999</c:v>
                </c:pt>
                <c:pt idx="5150">
                  <c:v>105.12851449999999</c:v>
                </c:pt>
                <c:pt idx="5151">
                  <c:v>105.12851449999999</c:v>
                </c:pt>
                <c:pt idx="5152">
                  <c:v>105.12851449999999</c:v>
                </c:pt>
                <c:pt idx="5153">
                  <c:v>105.12851449999999</c:v>
                </c:pt>
                <c:pt idx="5154">
                  <c:v>105.12851449999999</c:v>
                </c:pt>
                <c:pt idx="5155">
                  <c:v>105.12851449999999</c:v>
                </c:pt>
                <c:pt idx="5156">
                  <c:v>105.12851449999999</c:v>
                </c:pt>
                <c:pt idx="5157">
                  <c:v>105.12851449999999</c:v>
                </c:pt>
                <c:pt idx="5158">
                  <c:v>105.12851449999999</c:v>
                </c:pt>
                <c:pt idx="5159">
                  <c:v>105.12851449999999</c:v>
                </c:pt>
                <c:pt idx="5160">
                  <c:v>105.12851449999999</c:v>
                </c:pt>
                <c:pt idx="5161">
                  <c:v>105.12851449999999</c:v>
                </c:pt>
                <c:pt idx="5162">
                  <c:v>105.12851449999999</c:v>
                </c:pt>
                <c:pt idx="5163">
                  <c:v>105.12851449999999</c:v>
                </c:pt>
                <c:pt idx="5164">
                  <c:v>105.12851449999999</c:v>
                </c:pt>
                <c:pt idx="5165">
                  <c:v>105.12851449999999</c:v>
                </c:pt>
                <c:pt idx="5166">
                  <c:v>105.12851449999999</c:v>
                </c:pt>
                <c:pt idx="5167">
                  <c:v>105.12851449999999</c:v>
                </c:pt>
                <c:pt idx="5168">
                  <c:v>105.12851449999999</c:v>
                </c:pt>
                <c:pt idx="5169">
                  <c:v>105.12851449999999</c:v>
                </c:pt>
                <c:pt idx="5170">
                  <c:v>105.12851449999999</c:v>
                </c:pt>
                <c:pt idx="5171">
                  <c:v>105.12851449999999</c:v>
                </c:pt>
                <c:pt idx="5172">
                  <c:v>105.12851449999999</c:v>
                </c:pt>
                <c:pt idx="5173">
                  <c:v>105.12851449999999</c:v>
                </c:pt>
                <c:pt idx="5174">
                  <c:v>105.12851449999999</c:v>
                </c:pt>
                <c:pt idx="5175">
                  <c:v>105.12851449999999</c:v>
                </c:pt>
                <c:pt idx="5176">
                  <c:v>105.12851449999999</c:v>
                </c:pt>
                <c:pt idx="5177">
                  <c:v>105.12851449999999</c:v>
                </c:pt>
                <c:pt idx="5178">
                  <c:v>105.12851449999999</c:v>
                </c:pt>
                <c:pt idx="5179">
                  <c:v>105.12851449999999</c:v>
                </c:pt>
                <c:pt idx="5180">
                  <c:v>105.12851449999999</c:v>
                </c:pt>
                <c:pt idx="5181">
                  <c:v>105.12851449999999</c:v>
                </c:pt>
                <c:pt idx="5182">
                  <c:v>105.12851449999999</c:v>
                </c:pt>
                <c:pt idx="5183">
                  <c:v>105.12851449999999</c:v>
                </c:pt>
                <c:pt idx="5184">
                  <c:v>105.12851449999999</c:v>
                </c:pt>
                <c:pt idx="5185">
                  <c:v>105.12851449999999</c:v>
                </c:pt>
                <c:pt idx="5186">
                  <c:v>105.12851449999999</c:v>
                </c:pt>
                <c:pt idx="5187">
                  <c:v>105.12851449999999</c:v>
                </c:pt>
                <c:pt idx="5188">
                  <c:v>105.12851449999999</c:v>
                </c:pt>
                <c:pt idx="5189">
                  <c:v>105.12851449999999</c:v>
                </c:pt>
                <c:pt idx="5190">
                  <c:v>105.12851449999999</c:v>
                </c:pt>
                <c:pt idx="5191">
                  <c:v>105.12851449999999</c:v>
                </c:pt>
                <c:pt idx="5192">
                  <c:v>105.12851449999999</c:v>
                </c:pt>
                <c:pt idx="5193">
                  <c:v>105.12851449999999</c:v>
                </c:pt>
                <c:pt idx="5194">
                  <c:v>105.12851449999999</c:v>
                </c:pt>
                <c:pt idx="5195">
                  <c:v>105.12851449999999</c:v>
                </c:pt>
                <c:pt idx="5196">
                  <c:v>105.12851449999999</c:v>
                </c:pt>
                <c:pt idx="5197">
                  <c:v>105.12851449999999</c:v>
                </c:pt>
                <c:pt idx="5198">
                  <c:v>105.12851449999999</c:v>
                </c:pt>
                <c:pt idx="5199">
                  <c:v>105.12851449999999</c:v>
                </c:pt>
                <c:pt idx="5200">
                  <c:v>105.12851449999999</c:v>
                </c:pt>
                <c:pt idx="5201">
                  <c:v>105.12851449999999</c:v>
                </c:pt>
                <c:pt idx="5202">
                  <c:v>105.12851449999999</c:v>
                </c:pt>
                <c:pt idx="5203">
                  <c:v>105.12851449999999</c:v>
                </c:pt>
                <c:pt idx="5204">
                  <c:v>105.12851449999999</c:v>
                </c:pt>
                <c:pt idx="5205">
                  <c:v>105.12851449999999</c:v>
                </c:pt>
                <c:pt idx="5206">
                  <c:v>105.12851449999999</c:v>
                </c:pt>
                <c:pt idx="5207">
                  <c:v>105.12851449999999</c:v>
                </c:pt>
                <c:pt idx="5208">
                  <c:v>105.12851449999999</c:v>
                </c:pt>
                <c:pt idx="5209">
                  <c:v>105.12851449999999</c:v>
                </c:pt>
                <c:pt idx="5210">
                  <c:v>105.12851449999999</c:v>
                </c:pt>
                <c:pt idx="5211">
                  <c:v>105.12851449999999</c:v>
                </c:pt>
                <c:pt idx="5212">
                  <c:v>105.12851449999999</c:v>
                </c:pt>
                <c:pt idx="5213">
                  <c:v>105.12851449999999</c:v>
                </c:pt>
                <c:pt idx="5214">
                  <c:v>105.12851449999999</c:v>
                </c:pt>
                <c:pt idx="5215">
                  <c:v>105.12851449999999</c:v>
                </c:pt>
                <c:pt idx="5216">
                  <c:v>105.12851449999999</c:v>
                </c:pt>
                <c:pt idx="5217">
                  <c:v>105.12851449999999</c:v>
                </c:pt>
                <c:pt idx="5218">
                  <c:v>105.12851449999999</c:v>
                </c:pt>
                <c:pt idx="5219">
                  <c:v>105.12851449999999</c:v>
                </c:pt>
                <c:pt idx="5220">
                  <c:v>105.12851449999999</c:v>
                </c:pt>
                <c:pt idx="5221">
                  <c:v>105.12851449999999</c:v>
                </c:pt>
                <c:pt idx="5222">
                  <c:v>105.12851449999999</c:v>
                </c:pt>
                <c:pt idx="5223">
                  <c:v>105.12851449999999</c:v>
                </c:pt>
                <c:pt idx="5224">
                  <c:v>105.12851449999999</c:v>
                </c:pt>
                <c:pt idx="5225">
                  <c:v>105.12851449999999</c:v>
                </c:pt>
                <c:pt idx="5226">
                  <c:v>105.12851449999999</c:v>
                </c:pt>
                <c:pt idx="5227">
                  <c:v>105.12851449999999</c:v>
                </c:pt>
                <c:pt idx="5228">
                  <c:v>105.12851449999999</c:v>
                </c:pt>
                <c:pt idx="5229">
                  <c:v>105.12851449999999</c:v>
                </c:pt>
                <c:pt idx="5230">
                  <c:v>105.12851449999999</c:v>
                </c:pt>
                <c:pt idx="5231">
                  <c:v>105.12851449999999</c:v>
                </c:pt>
                <c:pt idx="5232">
                  <c:v>105.12851449999999</c:v>
                </c:pt>
                <c:pt idx="5233">
                  <c:v>105.12851449999999</c:v>
                </c:pt>
                <c:pt idx="5234">
                  <c:v>105.12851449999999</c:v>
                </c:pt>
                <c:pt idx="5235">
                  <c:v>105.12851449999999</c:v>
                </c:pt>
                <c:pt idx="5236">
                  <c:v>105.12851449999999</c:v>
                </c:pt>
                <c:pt idx="5237">
                  <c:v>105.12851449999999</c:v>
                </c:pt>
                <c:pt idx="5238">
                  <c:v>105.12851449999999</c:v>
                </c:pt>
                <c:pt idx="5239">
                  <c:v>105.12851449999999</c:v>
                </c:pt>
                <c:pt idx="5240">
                  <c:v>105.12851449999999</c:v>
                </c:pt>
                <c:pt idx="5241">
                  <c:v>105.12851449999999</c:v>
                </c:pt>
                <c:pt idx="5242">
                  <c:v>105.12851449999999</c:v>
                </c:pt>
                <c:pt idx="5243">
                  <c:v>105.10988950000001</c:v>
                </c:pt>
                <c:pt idx="5244">
                  <c:v>105.10988950000001</c:v>
                </c:pt>
                <c:pt idx="5245">
                  <c:v>105.09945950000001</c:v>
                </c:pt>
                <c:pt idx="5246">
                  <c:v>105.09945950000001</c:v>
                </c:pt>
                <c:pt idx="5247">
                  <c:v>105.09945950000001</c:v>
                </c:pt>
                <c:pt idx="5248">
                  <c:v>105.09945950000001</c:v>
                </c:pt>
                <c:pt idx="5249">
                  <c:v>105.09945950000001</c:v>
                </c:pt>
                <c:pt idx="5250">
                  <c:v>105.09506399999999</c:v>
                </c:pt>
                <c:pt idx="5251">
                  <c:v>105.09126450000001</c:v>
                </c:pt>
                <c:pt idx="5252">
                  <c:v>105.080015</c:v>
                </c:pt>
                <c:pt idx="5253">
                  <c:v>105.080015</c:v>
                </c:pt>
                <c:pt idx="5254">
                  <c:v>105.080015</c:v>
                </c:pt>
                <c:pt idx="5255">
                  <c:v>105.080015</c:v>
                </c:pt>
                <c:pt idx="5256">
                  <c:v>105.080015</c:v>
                </c:pt>
                <c:pt idx="5257">
                  <c:v>105.080015</c:v>
                </c:pt>
                <c:pt idx="5258">
                  <c:v>105.080015</c:v>
                </c:pt>
                <c:pt idx="5259">
                  <c:v>105.080015</c:v>
                </c:pt>
                <c:pt idx="5260">
                  <c:v>105.080015</c:v>
                </c:pt>
                <c:pt idx="5261">
                  <c:v>105.080015</c:v>
                </c:pt>
                <c:pt idx="5262">
                  <c:v>105.080015</c:v>
                </c:pt>
                <c:pt idx="5263">
                  <c:v>105.080015</c:v>
                </c:pt>
                <c:pt idx="5264">
                  <c:v>105.080015</c:v>
                </c:pt>
                <c:pt idx="5265">
                  <c:v>105.0753215</c:v>
                </c:pt>
                <c:pt idx="5266">
                  <c:v>105.0753215</c:v>
                </c:pt>
                <c:pt idx="5267">
                  <c:v>105.0753215</c:v>
                </c:pt>
                <c:pt idx="5268">
                  <c:v>105.0753215</c:v>
                </c:pt>
                <c:pt idx="5269">
                  <c:v>105.05841000000001</c:v>
                </c:pt>
                <c:pt idx="5270">
                  <c:v>105.05841000000001</c:v>
                </c:pt>
                <c:pt idx="5271">
                  <c:v>105.05841000000001</c:v>
                </c:pt>
                <c:pt idx="5272">
                  <c:v>105.05841000000001</c:v>
                </c:pt>
                <c:pt idx="5273">
                  <c:v>105.05841000000001</c:v>
                </c:pt>
                <c:pt idx="5274">
                  <c:v>105.05841000000001</c:v>
                </c:pt>
                <c:pt idx="5275">
                  <c:v>105.05841000000001</c:v>
                </c:pt>
                <c:pt idx="5276">
                  <c:v>105.05841000000001</c:v>
                </c:pt>
                <c:pt idx="5277">
                  <c:v>105.05841000000001</c:v>
                </c:pt>
                <c:pt idx="5278">
                  <c:v>105.05841000000001</c:v>
                </c:pt>
                <c:pt idx="5279">
                  <c:v>105.05841000000001</c:v>
                </c:pt>
                <c:pt idx="5280">
                  <c:v>105.05841000000001</c:v>
                </c:pt>
                <c:pt idx="5281">
                  <c:v>105.05841000000001</c:v>
                </c:pt>
                <c:pt idx="5282">
                  <c:v>105.05841000000001</c:v>
                </c:pt>
                <c:pt idx="5283">
                  <c:v>105.054089</c:v>
                </c:pt>
                <c:pt idx="5284">
                  <c:v>105.05401450000001</c:v>
                </c:pt>
                <c:pt idx="5285">
                  <c:v>105.05401450000001</c:v>
                </c:pt>
                <c:pt idx="5286">
                  <c:v>105.05401450000001</c:v>
                </c:pt>
                <c:pt idx="5287">
                  <c:v>105.05401450000001</c:v>
                </c:pt>
                <c:pt idx="5288">
                  <c:v>105.05401450000001</c:v>
                </c:pt>
                <c:pt idx="5289">
                  <c:v>105.05401450000001</c:v>
                </c:pt>
                <c:pt idx="5290">
                  <c:v>105.05401450000001</c:v>
                </c:pt>
                <c:pt idx="5291">
                  <c:v>105.05401450000001</c:v>
                </c:pt>
                <c:pt idx="5292">
                  <c:v>105.05401450000001</c:v>
                </c:pt>
                <c:pt idx="5293">
                  <c:v>105.05401450000001</c:v>
                </c:pt>
                <c:pt idx="5294">
                  <c:v>105.05401450000001</c:v>
                </c:pt>
                <c:pt idx="5295">
                  <c:v>105.05401450000001</c:v>
                </c:pt>
                <c:pt idx="5296">
                  <c:v>105.05401450000001</c:v>
                </c:pt>
                <c:pt idx="5297">
                  <c:v>105.05401450000001</c:v>
                </c:pt>
                <c:pt idx="5298">
                  <c:v>105.05401450000001</c:v>
                </c:pt>
                <c:pt idx="5299">
                  <c:v>105.05401450000001</c:v>
                </c:pt>
                <c:pt idx="5300">
                  <c:v>105.05401450000001</c:v>
                </c:pt>
                <c:pt idx="5301">
                  <c:v>105.05401450000001</c:v>
                </c:pt>
                <c:pt idx="5302">
                  <c:v>105.05401450000001</c:v>
                </c:pt>
                <c:pt idx="5303">
                  <c:v>105.05401450000001</c:v>
                </c:pt>
                <c:pt idx="5304">
                  <c:v>105.05401450000001</c:v>
                </c:pt>
                <c:pt idx="5305">
                  <c:v>105.05401450000001</c:v>
                </c:pt>
                <c:pt idx="5306">
                  <c:v>105.05401450000001</c:v>
                </c:pt>
                <c:pt idx="5307">
                  <c:v>105.05401450000001</c:v>
                </c:pt>
                <c:pt idx="5308">
                  <c:v>105.05401450000001</c:v>
                </c:pt>
                <c:pt idx="5309">
                  <c:v>105.05401450000001</c:v>
                </c:pt>
                <c:pt idx="5310">
                  <c:v>105.05401450000001</c:v>
                </c:pt>
                <c:pt idx="5311">
                  <c:v>105.05401450000001</c:v>
                </c:pt>
                <c:pt idx="5312">
                  <c:v>105.05401450000001</c:v>
                </c:pt>
                <c:pt idx="5313">
                  <c:v>105.05401450000001</c:v>
                </c:pt>
                <c:pt idx="5314">
                  <c:v>105.05401450000001</c:v>
                </c:pt>
                <c:pt idx="5315">
                  <c:v>105.05401450000001</c:v>
                </c:pt>
                <c:pt idx="5316">
                  <c:v>105.05401450000001</c:v>
                </c:pt>
                <c:pt idx="5317">
                  <c:v>105.05401450000001</c:v>
                </c:pt>
                <c:pt idx="5318">
                  <c:v>105.05401450000001</c:v>
                </c:pt>
                <c:pt idx="5319">
                  <c:v>105.05401450000001</c:v>
                </c:pt>
                <c:pt idx="5320">
                  <c:v>105.05401450000001</c:v>
                </c:pt>
                <c:pt idx="5321">
                  <c:v>105.05401450000001</c:v>
                </c:pt>
                <c:pt idx="5322">
                  <c:v>105.05401450000001</c:v>
                </c:pt>
                <c:pt idx="5323">
                  <c:v>105.05401450000001</c:v>
                </c:pt>
                <c:pt idx="5324">
                  <c:v>105.05401450000001</c:v>
                </c:pt>
                <c:pt idx="5325">
                  <c:v>105.05401450000001</c:v>
                </c:pt>
                <c:pt idx="5326">
                  <c:v>105.05401450000001</c:v>
                </c:pt>
                <c:pt idx="5327">
                  <c:v>105.05401450000001</c:v>
                </c:pt>
                <c:pt idx="5328">
                  <c:v>105.05401450000001</c:v>
                </c:pt>
                <c:pt idx="5329">
                  <c:v>105.05401450000001</c:v>
                </c:pt>
                <c:pt idx="5330">
                  <c:v>105.05401450000001</c:v>
                </c:pt>
                <c:pt idx="5331">
                  <c:v>105.05401450000001</c:v>
                </c:pt>
                <c:pt idx="5332">
                  <c:v>105.05401450000001</c:v>
                </c:pt>
                <c:pt idx="5333">
                  <c:v>105.05401450000001</c:v>
                </c:pt>
                <c:pt idx="5334">
                  <c:v>105.05401450000001</c:v>
                </c:pt>
                <c:pt idx="5335">
                  <c:v>105.05401450000001</c:v>
                </c:pt>
                <c:pt idx="5336">
                  <c:v>105.05401450000001</c:v>
                </c:pt>
                <c:pt idx="5337">
                  <c:v>105.05401450000001</c:v>
                </c:pt>
                <c:pt idx="5338">
                  <c:v>105.05401450000001</c:v>
                </c:pt>
                <c:pt idx="5339">
                  <c:v>105.05401450000001</c:v>
                </c:pt>
                <c:pt idx="5340">
                  <c:v>105.05401450000001</c:v>
                </c:pt>
                <c:pt idx="5341">
                  <c:v>105.05401450000001</c:v>
                </c:pt>
                <c:pt idx="5342">
                  <c:v>105.05401450000001</c:v>
                </c:pt>
                <c:pt idx="5343">
                  <c:v>105.05401450000001</c:v>
                </c:pt>
                <c:pt idx="5344">
                  <c:v>105.05401450000001</c:v>
                </c:pt>
                <c:pt idx="5345">
                  <c:v>105.05401450000001</c:v>
                </c:pt>
                <c:pt idx="5346">
                  <c:v>105.05401450000001</c:v>
                </c:pt>
                <c:pt idx="5347">
                  <c:v>105.05401450000001</c:v>
                </c:pt>
                <c:pt idx="5348">
                  <c:v>105.05401450000001</c:v>
                </c:pt>
                <c:pt idx="5349">
                  <c:v>105.05401450000001</c:v>
                </c:pt>
                <c:pt idx="5350">
                  <c:v>105.05401450000001</c:v>
                </c:pt>
                <c:pt idx="5351">
                  <c:v>105.05401450000001</c:v>
                </c:pt>
                <c:pt idx="5352">
                  <c:v>105.05401450000001</c:v>
                </c:pt>
                <c:pt idx="5353">
                  <c:v>105.05401450000001</c:v>
                </c:pt>
                <c:pt idx="5354">
                  <c:v>105.05401450000001</c:v>
                </c:pt>
                <c:pt idx="5355">
                  <c:v>105.05401450000001</c:v>
                </c:pt>
                <c:pt idx="5356">
                  <c:v>105.05401450000001</c:v>
                </c:pt>
                <c:pt idx="5357">
                  <c:v>105.05401450000001</c:v>
                </c:pt>
                <c:pt idx="5358">
                  <c:v>105.05401450000001</c:v>
                </c:pt>
                <c:pt idx="5359">
                  <c:v>105.05401450000001</c:v>
                </c:pt>
                <c:pt idx="5360">
                  <c:v>105.05401450000001</c:v>
                </c:pt>
                <c:pt idx="5361">
                  <c:v>105.05401450000001</c:v>
                </c:pt>
                <c:pt idx="5362">
                  <c:v>105.05401450000001</c:v>
                </c:pt>
                <c:pt idx="5363">
                  <c:v>105.05401450000001</c:v>
                </c:pt>
                <c:pt idx="5364">
                  <c:v>105.05401450000001</c:v>
                </c:pt>
                <c:pt idx="5365">
                  <c:v>105.05401450000001</c:v>
                </c:pt>
                <c:pt idx="5366">
                  <c:v>105.05401450000001</c:v>
                </c:pt>
                <c:pt idx="5367">
                  <c:v>105.05401450000001</c:v>
                </c:pt>
                <c:pt idx="5368">
                  <c:v>105.05401450000001</c:v>
                </c:pt>
                <c:pt idx="5369">
                  <c:v>105.05401450000001</c:v>
                </c:pt>
                <c:pt idx="5370">
                  <c:v>105.05401450000001</c:v>
                </c:pt>
                <c:pt idx="5371">
                  <c:v>105.05401450000001</c:v>
                </c:pt>
                <c:pt idx="5372">
                  <c:v>105.05401450000001</c:v>
                </c:pt>
                <c:pt idx="5373">
                  <c:v>105.05401450000001</c:v>
                </c:pt>
                <c:pt idx="5374">
                  <c:v>105.05401450000001</c:v>
                </c:pt>
                <c:pt idx="5375">
                  <c:v>105.05401450000001</c:v>
                </c:pt>
                <c:pt idx="5376">
                  <c:v>105.05401450000001</c:v>
                </c:pt>
                <c:pt idx="5377">
                  <c:v>105.05401450000001</c:v>
                </c:pt>
                <c:pt idx="5378">
                  <c:v>105.05401450000001</c:v>
                </c:pt>
                <c:pt idx="5379">
                  <c:v>105.05401450000001</c:v>
                </c:pt>
                <c:pt idx="5380">
                  <c:v>105.05401450000001</c:v>
                </c:pt>
                <c:pt idx="5381">
                  <c:v>105.05401450000001</c:v>
                </c:pt>
                <c:pt idx="5382">
                  <c:v>105.05401450000001</c:v>
                </c:pt>
                <c:pt idx="5383">
                  <c:v>105.05401450000001</c:v>
                </c:pt>
                <c:pt idx="5384">
                  <c:v>105.05401450000001</c:v>
                </c:pt>
                <c:pt idx="5385">
                  <c:v>105.05401450000001</c:v>
                </c:pt>
                <c:pt idx="5386">
                  <c:v>105.05401450000001</c:v>
                </c:pt>
                <c:pt idx="5387">
                  <c:v>105.05401450000001</c:v>
                </c:pt>
                <c:pt idx="5388">
                  <c:v>105.05401450000001</c:v>
                </c:pt>
                <c:pt idx="5389">
                  <c:v>105.05401450000001</c:v>
                </c:pt>
                <c:pt idx="5390">
                  <c:v>105.05401450000001</c:v>
                </c:pt>
                <c:pt idx="5391">
                  <c:v>105.05401450000001</c:v>
                </c:pt>
                <c:pt idx="5392">
                  <c:v>105.05401450000001</c:v>
                </c:pt>
                <c:pt idx="5393">
                  <c:v>105.05401450000001</c:v>
                </c:pt>
                <c:pt idx="5394">
                  <c:v>105.05401450000001</c:v>
                </c:pt>
                <c:pt idx="5395">
                  <c:v>105.05401450000001</c:v>
                </c:pt>
                <c:pt idx="5396">
                  <c:v>105.05401450000001</c:v>
                </c:pt>
                <c:pt idx="5397">
                  <c:v>105.05401450000001</c:v>
                </c:pt>
                <c:pt idx="5398">
                  <c:v>105.05401450000001</c:v>
                </c:pt>
                <c:pt idx="5399">
                  <c:v>105.05401450000001</c:v>
                </c:pt>
                <c:pt idx="5400">
                  <c:v>105.05401450000001</c:v>
                </c:pt>
                <c:pt idx="5401">
                  <c:v>105.05401450000001</c:v>
                </c:pt>
                <c:pt idx="5402">
                  <c:v>105.05401450000001</c:v>
                </c:pt>
                <c:pt idx="5403">
                  <c:v>105.05401450000001</c:v>
                </c:pt>
                <c:pt idx="5404">
                  <c:v>105.05401450000001</c:v>
                </c:pt>
                <c:pt idx="5405">
                  <c:v>105.05401450000001</c:v>
                </c:pt>
                <c:pt idx="5406">
                  <c:v>105.05401450000001</c:v>
                </c:pt>
                <c:pt idx="5407">
                  <c:v>105.05401450000001</c:v>
                </c:pt>
                <c:pt idx="5408">
                  <c:v>105.05401450000001</c:v>
                </c:pt>
                <c:pt idx="5409">
                  <c:v>105.05401450000001</c:v>
                </c:pt>
                <c:pt idx="5410">
                  <c:v>105.05401450000001</c:v>
                </c:pt>
                <c:pt idx="5411">
                  <c:v>105.05401450000001</c:v>
                </c:pt>
                <c:pt idx="5412">
                  <c:v>105.05401450000001</c:v>
                </c:pt>
                <c:pt idx="5413">
                  <c:v>105.05401450000001</c:v>
                </c:pt>
                <c:pt idx="5414">
                  <c:v>105.05401450000001</c:v>
                </c:pt>
                <c:pt idx="5415">
                  <c:v>105.05401450000001</c:v>
                </c:pt>
                <c:pt idx="5416">
                  <c:v>105.05401450000001</c:v>
                </c:pt>
                <c:pt idx="5417">
                  <c:v>105.05401450000001</c:v>
                </c:pt>
                <c:pt idx="5418">
                  <c:v>105.05401450000001</c:v>
                </c:pt>
                <c:pt idx="5419">
                  <c:v>105.05401450000001</c:v>
                </c:pt>
                <c:pt idx="5420">
                  <c:v>105.05401450000001</c:v>
                </c:pt>
                <c:pt idx="5421">
                  <c:v>105.05401450000001</c:v>
                </c:pt>
                <c:pt idx="5422">
                  <c:v>105.05401450000001</c:v>
                </c:pt>
                <c:pt idx="5423">
                  <c:v>105.05401450000001</c:v>
                </c:pt>
                <c:pt idx="5424">
                  <c:v>105.05401450000001</c:v>
                </c:pt>
                <c:pt idx="5425">
                  <c:v>105.05401450000001</c:v>
                </c:pt>
                <c:pt idx="5426">
                  <c:v>105.05401450000001</c:v>
                </c:pt>
                <c:pt idx="5427">
                  <c:v>105.05401450000001</c:v>
                </c:pt>
                <c:pt idx="5428">
                  <c:v>105.05401450000001</c:v>
                </c:pt>
                <c:pt idx="5429">
                  <c:v>105.05401450000001</c:v>
                </c:pt>
                <c:pt idx="5430">
                  <c:v>105.05401450000001</c:v>
                </c:pt>
                <c:pt idx="5431">
                  <c:v>105.05401450000001</c:v>
                </c:pt>
                <c:pt idx="5432">
                  <c:v>105.05401450000001</c:v>
                </c:pt>
                <c:pt idx="5433">
                  <c:v>105.05401450000001</c:v>
                </c:pt>
                <c:pt idx="5434">
                  <c:v>105.05401450000001</c:v>
                </c:pt>
                <c:pt idx="5435">
                  <c:v>105.05401450000001</c:v>
                </c:pt>
                <c:pt idx="5436">
                  <c:v>105.05401450000001</c:v>
                </c:pt>
                <c:pt idx="5437">
                  <c:v>105.05401450000001</c:v>
                </c:pt>
                <c:pt idx="5438">
                  <c:v>105.05401450000001</c:v>
                </c:pt>
                <c:pt idx="5439">
                  <c:v>105.05401450000001</c:v>
                </c:pt>
                <c:pt idx="5440">
                  <c:v>105.05401450000001</c:v>
                </c:pt>
                <c:pt idx="5441">
                  <c:v>105.05401450000001</c:v>
                </c:pt>
                <c:pt idx="5442">
                  <c:v>105.05401450000001</c:v>
                </c:pt>
                <c:pt idx="5443">
                  <c:v>105.05401450000001</c:v>
                </c:pt>
                <c:pt idx="5444">
                  <c:v>105.05401450000001</c:v>
                </c:pt>
                <c:pt idx="5445">
                  <c:v>105.05401450000001</c:v>
                </c:pt>
                <c:pt idx="5446">
                  <c:v>105.05401450000001</c:v>
                </c:pt>
                <c:pt idx="5447">
                  <c:v>105.05401450000001</c:v>
                </c:pt>
                <c:pt idx="5448">
                  <c:v>105.05401450000001</c:v>
                </c:pt>
                <c:pt idx="5449">
                  <c:v>105.05401450000001</c:v>
                </c:pt>
                <c:pt idx="5450">
                  <c:v>105.05401450000001</c:v>
                </c:pt>
                <c:pt idx="5451">
                  <c:v>105.05401450000001</c:v>
                </c:pt>
                <c:pt idx="5452">
                  <c:v>105.05401450000001</c:v>
                </c:pt>
                <c:pt idx="5453">
                  <c:v>105.05401450000001</c:v>
                </c:pt>
                <c:pt idx="5454">
                  <c:v>105.05401450000001</c:v>
                </c:pt>
                <c:pt idx="5455">
                  <c:v>105.05401450000001</c:v>
                </c:pt>
                <c:pt idx="5456">
                  <c:v>105.05401450000001</c:v>
                </c:pt>
                <c:pt idx="5457">
                  <c:v>105.05401450000001</c:v>
                </c:pt>
                <c:pt idx="5458">
                  <c:v>105.05401450000001</c:v>
                </c:pt>
                <c:pt idx="5459">
                  <c:v>105.05401450000001</c:v>
                </c:pt>
                <c:pt idx="5460">
                  <c:v>105.05401450000001</c:v>
                </c:pt>
                <c:pt idx="5461">
                  <c:v>105.05401450000001</c:v>
                </c:pt>
                <c:pt idx="5462">
                  <c:v>105.05401450000001</c:v>
                </c:pt>
                <c:pt idx="5463">
                  <c:v>105.05401450000001</c:v>
                </c:pt>
                <c:pt idx="5464">
                  <c:v>105.03538950000001</c:v>
                </c:pt>
                <c:pt idx="5465">
                  <c:v>105.02495950000001</c:v>
                </c:pt>
                <c:pt idx="5466">
                  <c:v>105.02056399999999</c:v>
                </c:pt>
                <c:pt idx="5467">
                  <c:v>105.02056399999999</c:v>
                </c:pt>
                <c:pt idx="5468">
                  <c:v>105.01676449999999</c:v>
                </c:pt>
                <c:pt idx="5469">
                  <c:v>105.005515</c:v>
                </c:pt>
                <c:pt idx="5470">
                  <c:v>105.005515</c:v>
                </c:pt>
                <c:pt idx="5471">
                  <c:v>105.005515</c:v>
                </c:pt>
                <c:pt idx="5472">
                  <c:v>105.005515</c:v>
                </c:pt>
                <c:pt idx="5473">
                  <c:v>105.005515</c:v>
                </c:pt>
                <c:pt idx="5474">
                  <c:v>105.005515</c:v>
                </c:pt>
                <c:pt idx="5475">
                  <c:v>105.005515</c:v>
                </c:pt>
                <c:pt idx="5476">
                  <c:v>105.005515</c:v>
                </c:pt>
                <c:pt idx="5477">
                  <c:v>105.005515</c:v>
                </c:pt>
                <c:pt idx="5478">
                  <c:v>104.99813949999999</c:v>
                </c:pt>
                <c:pt idx="5479">
                  <c:v>104.98390999999999</c:v>
                </c:pt>
                <c:pt idx="5480">
                  <c:v>104.98390999999999</c:v>
                </c:pt>
                <c:pt idx="5481">
                  <c:v>104.98390999999999</c:v>
                </c:pt>
                <c:pt idx="5482">
                  <c:v>104.98390999999999</c:v>
                </c:pt>
                <c:pt idx="5483">
                  <c:v>104.97951450000001</c:v>
                </c:pt>
                <c:pt idx="5484">
                  <c:v>104.97951450000001</c:v>
                </c:pt>
                <c:pt idx="5485">
                  <c:v>104.97951450000001</c:v>
                </c:pt>
                <c:pt idx="5486">
                  <c:v>104.97951450000001</c:v>
                </c:pt>
                <c:pt idx="5487">
                  <c:v>104.97951450000001</c:v>
                </c:pt>
                <c:pt idx="5488">
                  <c:v>104.97951450000001</c:v>
                </c:pt>
                <c:pt idx="5489">
                  <c:v>104.97951450000001</c:v>
                </c:pt>
                <c:pt idx="5490">
                  <c:v>104.97951450000001</c:v>
                </c:pt>
                <c:pt idx="5491">
                  <c:v>104.97951450000001</c:v>
                </c:pt>
                <c:pt idx="5492">
                  <c:v>104.97951450000001</c:v>
                </c:pt>
                <c:pt idx="5493">
                  <c:v>104.97951450000001</c:v>
                </c:pt>
                <c:pt idx="5494">
                  <c:v>104.97951450000001</c:v>
                </c:pt>
                <c:pt idx="5495">
                  <c:v>104.97951450000001</c:v>
                </c:pt>
                <c:pt idx="5496">
                  <c:v>104.97951450000001</c:v>
                </c:pt>
                <c:pt idx="5497">
                  <c:v>104.97951450000001</c:v>
                </c:pt>
                <c:pt idx="5498">
                  <c:v>104.97951450000001</c:v>
                </c:pt>
                <c:pt idx="5499">
                  <c:v>104.97951450000001</c:v>
                </c:pt>
                <c:pt idx="5500">
                  <c:v>104.97951450000001</c:v>
                </c:pt>
                <c:pt idx="5501">
                  <c:v>104.97951450000001</c:v>
                </c:pt>
                <c:pt idx="5502">
                  <c:v>104.97951450000001</c:v>
                </c:pt>
                <c:pt idx="5503">
                  <c:v>104.97951450000001</c:v>
                </c:pt>
                <c:pt idx="5504">
                  <c:v>104.97951450000001</c:v>
                </c:pt>
                <c:pt idx="5505">
                  <c:v>104.97951450000001</c:v>
                </c:pt>
                <c:pt idx="5506">
                  <c:v>104.97951450000001</c:v>
                </c:pt>
                <c:pt idx="5507">
                  <c:v>104.97951450000001</c:v>
                </c:pt>
                <c:pt idx="5508">
                  <c:v>104.97951450000001</c:v>
                </c:pt>
                <c:pt idx="5509">
                  <c:v>104.97951450000001</c:v>
                </c:pt>
                <c:pt idx="5510">
                  <c:v>104.97951450000001</c:v>
                </c:pt>
                <c:pt idx="5511">
                  <c:v>104.97951450000001</c:v>
                </c:pt>
                <c:pt idx="5512">
                  <c:v>104.97951450000001</c:v>
                </c:pt>
                <c:pt idx="5513">
                  <c:v>104.97951450000001</c:v>
                </c:pt>
                <c:pt idx="5514">
                  <c:v>104.97951450000001</c:v>
                </c:pt>
                <c:pt idx="5515">
                  <c:v>104.97951450000001</c:v>
                </c:pt>
                <c:pt idx="5516">
                  <c:v>104.97951450000001</c:v>
                </c:pt>
                <c:pt idx="5517">
                  <c:v>104.97951450000001</c:v>
                </c:pt>
                <c:pt idx="5518">
                  <c:v>104.97951450000001</c:v>
                </c:pt>
                <c:pt idx="5519">
                  <c:v>104.97951450000001</c:v>
                </c:pt>
                <c:pt idx="5520">
                  <c:v>104.97951450000001</c:v>
                </c:pt>
                <c:pt idx="5521">
                  <c:v>104.97951450000001</c:v>
                </c:pt>
                <c:pt idx="5522">
                  <c:v>104.97951450000001</c:v>
                </c:pt>
                <c:pt idx="5523">
                  <c:v>104.97951450000001</c:v>
                </c:pt>
                <c:pt idx="5524">
                  <c:v>104.97951450000001</c:v>
                </c:pt>
                <c:pt idx="5525">
                  <c:v>104.97951450000001</c:v>
                </c:pt>
                <c:pt idx="5526">
                  <c:v>104.97951450000001</c:v>
                </c:pt>
                <c:pt idx="5527">
                  <c:v>104.97951450000001</c:v>
                </c:pt>
                <c:pt idx="5528">
                  <c:v>104.97951450000001</c:v>
                </c:pt>
                <c:pt idx="5529">
                  <c:v>104.97951450000001</c:v>
                </c:pt>
                <c:pt idx="5530">
                  <c:v>104.97951450000001</c:v>
                </c:pt>
                <c:pt idx="5531">
                  <c:v>104.97951450000001</c:v>
                </c:pt>
                <c:pt idx="5532">
                  <c:v>104.97951450000001</c:v>
                </c:pt>
                <c:pt idx="5533">
                  <c:v>104.97951450000001</c:v>
                </c:pt>
                <c:pt idx="5534">
                  <c:v>104.97951450000001</c:v>
                </c:pt>
                <c:pt idx="5535">
                  <c:v>104.97951450000001</c:v>
                </c:pt>
                <c:pt idx="5536">
                  <c:v>104.97951450000001</c:v>
                </c:pt>
                <c:pt idx="5537">
                  <c:v>104.97951450000001</c:v>
                </c:pt>
                <c:pt idx="5538">
                  <c:v>104.97951450000001</c:v>
                </c:pt>
                <c:pt idx="5539">
                  <c:v>104.97951450000001</c:v>
                </c:pt>
                <c:pt idx="5540">
                  <c:v>104.97951450000001</c:v>
                </c:pt>
                <c:pt idx="5541">
                  <c:v>104.97951450000001</c:v>
                </c:pt>
                <c:pt idx="5542">
                  <c:v>104.97951450000001</c:v>
                </c:pt>
                <c:pt idx="5543">
                  <c:v>104.97951450000001</c:v>
                </c:pt>
                <c:pt idx="5544">
                  <c:v>104.97951450000001</c:v>
                </c:pt>
                <c:pt idx="5545">
                  <c:v>104.97951450000001</c:v>
                </c:pt>
                <c:pt idx="5546">
                  <c:v>104.97951450000001</c:v>
                </c:pt>
                <c:pt idx="5547">
                  <c:v>104.97951450000001</c:v>
                </c:pt>
                <c:pt idx="5548">
                  <c:v>104.97951450000001</c:v>
                </c:pt>
                <c:pt idx="5549">
                  <c:v>104.97951450000001</c:v>
                </c:pt>
                <c:pt idx="5550">
                  <c:v>104.97951450000001</c:v>
                </c:pt>
                <c:pt idx="5551">
                  <c:v>104.97951450000001</c:v>
                </c:pt>
                <c:pt idx="5552">
                  <c:v>104.97951450000001</c:v>
                </c:pt>
                <c:pt idx="5553">
                  <c:v>104.97951450000001</c:v>
                </c:pt>
                <c:pt idx="5554">
                  <c:v>104.97951450000001</c:v>
                </c:pt>
                <c:pt idx="5555">
                  <c:v>104.97951450000001</c:v>
                </c:pt>
                <c:pt idx="5556">
                  <c:v>104.97951450000001</c:v>
                </c:pt>
                <c:pt idx="5557">
                  <c:v>104.97951450000001</c:v>
                </c:pt>
                <c:pt idx="5558">
                  <c:v>104.97951450000001</c:v>
                </c:pt>
                <c:pt idx="5559">
                  <c:v>104.94226449999999</c:v>
                </c:pt>
                <c:pt idx="5560">
                  <c:v>104.94226449999999</c:v>
                </c:pt>
                <c:pt idx="5561">
                  <c:v>104.9263215</c:v>
                </c:pt>
                <c:pt idx="5562">
                  <c:v>104.9263215</c:v>
                </c:pt>
                <c:pt idx="5563">
                  <c:v>104.90940999999999</c:v>
                </c:pt>
                <c:pt idx="5564">
                  <c:v>104.90940999999999</c:v>
                </c:pt>
                <c:pt idx="5565">
                  <c:v>104.90940999999999</c:v>
                </c:pt>
                <c:pt idx="5566">
                  <c:v>104.90501450000001</c:v>
                </c:pt>
                <c:pt idx="5567">
                  <c:v>104.90501450000001</c:v>
                </c:pt>
                <c:pt idx="5568">
                  <c:v>104.90501450000001</c:v>
                </c:pt>
                <c:pt idx="5569">
                  <c:v>104.90501450000001</c:v>
                </c:pt>
                <c:pt idx="5570">
                  <c:v>104.90501450000001</c:v>
                </c:pt>
                <c:pt idx="5571">
                  <c:v>104.90501450000001</c:v>
                </c:pt>
                <c:pt idx="5572">
                  <c:v>104.90501450000001</c:v>
                </c:pt>
                <c:pt idx="5573">
                  <c:v>104.90501450000001</c:v>
                </c:pt>
                <c:pt idx="5574">
                  <c:v>104.90501450000001</c:v>
                </c:pt>
                <c:pt idx="5575">
                  <c:v>104.90501450000001</c:v>
                </c:pt>
                <c:pt idx="5576">
                  <c:v>104.90501450000001</c:v>
                </c:pt>
                <c:pt idx="5577">
                  <c:v>104.90501450000001</c:v>
                </c:pt>
                <c:pt idx="5578">
                  <c:v>104.90501450000001</c:v>
                </c:pt>
                <c:pt idx="5579">
                  <c:v>104.90501450000001</c:v>
                </c:pt>
                <c:pt idx="5580">
                  <c:v>104.90501450000001</c:v>
                </c:pt>
                <c:pt idx="5581">
                  <c:v>104.90501450000001</c:v>
                </c:pt>
                <c:pt idx="5582">
                  <c:v>104.90501450000001</c:v>
                </c:pt>
                <c:pt idx="5583">
                  <c:v>104.90501450000001</c:v>
                </c:pt>
                <c:pt idx="5584">
                  <c:v>104.90501450000001</c:v>
                </c:pt>
                <c:pt idx="5585">
                  <c:v>104.90501450000001</c:v>
                </c:pt>
                <c:pt idx="5586">
                  <c:v>104.90501450000001</c:v>
                </c:pt>
                <c:pt idx="5587">
                  <c:v>104.83051450000001</c:v>
                </c:pt>
                <c:pt idx="5588">
                  <c:v>104.83051450000001</c:v>
                </c:pt>
                <c:pt idx="5589">
                  <c:v>104.83051450000001</c:v>
                </c:pt>
                <c:pt idx="5590">
                  <c:v>104.83051450000001</c:v>
                </c:pt>
                <c:pt idx="5591">
                  <c:v>104.83051450000001</c:v>
                </c:pt>
                <c:pt idx="5592">
                  <c:v>104.83051450000001</c:v>
                </c:pt>
                <c:pt idx="5593">
                  <c:v>104.83051450000001</c:v>
                </c:pt>
                <c:pt idx="5594">
                  <c:v>104.83051450000001</c:v>
                </c:pt>
                <c:pt idx="5595">
                  <c:v>104.83051450000001</c:v>
                </c:pt>
                <c:pt idx="5596">
                  <c:v>104.83051450000001</c:v>
                </c:pt>
                <c:pt idx="5597">
                  <c:v>104.83051450000001</c:v>
                </c:pt>
                <c:pt idx="5598">
                  <c:v>104.83051450000001</c:v>
                </c:pt>
                <c:pt idx="5599">
                  <c:v>104.83051450000001</c:v>
                </c:pt>
                <c:pt idx="5600">
                  <c:v>104.83051450000001</c:v>
                </c:pt>
                <c:pt idx="5601">
                  <c:v>104.83051450000001</c:v>
                </c:pt>
                <c:pt idx="5602">
                  <c:v>104.83051450000001</c:v>
                </c:pt>
                <c:pt idx="5603">
                  <c:v>104.83051450000001</c:v>
                </c:pt>
                <c:pt idx="5604">
                  <c:v>104.83051450000001</c:v>
                </c:pt>
                <c:pt idx="5605">
                  <c:v>104.83051450000001</c:v>
                </c:pt>
                <c:pt idx="5606">
                  <c:v>104.83051450000001</c:v>
                </c:pt>
                <c:pt idx="5607">
                  <c:v>104.75601450000001</c:v>
                </c:pt>
                <c:pt idx="5608">
                  <c:v>104.75601450000001</c:v>
                </c:pt>
                <c:pt idx="5609">
                  <c:v>104.75601450000001</c:v>
                </c:pt>
                <c:pt idx="5610">
                  <c:v>104.75601450000001</c:v>
                </c:pt>
                <c:pt idx="5611">
                  <c:v>104.75601450000001</c:v>
                </c:pt>
                <c:pt idx="5612">
                  <c:v>104.75601450000001</c:v>
                </c:pt>
                <c:pt idx="5613">
                  <c:v>104.75601450000001</c:v>
                </c:pt>
                <c:pt idx="5614">
                  <c:v>104.75601450000001</c:v>
                </c:pt>
                <c:pt idx="5615">
                  <c:v>104.75601450000001</c:v>
                </c:pt>
                <c:pt idx="5616">
                  <c:v>104.75601450000001</c:v>
                </c:pt>
                <c:pt idx="5617">
                  <c:v>104.75601450000001</c:v>
                </c:pt>
                <c:pt idx="5618">
                  <c:v>104.75601450000001</c:v>
                </c:pt>
                <c:pt idx="5619">
                  <c:v>104.75601450000001</c:v>
                </c:pt>
                <c:pt idx="5620">
                  <c:v>104.68151449999999</c:v>
                </c:pt>
                <c:pt idx="5621">
                  <c:v>104.68151449999999</c:v>
                </c:pt>
                <c:pt idx="5622">
                  <c:v>104.68151449999999</c:v>
                </c:pt>
                <c:pt idx="5623">
                  <c:v>104.68151449999999</c:v>
                </c:pt>
                <c:pt idx="5624">
                  <c:v>104.68151449999999</c:v>
                </c:pt>
                <c:pt idx="5625">
                  <c:v>104.68151449999999</c:v>
                </c:pt>
                <c:pt idx="5626">
                  <c:v>104.68151449999999</c:v>
                </c:pt>
                <c:pt idx="5627">
                  <c:v>104.68151449999999</c:v>
                </c:pt>
                <c:pt idx="5628">
                  <c:v>104.68151449999999</c:v>
                </c:pt>
                <c:pt idx="5629">
                  <c:v>104.68151449999999</c:v>
                </c:pt>
                <c:pt idx="5630">
                  <c:v>104.68151449999999</c:v>
                </c:pt>
                <c:pt idx="5631">
                  <c:v>104.60701450000001</c:v>
                </c:pt>
                <c:pt idx="5632">
                  <c:v>104.4580145</c:v>
                </c:pt>
                <c:pt idx="5633">
                  <c:v>103.53756700000001</c:v>
                </c:pt>
                <c:pt idx="5634">
                  <c:v>102.09263949999999</c:v>
                </c:pt>
                <c:pt idx="5635">
                  <c:v>101.968448</c:v>
                </c:pt>
                <c:pt idx="5636">
                  <c:v>101.9436395</c:v>
                </c:pt>
                <c:pt idx="5637">
                  <c:v>101.9436395</c:v>
                </c:pt>
                <c:pt idx="5638">
                  <c:v>101.9436395</c:v>
                </c:pt>
                <c:pt idx="5639">
                  <c:v>101.9436395</c:v>
                </c:pt>
                <c:pt idx="5640">
                  <c:v>101.9436395</c:v>
                </c:pt>
                <c:pt idx="5641">
                  <c:v>101.9436395</c:v>
                </c:pt>
                <c:pt idx="5642">
                  <c:v>101.9436395</c:v>
                </c:pt>
                <c:pt idx="5643">
                  <c:v>101.9436395</c:v>
                </c:pt>
                <c:pt idx="5644">
                  <c:v>101.9436395</c:v>
                </c:pt>
                <c:pt idx="5645">
                  <c:v>101.9436395</c:v>
                </c:pt>
                <c:pt idx="5646">
                  <c:v>101.9436395</c:v>
                </c:pt>
                <c:pt idx="5647">
                  <c:v>101.8691395</c:v>
                </c:pt>
                <c:pt idx="5648">
                  <c:v>101.8691395</c:v>
                </c:pt>
                <c:pt idx="5649">
                  <c:v>101.8691395</c:v>
                </c:pt>
                <c:pt idx="5650">
                  <c:v>101.8691395</c:v>
                </c:pt>
                <c:pt idx="5651">
                  <c:v>101.8691395</c:v>
                </c:pt>
                <c:pt idx="5652">
                  <c:v>101.8691395</c:v>
                </c:pt>
                <c:pt idx="5653">
                  <c:v>101.8318895</c:v>
                </c:pt>
                <c:pt idx="5654">
                  <c:v>101.7946395</c:v>
                </c:pt>
                <c:pt idx="5655">
                  <c:v>101.7946395</c:v>
                </c:pt>
                <c:pt idx="5656">
                  <c:v>101.7946395</c:v>
                </c:pt>
                <c:pt idx="5657">
                  <c:v>101.7946395</c:v>
                </c:pt>
                <c:pt idx="5658">
                  <c:v>101.7946395</c:v>
                </c:pt>
                <c:pt idx="5659">
                  <c:v>101.7946395</c:v>
                </c:pt>
                <c:pt idx="5660">
                  <c:v>101.7946395</c:v>
                </c:pt>
                <c:pt idx="5661">
                  <c:v>101.7946395</c:v>
                </c:pt>
                <c:pt idx="5662">
                  <c:v>101.7946395</c:v>
                </c:pt>
                <c:pt idx="5663">
                  <c:v>101.7946395</c:v>
                </c:pt>
                <c:pt idx="5664">
                  <c:v>101.7946395</c:v>
                </c:pt>
                <c:pt idx="5665">
                  <c:v>101.7946395</c:v>
                </c:pt>
                <c:pt idx="5666">
                  <c:v>101.7946395</c:v>
                </c:pt>
                <c:pt idx="5667">
                  <c:v>101.7946395</c:v>
                </c:pt>
                <c:pt idx="5668">
                  <c:v>101.7946395</c:v>
                </c:pt>
                <c:pt idx="5669">
                  <c:v>101.7946395</c:v>
                </c:pt>
                <c:pt idx="5670">
                  <c:v>101.7946395</c:v>
                </c:pt>
                <c:pt idx="5671">
                  <c:v>101.7946395</c:v>
                </c:pt>
                <c:pt idx="5672">
                  <c:v>101.7946395</c:v>
                </c:pt>
                <c:pt idx="5673">
                  <c:v>101.7946395</c:v>
                </c:pt>
                <c:pt idx="5674">
                  <c:v>101.7946395</c:v>
                </c:pt>
                <c:pt idx="5675">
                  <c:v>101.7946395</c:v>
                </c:pt>
                <c:pt idx="5676">
                  <c:v>101.7946395</c:v>
                </c:pt>
                <c:pt idx="5677">
                  <c:v>101.7201395</c:v>
                </c:pt>
                <c:pt idx="5678">
                  <c:v>101.7201395</c:v>
                </c:pt>
                <c:pt idx="5679">
                  <c:v>101.7201395</c:v>
                </c:pt>
                <c:pt idx="5680">
                  <c:v>101.7201395</c:v>
                </c:pt>
                <c:pt idx="5681">
                  <c:v>101.7201395</c:v>
                </c:pt>
                <c:pt idx="5682">
                  <c:v>101.7201395</c:v>
                </c:pt>
                <c:pt idx="5683">
                  <c:v>101.7201395</c:v>
                </c:pt>
                <c:pt idx="5684">
                  <c:v>101.7201395</c:v>
                </c:pt>
                <c:pt idx="5685">
                  <c:v>101.7201395</c:v>
                </c:pt>
                <c:pt idx="5686">
                  <c:v>101.7201395</c:v>
                </c:pt>
                <c:pt idx="5687">
                  <c:v>101.7201395</c:v>
                </c:pt>
                <c:pt idx="5688">
                  <c:v>101.7201395</c:v>
                </c:pt>
                <c:pt idx="5689">
                  <c:v>101.7201395</c:v>
                </c:pt>
                <c:pt idx="5690">
                  <c:v>101.66985200000001</c:v>
                </c:pt>
                <c:pt idx="5691">
                  <c:v>101.6456395</c:v>
                </c:pt>
                <c:pt idx="5692">
                  <c:v>101.6456395</c:v>
                </c:pt>
                <c:pt idx="5693">
                  <c:v>101.6456395</c:v>
                </c:pt>
                <c:pt idx="5694">
                  <c:v>101.6456395</c:v>
                </c:pt>
                <c:pt idx="5695">
                  <c:v>101.59535200000001</c:v>
                </c:pt>
                <c:pt idx="5696">
                  <c:v>101.55810199999999</c:v>
                </c:pt>
                <c:pt idx="5697">
                  <c:v>101.55810199999999</c:v>
                </c:pt>
                <c:pt idx="5698">
                  <c:v>101.55810199999999</c:v>
                </c:pt>
                <c:pt idx="5699">
                  <c:v>101.55810199999999</c:v>
                </c:pt>
                <c:pt idx="5700">
                  <c:v>101.5149665</c:v>
                </c:pt>
                <c:pt idx="5701">
                  <c:v>101.5084105</c:v>
                </c:pt>
                <c:pt idx="5702">
                  <c:v>101.47116050000001</c:v>
                </c:pt>
                <c:pt idx="5703">
                  <c:v>101.427727</c:v>
                </c:pt>
                <c:pt idx="5704">
                  <c:v>101.35941050000001</c:v>
                </c:pt>
                <c:pt idx="5705">
                  <c:v>100.73741000000001</c:v>
                </c:pt>
                <c:pt idx="5706">
                  <c:v>100.73741000000001</c:v>
                </c:pt>
                <c:pt idx="5707">
                  <c:v>100.58841</c:v>
                </c:pt>
                <c:pt idx="5708">
                  <c:v>100.49945700000001</c:v>
                </c:pt>
                <c:pt idx="5709">
                  <c:v>100.35045700000001</c:v>
                </c:pt>
                <c:pt idx="5710">
                  <c:v>100.35045700000001</c:v>
                </c:pt>
                <c:pt idx="5711">
                  <c:v>100.35045700000001</c:v>
                </c:pt>
                <c:pt idx="5712">
                  <c:v>100.35045700000001</c:v>
                </c:pt>
                <c:pt idx="5713">
                  <c:v>99.9568735</c:v>
                </c:pt>
                <c:pt idx="5714">
                  <c:v>99.471580500000002</c:v>
                </c:pt>
                <c:pt idx="5715">
                  <c:v>99.229753500000001</c:v>
                </c:pt>
                <c:pt idx="5716">
                  <c:v>99.229753500000001</c:v>
                </c:pt>
                <c:pt idx="5717">
                  <c:v>99.229753500000001</c:v>
                </c:pt>
                <c:pt idx="5718">
                  <c:v>99.229753500000001</c:v>
                </c:pt>
                <c:pt idx="5719">
                  <c:v>99.229753500000001</c:v>
                </c:pt>
                <c:pt idx="5720">
                  <c:v>99.173878500000001</c:v>
                </c:pt>
                <c:pt idx="5721">
                  <c:v>99.0435035</c:v>
                </c:pt>
                <c:pt idx="5722">
                  <c:v>99.032254000000009</c:v>
                </c:pt>
                <c:pt idx="5723">
                  <c:v>98.883253999999994</c:v>
                </c:pt>
                <c:pt idx="5724">
                  <c:v>98.875804000000002</c:v>
                </c:pt>
                <c:pt idx="5725">
                  <c:v>98.130133499999999</c:v>
                </c:pt>
                <c:pt idx="5726">
                  <c:v>98.073513500000004</c:v>
                </c:pt>
                <c:pt idx="5727">
                  <c:v>98.011902000000006</c:v>
                </c:pt>
                <c:pt idx="5728">
                  <c:v>97.986423000000002</c:v>
                </c:pt>
                <c:pt idx="5729">
                  <c:v>97.924513500000003</c:v>
                </c:pt>
                <c:pt idx="5730">
                  <c:v>97.924513500000003</c:v>
                </c:pt>
                <c:pt idx="5731">
                  <c:v>97.752418500000005</c:v>
                </c:pt>
                <c:pt idx="5732">
                  <c:v>97.728429500000004</c:v>
                </c:pt>
                <c:pt idx="5733">
                  <c:v>97.728429500000004</c:v>
                </c:pt>
                <c:pt idx="5734">
                  <c:v>97.63530449999999</c:v>
                </c:pt>
                <c:pt idx="5735">
                  <c:v>97.579429500000003</c:v>
                </c:pt>
                <c:pt idx="5736">
                  <c:v>97.579429500000003</c:v>
                </c:pt>
                <c:pt idx="5737">
                  <c:v>97.430429500000002</c:v>
                </c:pt>
                <c:pt idx="5738">
                  <c:v>97.281429500000002</c:v>
                </c:pt>
                <c:pt idx="5739">
                  <c:v>97.015091999999996</c:v>
                </c:pt>
                <c:pt idx="5740">
                  <c:v>97.015091999999996</c:v>
                </c:pt>
                <c:pt idx="5741">
                  <c:v>97.015091999999996</c:v>
                </c:pt>
                <c:pt idx="5742">
                  <c:v>96.940666499999992</c:v>
                </c:pt>
                <c:pt idx="5743">
                  <c:v>96.940666499999992</c:v>
                </c:pt>
                <c:pt idx="5744">
                  <c:v>96.940666499999992</c:v>
                </c:pt>
                <c:pt idx="5745">
                  <c:v>96.940666499999992</c:v>
                </c:pt>
                <c:pt idx="5746">
                  <c:v>96.940666499999992</c:v>
                </c:pt>
                <c:pt idx="5747">
                  <c:v>96.940666499999992</c:v>
                </c:pt>
                <c:pt idx="5748">
                  <c:v>96.940666499999992</c:v>
                </c:pt>
                <c:pt idx="5749">
                  <c:v>96.940666499999992</c:v>
                </c:pt>
                <c:pt idx="5750">
                  <c:v>96.940666499999992</c:v>
                </c:pt>
                <c:pt idx="5751">
                  <c:v>96.940666499999992</c:v>
                </c:pt>
                <c:pt idx="5752">
                  <c:v>96.940666499999992</c:v>
                </c:pt>
                <c:pt idx="5753">
                  <c:v>96.935004500000005</c:v>
                </c:pt>
                <c:pt idx="5754">
                  <c:v>96.866092000000009</c:v>
                </c:pt>
                <c:pt idx="5755">
                  <c:v>96.866092000000009</c:v>
                </c:pt>
                <c:pt idx="5756">
                  <c:v>96.866092000000009</c:v>
                </c:pt>
                <c:pt idx="5757">
                  <c:v>96.866092000000009</c:v>
                </c:pt>
                <c:pt idx="5758">
                  <c:v>96.866092000000009</c:v>
                </c:pt>
                <c:pt idx="5759">
                  <c:v>96.866092000000009</c:v>
                </c:pt>
                <c:pt idx="5760">
                  <c:v>96.866092000000009</c:v>
                </c:pt>
                <c:pt idx="5761">
                  <c:v>96.866092000000009</c:v>
                </c:pt>
                <c:pt idx="5762">
                  <c:v>96.866092000000009</c:v>
                </c:pt>
                <c:pt idx="5763">
                  <c:v>96.791592000000009</c:v>
                </c:pt>
                <c:pt idx="5764">
                  <c:v>96.791592000000009</c:v>
                </c:pt>
                <c:pt idx="5765">
                  <c:v>96.791592000000009</c:v>
                </c:pt>
                <c:pt idx="5766">
                  <c:v>96.791592000000009</c:v>
                </c:pt>
                <c:pt idx="5767">
                  <c:v>96.791592000000009</c:v>
                </c:pt>
                <c:pt idx="5768">
                  <c:v>96.791592000000009</c:v>
                </c:pt>
                <c:pt idx="5769">
                  <c:v>96.791592000000009</c:v>
                </c:pt>
                <c:pt idx="5770">
                  <c:v>96.791592000000009</c:v>
                </c:pt>
                <c:pt idx="5771">
                  <c:v>96.791592000000009</c:v>
                </c:pt>
                <c:pt idx="5772">
                  <c:v>96.761941000000007</c:v>
                </c:pt>
                <c:pt idx="5773">
                  <c:v>96.717092000000008</c:v>
                </c:pt>
                <c:pt idx="5774">
                  <c:v>96.717092000000008</c:v>
                </c:pt>
                <c:pt idx="5775">
                  <c:v>96.717092000000008</c:v>
                </c:pt>
                <c:pt idx="5776">
                  <c:v>96.717092000000008</c:v>
                </c:pt>
                <c:pt idx="5777">
                  <c:v>96.717092000000008</c:v>
                </c:pt>
                <c:pt idx="5778">
                  <c:v>96.717092000000008</c:v>
                </c:pt>
                <c:pt idx="5779">
                  <c:v>96.717092000000008</c:v>
                </c:pt>
                <c:pt idx="5780">
                  <c:v>96.717092000000008</c:v>
                </c:pt>
                <c:pt idx="5781">
                  <c:v>96.717092000000008</c:v>
                </c:pt>
                <c:pt idx="5782">
                  <c:v>96.686621500000001</c:v>
                </c:pt>
                <c:pt idx="5783">
                  <c:v>96.686621500000001</c:v>
                </c:pt>
                <c:pt idx="5784">
                  <c:v>96.686621500000001</c:v>
                </c:pt>
                <c:pt idx="5785">
                  <c:v>96.686621500000001</c:v>
                </c:pt>
                <c:pt idx="5786">
                  <c:v>96.649371500000001</c:v>
                </c:pt>
                <c:pt idx="5787">
                  <c:v>96.630746500000001</c:v>
                </c:pt>
                <c:pt idx="5788">
                  <c:v>96.612121500000015</c:v>
                </c:pt>
                <c:pt idx="5789">
                  <c:v>96.594316000000006</c:v>
                </c:pt>
                <c:pt idx="5790">
                  <c:v>96.586717000000007</c:v>
                </c:pt>
                <c:pt idx="5791">
                  <c:v>96.568092000000007</c:v>
                </c:pt>
                <c:pt idx="5792">
                  <c:v>96.5562465</c:v>
                </c:pt>
                <c:pt idx="5793">
                  <c:v>96.493591999999992</c:v>
                </c:pt>
                <c:pt idx="5794">
                  <c:v>96.481746500000014</c:v>
                </c:pt>
                <c:pt idx="5795">
                  <c:v>96.4129085</c:v>
                </c:pt>
                <c:pt idx="5796">
                  <c:v>96.4129085</c:v>
                </c:pt>
                <c:pt idx="5797">
                  <c:v>95.788896500000007</c:v>
                </c:pt>
                <c:pt idx="5798">
                  <c:v>95.632670000000005</c:v>
                </c:pt>
                <c:pt idx="5799">
                  <c:v>95.632670000000005</c:v>
                </c:pt>
                <c:pt idx="5800">
                  <c:v>95.55816999999999</c:v>
                </c:pt>
                <c:pt idx="5801">
                  <c:v>95.55816999999999</c:v>
                </c:pt>
                <c:pt idx="5802">
                  <c:v>95.55816999999999</c:v>
                </c:pt>
                <c:pt idx="5803">
                  <c:v>95.55816999999999</c:v>
                </c:pt>
                <c:pt idx="5804">
                  <c:v>95.55816999999999</c:v>
                </c:pt>
                <c:pt idx="5805">
                  <c:v>95.55816999999999</c:v>
                </c:pt>
                <c:pt idx="5806">
                  <c:v>95.55816999999999</c:v>
                </c:pt>
                <c:pt idx="5807">
                  <c:v>95.483670000000004</c:v>
                </c:pt>
                <c:pt idx="5808">
                  <c:v>95.483670000000004</c:v>
                </c:pt>
                <c:pt idx="5809">
                  <c:v>95.483670000000004</c:v>
                </c:pt>
                <c:pt idx="5810">
                  <c:v>95.483670000000004</c:v>
                </c:pt>
                <c:pt idx="5811">
                  <c:v>95.483670000000004</c:v>
                </c:pt>
                <c:pt idx="5812">
                  <c:v>95.483670000000004</c:v>
                </c:pt>
                <c:pt idx="5813">
                  <c:v>95.483670000000004</c:v>
                </c:pt>
                <c:pt idx="5814">
                  <c:v>95.483670000000004</c:v>
                </c:pt>
                <c:pt idx="5815">
                  <c:v>95.483670000000004</c:v>
                </c:pt>
                <c:pt idx="5816">
                  <c:v>95.483670000000004</c:v>
                </c:pt>
                <c:pt idx="5817">
                  <c:v>95.483670000000004</c:v>
                </c:pt>
                <c:pt idx="5818">
                  <c:v>95.483670000000004</c:v>
                </c:pt>
                <c:pt idx="5819">
                  <c:v>95.483670000000004</c:v>
                </c:pt>
                <c:pt idx="5820">
                  <c:v>95.483670000000004</c:v>
                </c:pt>
                <c:pt idx="5821">
                  <c:v>95.409170000000003</c:v>
                </c:pt>
                <c:pt idx="5822">
                  <c:v>95.409170000000003</c:v>
                </c:pt>
                <c:pt idx="5823">
                  <c:v>95.409170000000003</c:v>
                </c:pt>
                <c:pt idx="5824">
                  <c:v>95.409170000000003</c:v>
                </c:pt>
                <c:pt idx="5825">
                  <c:v>95.409170000000003</c:v>
                </c:pt>
                <c:pt idx="5826">
                  <c:v>95.409170000000003</c:v>
                </c:pt>
                <c:pt idx="5827">
                  <c:v>95.409170000000003</c:v>
                </c:pt>
                <c:pt idx="5828">
                  <c:v>95.409170000000003</c:v>
                </c:pt>
                <c:pt idx="5829">
                  <c:v>95.409170000000003</c:v>
                </c:pt>
                <c:pt idx="5830">
                  <c:v>95.409170000000003</c:v>
                </c:pt>
                <c:pt idx="5831">
                  <c:v>95.409170000000003</c:v>
                </c:pt>
                <c:pt idx="5832">
                  <c:v>95.409170000000003</c:v>
                </c:pt>
                <c:pt idx="5833">
                  <c:v>95.409170000000003</c:v>
                </c:pt>
                <c:pt idx="5834">
                  <c:v>95.409170000000003</c:v>
                </c:pt>
                <c:pt idx="5835">
                  <c:v>95.409170000000003</c:v>
                </c:pt>
                <c:pt idx="5836">
                  <c:v>95.409170000000003</c:v>
                </c:pt>
                <c:pt idx="5837">
                  <c:v>95.409170000000003</c:v>
                </c:pt>
                <c:pt idx="5838">
                  <c:v>95.409170000000003</c:v>
                </c:pt>
                <c:pt idx="5839">
                  <c:v>95.334670000000003</c:v>
                </c:pt>
                <c:pt idx="5840">
                  <c:v>95.334670000000003</c:v>
                </c:pt>
                <c:pt idx="5841">
                  <c:v>95.334670000000003</c:v>
                </c:pt>
                <c:pt idx="5842">
                  <c:v>95.334670000000003</c:v>
                </c:pt>
                <c:pt idx="5843">
                  <c:v>95.334670000000003</c:v>
                </c:pt>
                <c:pt idx="5844">
                  <c:v>95.334670000000003</c:v>
                </c:pt>
                <c:pt idx="5845">
                  <c:v>95.260170000000002</c:v>
                </c:pt>
                <c:pt idx="5846">
                  <c:v>95.260170000000002</c:v>
                </c:pt>
                <c:pt idx="5847">
                  <c:v>95.260170000000002</c:v>
                </c:pt>
                <c:pt idx="5848">
                  <c:v>95.185670000000002</c:v>
                </c:pt>
                <c:pt idx="5849">
                  <c:v>95.111170000000001</c:v>
                </c:pt>
                <c:pt idx="5850">
                  <c:v>95.111170000000001</c:v>
                </c:pt>
                <c:pt idx="5851">
                  <c:v>94.876420499999995</c:v>
                </c:pt>
                <c:pt idx="5852">
                  <c:v>94.876420499999995</c:v>
                </c:pt>
                <c:pt idx="5853">
                  <c:v>94.876420499999995</c:v>
                </c:pt>
                <c:pt idx="5854">
                  <c:v>94.876420499999995</c:v>
                </c:pt>
                <c:pt idx="5855">
                  <c:v>94.876420499999995</c:v>
                </c:pt>
                <c:pt idx="5856">
                  <c:v>94.876420499999995</c:v>
                </c:pt>
                <c:pt idx="5857">
                  <c:v>94.876420499999995</c:v>
                </c:pt>
                <c:pt idx="5858">
                  <c:v>94.876420499999995</c:v>
                </c:pt>
                <c:pt idx="5859">
                  <c:v>94.839170500000009</c:v>
                </c:pt>
                <c:pt idx="5860">
                  <c:v>94.839170500000009</c:v>
                </c:pt>
                <c:pt idx="5861">
                  <c:v>94.8093705</c:v>
                </c:pt>
                <c:pt idx="5862">
                  <c:v>94.801920499999994</c:v>
                </c:pt>
                <c:pt idx="5863">
                  <c:v>94.757220500000003</c:v>
                </c:pt>
                <c:pt idx="5864">
                  <c:v>94.757220500000003</c:v>
                </c:pt>
                <c:pt idx="5865">
                  <c:v>94.757220500000003</c:v>
                </c:pt>
                <c:pt idx="5866">
                  <c:v>94.682720500000002</c:v>
                </c:pt>
                <c:pt idx="5867">
                  <c:v>94.615670499999993</c:v>
                </c:pt>
                <c:pt idx="5868">
                  <c:v>94.615670499999993</c:v>
                </c:pt>
                <c:pt idx="5869">
                  <c:v>94.615670499999993</c:v>
                </c:pt>
                <c:pt idx="5870">
                  <c:v>94.615670499999993</c:v>
                </c:pt>
                <c:pt idx="5871">
                  <c:v>94.556070500000004</c:v>
                </c:pt>
                <c:pt idx="5872">
                  <c:v>94.556070500000004</c:v>
                </c:pt>
                <c:pt idx="5873">
                  <c:v>94.556070500000004</c:v>
                </c:pt>
                <c:pt idx="5874">
                  <c:v>94.541170499999993</c:v>
                </c:pt>
                <c:pt idx="5875">
                  <c:v>94.541170499999993</c:v>
                </c:pt>
                <c:pt idx="5876">
                  <c:v>94.523364999999998</c:v>
                </c:pt>
                <c:pt idx="5877">
                  <c:v>94.448864999999998</c:v>
                </c:pt>
                <c:pt idx="5878">
                  <c:v>94.430239999999998</c:v>
                </c:pt>
                <c:pt idx="5879">
                  <c:v>94.392989999999998</c:v>
                </c:pt>
                <c:pt idx="5880">
                  <c:v>94.262614999999997</c:v>
                </c:pt>
                <c:pt idx="5881">
                  <c:v>92.415387500000008</c:v>
                </c:pt>
                <c:pt idx="5882">
                  <c:v>92.415387500000008</c:v>
                </c:pt>
                <c:pt idx="5883">
                  <c:v>92.348486500000007</c:v>
                </c:pt>
                <c:pt idx="5884">
                  <c:v>92.348486500000007</c:v>
                </c:pt>
                <c:pt idx="5885">
                  <c:v>92.348486500000007</c:v>
                </c:pt>
                <c:pt idx="5886">
                  <c:v>91.957659500000005</c:v>
                </c:pt>
                <c:pt idx="5887">
                  <c:v>91.957659500000005</c:v>
                </c:pt>
                <c:pt idx="5888">
                  <c:v>91.89694200000001</c:v>
                </c:pt>
                <c:pt idx="5889">
                  <c:v>91.883159500000005</c:v>
                </c:pt>
                <c:pt idx="5890">
                  <c:v>91.80865949999999</c:v>
                </c:pt>
                <c:pt idx="5891">
                  <c:v>91.598941999999994</c:v>
                </c:pt>
                <c:pt idx="5892">
                  <c:v>91.598941999999994</c:v>
                </c:pt>
                <c:pt idx="5893">
                  <c:v>91.598941999999994</c:v>
                </c:pt>
                <c:pt idx="5894">
                  <c:v>91.524441999999993</c:v>
                </c:pt>
                <c:pt idx="5895">
                  <c:v>91.524441999999993</c:v>
                </c:pt>
                <c:pt idx="5896">
                  <c:v>91.524441999999993</c:v>
                </c:pt>
                <c:pt idx="5897">
                  <c:v>91.524441999999993</c:v>
                </c:pt>
                <c:pt idx="5898">
                  <c:v>91.524441999999993</c:v>
                </c:pt>
                <c:pt idx="5899">
                  <c:v>91.449941999999993</c:v>
                </c:pt>
                <c:pt idx="5900">
                  <c:v>91.375442000000007</c:v>
                </c:pt>
                <c:pt idx="5901">
                  <c:v>91.375442000000007</c:v>
                </c:pt>
                <c:pt idx="5902">
                  <c:v>91.375442000000007</c:v>
                </c:pt>
                <c:pt idx="5903">
                  <c:v>91.375442000000007</c:v>
                </c:pt>
                <c:pt idx="5904">
                  <c:v>91.375442000000007</c:v>
                </c:pt>
                <c:pt idx="5905">
                  <c:v>91.375442000000007</c:v>
                </c:pt>
                <c:pt idx="5906">
                  <c:v>91.375442000000007</c:v>
                </c:pt>
                <c:pt idx="5907">
                  <c:v>91.356817000000007</c:v>
                </c:pt>
                <c:pt idx="5908">
                  <c:v>91.356817000000007</c:v>
                </c:pt>
                <c:pt idx="5909">
                  <c:v>91.356817000000007</c:v>
                </c:pt>
                <c:pt idx="5910">
                  <c:v>91.356817000000007</c:v>
                </c:pt>
                <c:pt idx="5911">
                  <c:v>91.356817000000007</c:v>
                </c:pt>
                <c:pt idx="5912">
                  <c:v>91.356817000000007</c:v>
                </c:pt>
                <c:pt idx="5913">
                  <c:v>91.151942000000005</c:v>
                </c:pt>
                <c:pt idx="5914">
                  <c:v>91.00294199999999</c:v>
                </c:pt>
                <c:pt idx="5915">
                  <c:v>90.347639999999998</c:v>
                </c:pt>
                <c:pt idx="5916">
                  <c:v>89.976108499999995</c:v>
                </c:pt>
                <c:pt idx="5917">
                  <c:v>89.895425000000003</c:v>
                </c:pt>
                <c:pt idx="5918">
                  <c:v>89.895425000000003</c:v>
                </c:pt>
                <c:pt idx="5919">
                  <c:v>89.895425000000003</c:v>
                </c:pt>
                <c:pt idx="5920">
                  <c:v>89.882983500000009</c:v>
                </c:pt>
                <c:pt idx="5921">
                  <c:v>89.882983500000009</c:v>
                </c:pt>
                <c:pt idx="5922">
                  <c:v>89.864358499999994</c:v>
                </c:pt>
                <c:pt idx="5923">
                  <c:v>89.827108500000008</c:v>
                </c:pt>
                <c:pt idx="5924">
                  <c:v>89.827108500000008</c:v>
                </c:pt>
                <c:pt idx="5925">
                  <c:v>89.827108500000008</c:v>
                </c:pt>
                <c:pt idx="5926">
                  <c:v>89.827108500000008</c:v>
                </c:pt>
                <c:pt idx="5927">
                  <c:v>89.827108500000008</c:v>
                </c:pt>
                <c:pt idx="5928">
                  <c:v>89.827108500000008</c:v>
                </c:pt>
                <c:pt idx="5929">
                  <c:v>89.827108500000008</c:v>
                </c:pt>
                <c:pt idx="5930">
                  <c:v>89.827108500000008</c:v>
                </c:pt>
                <c:pt idx="5931">
                  <c:v>89.820925000000003</c:v>
                </c:pt>
                <c:pt idx="5932">
                  <c:v>89.771233500000008</c:v>
                </c:pt>
                <c:pt idx="5933">
                  <c:v>89.771233500000008</c:v>
                </c:pt>
                <c:pt idx="5934">
                  <c:v>89.771233500000008</c:v>
                </c:pt>
                <c:pt idx="5935">
                  <c:v>89.771233500000008</c:v>
                </c:pt>
                <c:pt idx="5936">
                  <c:v>89.771233500000008</c:v>
                </c:pt>
                <c:pt idx="5937">
                  <c:v>89.771233500000008</c:v>
                </c:pt>
                <c:pt idx="5938">
                  <c:v>89.771233500000008</c:v>
                </c:pt>
                <c:pt idx="5939">
                  <c:v>89.752608500000008</c:v>
                </c:pt>
                <c:pt idx="5940">
                  <c:v>89.752608500000008</c:v>
                </c:pt>
                <c:pt idx="5941">
                  <c:v>89.752608500000008</c:v>
                </c:pt>
                <c:pt idx="5942">
                  <c:v>89.752608500000008</c:v>
                </c:pt>
                <c:pt idx="5943">
                  <c:v>89.752608500000008</c:v>
                </c:pt>
                <c:pt idx="5944">
                  <c:v>89.752608500000008</c:v>
                </c:pt>
                <c:pt idx="5945">
                  <c:v>89.752608500000008</c:v>
                </c:pt>
                <c:pt idx="5946">
                  <c:v>89.752608500000008</c:v>
                </c:pt>
                <c:pt idx="5947">
                  <c:v>89.752608500000008</c:v>
                </c:pt>
                <c:pt idx="5948">
                  <c:v>89.752608500000008</c:v>
                </c:pt>
                <c:pt idx="5949">
                  <c:v>89.752608500000008</c:v>
                </c:pt>
                <c:pt idx="5950">
                  <c:v>89.752608500000008</c:v>
                </c:pt>
                <c:pt idx="5951">
                  <c:v>89.752608500000008</c:v>
                </c:pt>
                <c:pt idx="5952">
                  <c:v>89.715358499999994</c:v>
                </c:pt>
                <c:pt idx="5953">
                  <c:v>89.678108500000008</c:v>
                </c:pt>
                <c:pt idx="5954">
                  <c:v>89.678108500000008</c:v>
                </c:pt>
                <c:pt idx="5955">
                  <c:v>89.678108500000008</c:v>
                </c:pt>
                <c:pt idx="5956">
                  <c:v>89.678108500000008</c:v>
                </c:pt>
                <c:pt idx="5957">
                  <c:v>89.678108500000008</c:v>
                </c:pt>
                <c:pt idx="5958">
                  <c:v>89.678108500000008</c:v>
                </c:pt>
                <c:pt idx="5959">
                  <c:v>89.640858500000007</c:v>
                </c:pt>
                <c:pt idx="5960">
                  <c:v>89.603608499999993</c:v>
                </c:pt>
                <c:pt idx="5961">
                  <c:v>89.603608499999993</c:v>
                </c:pt>
                <c:pt idx="5962">
                  <c:v>89.603608499999993</c:v>
                </c:pt>
                <c:pt idx="5963">
                  <c:v>89.603608499999993</c:v>
                </c:pt>
                <c:pt idx="5964">
                  <c:v>89.603608499999993</c:v>
                </c:pt>
                <c:pt idx="5965">
                  <c:v>89.603608499999993</c:v>
                </c:pt>
                <c:pt idx="5966">
                  <c:v>89.603608499999993</c:v>
                </c:pt>
                <c:pt idx="5967">
                  <c:v>89.603608499999993</c:v>
                </c:pt>
                <c:pt idx="5968">
                  <c:v>89.603608499999993</c:v>
                </c:pt>
                <c:pt idx="5969">
                  <c:v>89.603608499999993</c:v>
                </c:pt>
                <c:pt idx="5970">
                  <c:v>89.603608499999993</c:v>
                </c:pt>
                <c:pt idx="5971">
                  <c:v>89.603608499999993</c:v>
                </c:pt>
                <c:pt idx="5972">
                  <c:v>89.529108499999992</c:v>
                </c:pt>
                <c:pt idx="5973">
                  <c:v>89.235131499999994</c:v>
                </c:pt>
                <c:pt idx="5974">
                  <c:v>89.235131499999994</c:v>
                </c:pt>
                <c:pt idx="5975">
                  <c:v>89.142006500000008</c:v>
                </c:pt>
                <c:pt idx="5976">
                  <c:v>89.142006500000008</c:v>
                </c:pt>
                <c:pt idx="5977">
                  <c:v>89.086131499999993</c:v>
                </c:pt>
                <c:pt idx="5978">
                  <c:v>88.127838000000011</c:v>
                </c:pt>
                <c:pt idx="5979">
                  <c:v>87.919610500000005</c:v>
                </c:pt>
                <c:pt idx="5980">
                  <c:v>86.812466000000001</c:v>
                </c:pt>
                <c:pt idx="5981">
                  <c:v>86.812466000000001</c:v>
                </c:pt>
                <c:pt idx="5982">
                  <c:v>86.812466000000001</c:v>
                </c:pt>
                <c:pt idx="5983">
                  <c:v>86.663466</c:v>
                </c:pt>
                <c:pt idx="5984">
                  <c:v>86.663466</c:v>
                </c:pt>
                <c:pt idx="5985">
                  <c:v>86.663466</c:v>
                </c:pt>
                <c:pt idx="5986">
                  <c:v>86.663466</c:v>
                </c:pt>
                <c:pt idx="5987">
                  <c:v>86.588966000000013</c:v>
                </c:pt>
                <c:pt idx="5988">
                  <c:v>86.588966000000013</c:v>
                </c:pt>
                <c:pt idx="5989">
                  <c:v>84.608234499999995</c:v>
                </c:pt>
                <c:pt idx="5990">
                  <c:v>83.834403000000009</c:v>
                </c:pt>
                <c:pt idx="5991">
                  <c:v>83.471886000000012</c:v>
                </c:pt>
                <c:pt idx="5992">
                  <c:v>83.3228115</c:v>
                </c:pt>
                <c:pt idx="5993">
                  <c:v>83.3228115</c:v>
                </c:pt>
                <c:pt idx="5994">
                  <c:v>83.3228115</c:v>
                </c:pt>
                <c:pt idx="5995">
                  <c:v>83.3228115</c:v>
                </c:pt>
                <c:pt idx="5996">
                  <c:v>83.173885999999996</c:v>
                </c:pt>
                <c:pt idx="5997">
                  <c:v>83.173885999999996</c:v>
                </c:pt>
                <c:pt idx="5998">
                  <c:v>83.173885999999996</c:v>
                </c:pt>
                <c:pt idx="5999">
                  <c:v>83.173885999999996</c:v>
                </c:pt>
                <c:pt idx="6000">
                  <c:v>83.173885999999996</c:v>
                </c:pt>
                <c:pt idx="6001">
                  <c:v>83.173885999999996</c:v>
                </c:pt>
                <c:pt idx="6002">
                  <c:v>83.173885999999996</c:v>
                </c:pt>
                <c:pt idx="6003">
                  <c:v>83.173885999999996</c:v>
                </c:pt>
                <c:pt idx="6004">
                  <c:v>83.024811500000013</c:v>
                </c:pt>
                <c:pt idx="6005">
                  <c:v>83.024811500000013</c:v>
                </c:pt>
                <c:pt idx="6006">
                  <c:v>83.024811500000013</c:v>
                </c:pt>
                <c:pt idx="6007">
                  <c:v>83.024811500000013</c:v>
                </c:pt>
                <c:pt idx="6008">
                  <c:v>83.024811500000013</c:v>
                </c:pt>
                <c:pt idx="6009">
                  <c:v>83.024811500000013</c:v>
                </c:pt>
                <c:pt idx="6010">
                  <c:v>83.024811500000013</c:v>
                </c:pt>
                <c:pt idx="6011">
                  <c:v>83.024811500000013</c:v>
                </c:pt>
                <c:pt idx="6012">
                  <c:v>83.024811500000013</c:v>
                </c:pt>
                <c:pt idx="6013">
                  <c:v>83.004621999999998</c:v>
                </c:pt>
                <c:pt idx="6014">
                  <c:v>82.950311500000012</c:v>
                </c:pt>
                <c:pt idx="6015">
                  <c:v>82.687400999999994</c:v>
                </c:pt>
                <c:pt idx="6016">
                  <c:v>82.687400999999994</c:v>
                </c:pt>
                <c:pt idx="6017">
                  <c:v>82.687400999999994</c:v>
                </c:pt>
                <c:pt idx="6018">
                  <c:v>82.687400999999994</c:v>
                </c:pt>
                <c:pt idx="6019">
                  <c:v>82.538400999999993</c:v>
                </c:pt>
                <c:pt idx="6020">
                  <c:v>82.538400999999993</c:v>
                </c:pt>
                <c:pt idx="6021">
                  <c:v>81.740357000000003</c:v>
                </c:pt>
                <c:pt idx="6022">
                  <c:v>79.637967000000003</c:v>
                </c:pt>
                <c:pt idx="6023">
                  <c:v>79.312029500000008</c:v>
                </c:pt>
                <c:pt idx="6024">
                  <c:v>79.200279500000008</c:v>
                </c:pt>
                <c:pt idx="6025">
                  <c:v>79.163029499999993</c:v>
                </c:pt>
                <c:pt idx="6026">
                  <c:v>79.035932500000001</c:v>
                </c:pt>
                <c:pt idx="6027">
                  <c:v>79.032654499999992</c:v>
                </c:pt>
                <c:pt idx="6028">
                  <c:v>79.032654499999992</c:v>
                </c:pt>
                <c:pt idx="6029">
                  <c:v>79.032654499999992</c:v>
                </c:pt>
                <c:pt idx="6030">
                  <c:v>79.032654499999992</c:v>
                </c:pt>
                <c:pt idx="6031">
                  <c:v>79.032654499999992</c:v>
                </c:pt>
                <c:pt idx="6032">
                  <c:v>79.032654499999992</c:v>
                </c:pt>
                <c:pt idx="6033">
                  <c:v>79.032654499999992</c:v>
                </c:pt>
                <c:pt idx="6034">
                  <c:v>79.032654499999992</c:v>
                </c:pt>
                <c:pt idx="6035">
                  <c:v>79.014029500000007</c:v>
                </c:pt>
                <c:pt idx="6036">
                  <c:v>79.014029500000007</c:v>
                </c:pt>
                <c:pt idx="6037">
                  <c:v>79.014029500000007</c:v>
                </c:pt>
                <c:pt idx="6038">
                  <c:v>79.014029500000007</c:v>
                </c:pt>
                <c:pt idx="6039">
                  <c:v>78.976779500000006</c:v>
                </c:pt>
                <c:pt idx="6040">
                  <c:v>78.976779500000006</c:v>
                </c:pt>
                <c:pt idx="6041">
                  <c:v>78.976779500000006</c:v>
                </c:pt>
                <c:pt idx="6042">
                  <c:v>78.976779500000006</c:v>
                </c:pt>
                <c:pt idx="6043">
                  <c:v>78.976779500000006</c:v>
                </c:pt>
                <c:pt idx="6044">
                  <c:v>78.976779500000006</c:v>
                </c:pt>
                <c:pt idx="6045">
                  <c:v>78.976779500000006</c:v>
                </c:pt>
                <c:pt idx="6046">
                  <c:v>78.976779500000006</c:v>
                </c:pt>
                <c:pt idx="6047">
                  <c:v>78.976779500000006</c:v>
                </c:pt>
                <c:pt idx="6048">
                  <c:v>78.976779500000006</c:v>
                </c:pt>
                <c:pt idx="6049">
                  <c:v>78.958154499999992</c:v>
                </c:pt>
                <c:pt idx="6050">
                  <c:v>78.958154499999992</c:v>
                </c:pt>
                <c:pt idx="6051">
                  <c:v>78.958154499999992</c:v>
                </c:pt>
                <c:pt idx="6052">
                  <c:v>78.958154499999992</c:v>
                </c:pt>
                <c:pt idx="6053">
                  <c:v>78.958154499999992</c:v>
                </c:pt>
                <c:pt idx="6054">
                  <c:v>78.958154499999992</c:v>
                </c:pt>
                <c:pt idx="6055">
                  <c:v>78.958154499999992</c:v>
                </c:pt>
                <c:pt idx="6056">
                  <c:v>78.958154499999992</c:v>
                </c:pt>
                <c:pt idx="6057">
                  <c:v>78.958154499999992</c:v>
                </c:pt>
                <c:pt idx="6058">
                  <c:v>78.958154499999992</c:v>
                </c:pt>
                <c:pt idx="6059">
                  <c:v>78.958154499999992</c:v>
                </c:pt>
                <c:pt idx="6060">
                  <c:v>78.958154499999992</c:v>
                </c:pt>
                <c:pt idx="6061">
                  <c:v>78.958154499999992</c:v>
                </c:pt>
                <c:pt idx="6062">
                  <c:v>78.958154499999992</c:v>
                </c:pt>
                <c:pt idx="6063">
                  <c:v>78.939529500000006</c:v>
                </c:pt>
                <c:pt idx="6064">
                  <c:v>78.939529500000006</c:v>
                </c:pt>
                <c:pt idx="6065">
                  <c:v>78.939529500000006</c:v>
                </c:pt>
                <c:pt idx="6066">
                  <c:v>78.899075999999994</c:v>
                </c:pt>
                <c:pt idx="6067">
                  <c:v>78.899075999999994</c:v>
                </c:pt>
                <c:pt idx="6068">
                  <c:v>78.883654500000006</c:v>
                </c:pt>
                <c:pt idx="6069">
                  <c:v>78.883654500000006</c:v>
                </c:pt>
                <c:pt idx="6070">
                  <c:v>78.883654500000006</c:v>
                </c:pt>
                <c:pt idx="6071">
                  <c:v>78.883654500000006</c:v>
                </c:pt>
                <c:pt idx="6072">
                  <c:v>78.874193000000005</c:v>
                </c:pt>
                <c:pt idx="6073">
                  <c:v>78.865029500000006</c:v>
                </c:pt>
                <c:pt idx="6074">
                  <c:v>78.846404500000006</c:v>
                </c:pt>
                <c:pt idx="6075">
                  <c:v>78.834260999999998</c:v>
                </c:pt>
                <c:pt idx="6076">
                  <c:v>78.827779499999991</c:v>
                </c:pt>
                <c:pt idx="6077">
                  <c:v>78.827779499999991</c:v>
                </c:pt>
                <c:pt idx="6078">
                  <c:v>78.809154500000005</c:v>
                </c:pt>
                <c:pt idx="6079">
                  <c:v>78.809154500000005</c:v>
                </c:pt>
                <c:pt idx="6080">
                  <c:v>78.809154500000005</c:v>
                </c:pt>
                <c:pt idx="6081">
                  <c:v>78.809154500000005</c:v>
                </c:pt>
                <c:pt idx="6082">
                  <c:v>78.809154500000005</c:v>
                </c:pt>
                <c:pt idx="6083">
                  <c:v>78.809154500000005</c:v>
                </c:pt>
                <c:pt idx="6084">
                  <c:v>78.809154500000005</c:v>
                </c:pt>
                <c:pt idx="6085">
                  <c:v>78.771904500000005</c:v>
                </c:pt>
                <c:pt idx="6086">
                  <c:v>78.734654500000005</c:v>
                </c:pt>
                <c:pt idx="6087">
                  <c:v>78.734654500000005</c:v>
                </c:pt>
                <c:pt idx="6088">
                  <c:v>78.678779500000005</c:v>
                </c:pt>
                <c:pt idx="6089">
                  <c:v>76.606711000000004</c:v>
                </c:pt>
                <c:pt idx="6090">
                  <c:v>76.606711000000004</c:v>
                </c:pt>
                <c:pt idx="6091">
                  <c:v>76.53221099999999</c:v>
                </c:pt>
                <c:pt idx="6092">
                  <c:v>76.53221099999999</c:v>
                </c:pt>
                <c:pt idx="6093">
                  <c:v>76.457711000000003</c:v>
                </c:pt>
                <c:pt idx="6094">
                  <c:v>76.457711000000003</c:v>
                </c:pt>
                <c:pt idx="6095">
                  <c:v>76.457711000000003</c:v>
                </c:pt>
                <c:pt idx="6096">
                  <c:v>76.457711000000003</c:v>
                </c:pt>
                <c:pt idx="6097">
                  <c:v>76.252836000000002</c:v>
                </c:pt>
                <c:pt idx="6098">
                  <c:v>73.411361299999996</c:v>
                </c:pt>
                <c:pt idx="6099">
                  <c:v>72.328317549999994</c:v>
                </c:pt>
                <c:pt idx="6100">
                  <c:v>72.328317549999994</c:v>
                </c:pt>
                <c:pt idx="6101">
                  <c:v>72.328317549999994</c:v>
                </c:pt>
                <c:pt idx="6102">
                  <c:v>72.289935150000005</c:v>
                </c:pt>
                <c:pt idx="6103">
                  <c:v>72.197942549999993</c:v>
                </c:pt>
                <c:pt idx="6104">
                  <c:v>72.197942549999993</c:v>
                </c:pt>
                <c:pt idx="6105">
                  <c:v>72.197942549999993</c:v>
                </c:pt>
                <c:pt idx="6106">
                  <c:v>71.460660750000002</c:v>
                </c:pt>
                <c:pt idx="6107">
                  <c:v>71.061690900000002</c:v>
                </c:pt>
                <c:pt idx="6108">
                  <c:v>70.540190899999999</c:v>
                </c:pt>
                <c:pt idx="6109">
                  <c:v>70.084161500000008</c:v>
                </c:pt>
                <c:pt idx="6110">
                  <c:v>69.6897436</c:v>
                </c:pt>
                <c:pt idx="6111">
                  <c:v>69.540743599999999</c:v>
                </c:pt>
                <c:pt idx="6112">
                  <c:v>69.540743599999999</c:v>
                </c:pt>
                <c:pt idx="6113">
                  <c:v>69.540743599999999</c:v>
                </c:pt>
                <c:pt idx="6114">
                  <c:v>69.540743599999999</c:v>
                </c:pt>
                <c:pt idx="6115">
                  <c:v>69.540743599999999</c:v>
                </c:pt>
                <c:pt idx="6116">
                  <c:v>69.46623615</c:v>
                </c:pt>
                <c:pt idx="6117">
                  <c:v>69.46623615</c:v>
                </c:pt>
                <c:pt idx="6118">
                  <c:v>69.46623615</c:v>
                </c:pt>
                <c:pt idx="6119">
                  <c:v>69.46623615</c:v>
                </c:pt>
                <c:pt idx="6120">
                  <c:v>69.46623615</c:v>
                </c:pt>
                <c:pt idx="6121">
                  <c:v>69.391743599999998</c:v>
                </c:pt>
                <c:pt idx="6122">
                  <c:v>69.391743599999998</c:v>
                </c:pt>
                <c:pt idx="6123">
                  <c:v>69.391743599999998</c:v>
                </c:pt>
                <c:pt idx="6124">
                  <c:v>69.391743599999998</c:v>
                </c:pt>
                <c:pt idx="6125">
                  <c:v>69.391743599999998</c:v>
                </c:pt>
                <c:pt idx="6126">
                  <c:v>69.391743599999998</c:v>
                </c:pt>
                <c:pt idx="6127">
                  <c:v>69.391743599999998</c:v>
                </c:pt>
                <c:pt idx="6128">
                  <c:v>69.391743599999998</c:v>
                </c:pt>
                <c:pt idx="6129">
                  <c:v>69.391743599999998</c:v>
                </c:pt>
                <c:pt idx="6130">
                  <c:v>69.391743599999998</c:v>
                </c:pt>
                <c:pt idx="6131">
                  <c:v>69.391743599999998</c:v>
                </c:pt>
                <c:pt idx="6132">
                  <c:v>69.317243599999998</c:v>
                </c:pt>
                <c:pt idx="6133">
                  <c:v>69.317243599999998</c:v>
                </c:pt>
                <c:pt idx="6134">
                  <c:v>69.317243599999998</c:v>
                </c:pt>
                <c:pt idx="6135">
                  <c:v>69.242743599999997</c:v>
                </c:pt>
                <c:pt idx="6136">
                  <c:v>69.242743599999997</c:v>
                </c:pt>
                <c:pt idx="6137">
                  <c:v>68.8921615</c:v>
                </c:pt>
                <c:pt idx="6138">
                  <c:v>67.444835100000006</c:v>
                </c:pt>
                <c:pt idx="6139">
                  <c:v>67.295835099999991</c:v>
                </c:pt>
                <c:pt idx="6140">
                  <c:v>65.425989400000006</c:v>
                </c:pt>
                <c:pt idx="6141">
                  <c:v>65.276989400000005</c:v>
                </c:pt>
                <c:pt idx="6142">
                  <c:v>65.276989400000005</c:v>
                </c:pt>
                <c:pt idx="6143">
                  <c:v>65.276989400000005</c:v>
                </c:pt>
                <c:pt idx="6144">
                  <c:v>65.276989400000005</c:v>
                </c:pt>
                <c:pt idx="6145">
                  <c:v>65.202489400000005</c:v>
                </c:pt>
                <c:pt idx="6146">
                  <c:v>65.202489400000005</c:v>
                </c:pt>
                <c:pt idx="6147">
                  <c:v>65.202489400000005</c:v>
                </c:pt>
                <c:pt idx="6148">
                  <c:v>65.202489400000005</c:v>
                </c:pt>
                <c:pt idx="6149">
                  <c:v>65.202489400000005</c:v>
                </c:pt>
                <c:pt idx="6150">
                  <c:v>65.202489400000005</c:v>
                </c:pt>
                <c:pt idx="6151">
                  <c:v>65.202489400000005</c:v>
                </c:pt>
                <c:pt idx="6152">
                  <c:v>65.202489400000005</c:v>
                </c:pt>
                <c:pt idx="6153">
                  <c:v>65.202489400000005</c:v>
                </c:pt>
                <c:pt idx="6154">
                  <c:v>65.202489400000005</c:v>
                </c:pt>
                <c:pt idx="6155">
                  <c:v>65.202489400000005</c:v>
                </c:pt>
                <c:pt idx="6156">
                  <c:v>65.202489400000005</c:v>
                </c:pt>
                <c:pt idx="6157">
                  <c:v>65.202489400000005</c:v>
                </c:pt>
                <c:pt idx="6158">
                  <c:v>65.202489400000005</c:v>
                </c:pt>
                <c:pt idx="6159">
                  <c:v>65.202489400000005</c:v>
                </c:pt>
                <c:pt idx="6160">
                  <c:v>65.202489400000005</c:v>
                </c:pt>
                <c:pt idx="6161">
                  <c:v>65.202489400000005</c:v>
                </c:pt>
                <c:pt idx="6162">
                  <c:v>65.202489400000005</c:v>
                </c:pt>
                <c:pt idx="6163">
                  <c:v>65.202489400000005</c:v>
                </c:pt>
                <c:pt idx="6164">
                  <c:v>65.202489400000005</c:v>
                </c:pt>
                <c:pt idx="6165">
                  <c:v>65.202489400000005</c:v>
                </c:pt>
                <c:pt idx="6166">
                  <c:v>65.127989400000004</c:v>
                </c:pt>
                <c:pt idx="6167">
                  <c:v>65.127989400000004</c:v>
                </c:pt>
                <c:pt idx="6168">
                  <c:v>65.127989400000004</c:v>
                </c:pt>
                <c:pt idx="6169">
                  <c:v>65.127989400000004</c:v>
                </c:pt>
                <c:pt idx="6170">
                  <c:v>65.053489399999989</c:v>
                </c:pt>
                <c:pt idx="6171">
                  <c:v>65.053489399999989</c:v>
                </c:pt>
                <c:pt idx="6172">
                  <c:v>65.053489399999989</c:v>
                </c:pt>
                <c:pt idx="6173">
                  <c:v>65.053489399999989</c:v>
                </c:pt>
                <c:pt idx="6174">
                  <c:v>65.053489399999989</c:v>
                </c:pt>
                <c:pt idx="6175">
                  <c:v>65.053489399999989</c:v>
                </c:pt>
                <c:pt idx="6176">
                  <c:v>65.053489399999989</c:v>
                </c:pt>
                <c:pt idx="6177">
                  <c:v>65.053489399999989</c:v>
                </c:pt>
                <c:pt idx="6178">
                  <c:v>65.053489399999989</c:v>
                </c:pt>
                <c:pt idx="6179">
                  <c:v>65.053489399999989</c:v>
                </c:pt>
                <c:pt idx="6180">
                  <c:v>65.053489399999989</c:v>
                </c:pt>
                <c:pt idx="6181">
                  <c:v>64.978996850000001</c:v>
                </c:pt>
                <c:pt idx="6182">
                  <c:v>64.978996850000001</c:v>
                </c:pt>
                <c:pt idx="6183">
                  <c:v>64.978996850000001</c:v>
                </c:pt>
                <c:pt idx="6184">
                  <c:v>64.978996850000001</c:v>
                </c:pt>
                <c:pt idx="6185">
                  <c:v>64.978996850000001</c:v>
                </c:pt>
                <c:pt idx="6186">
                  <c:v>55.0585247</c:v>
                </c:pt>
                <c:pt idx="6187">
                  <c:v>54.909524699999999</c:v>
                </c:pt>
                <c:pt idx="6188">
                  <c:v>54.909524699999999</c:v>
                </c:pt>
                <c:pt idx="6189">
                  <c:v>54.909524699999999</c:v>
                </c:pt>
                <c:pt idx="6190">
                  <c:v>52.285932700000004</c:v>
                </c:pt>
                <c:pt idx="6191">
                  <c:v>34.701645550000002</c:v>
                </c:pt>
                <c:pt idx="6192">
                  <c:v>0.52150000000000007</c:v>
                </c:pt>
                <c:pt idx="6193">
                  <c:v>0.47183330849999994</c:v>
                </c:pt>
                <c:pt idx="6194">
                  <c:v>0.43925661900000001</c:v>
                </c:pt>
                <c:pt idx="6195">
                  <c:v>0.43925661900000001</c:v>
                </c:pt>
                <c:pt idx="6196">
                  <c:v>0.37250000000000005</c:v>
                </c:pt>
                <c:pt idx="6197">
                  <c:v>0.37250000000000005</c:v>
                </c:pt>
                <c:pt idx="6198">
                  <c:v>0.37250000000000005</c:v>
                </c:pt>
                <c:pt idx="6199">
                  <c:v>0.32283330850000003</c:v>
                </c:pt>
                <c:pt idx="6200">
                  <c:v>0.32283330850000003</c:v>
                </c:pt>
                <c:pt idx="6201">
                  <c:v>0.32283330850000003</c:v>
                </c:pt>
                <c:pt idx="6202">
                  <c:v>0.32283330850000003</c:v>
                </c:pt>
                <c:pt idx="6203">
                  <c:v>0.32283330850000003</c:v>
                </c:pt>
                <c:pt idx="6204">
                  <c:v>0.32283330850000003</c:v>
                </c:pt>
                <c:pt idx="6205">
                  <c:v>0.32283330850000003</c:v>
                </c:pt>
                <c:pt idx="6206">
                  <c:v>0.29799999999999999</c:v>
                </c:pt>
                <c:pt idx="6207">
                  <c:v>0.29799999999999999</c:v>
                </c:pt>
                <c:pt idx="6208">
                  <c:v>0.29799999999999999</c:v>
                </c:pt>
                <c:pt idx="6209">
                  <c:v>0.29799999999999999</c:v>
                </c:pt>
                <c:pt idx="6210">
                  <c:v>0.29799999999999999</c:v>
                </c:pt>
                <c:pt idx="6211">
                  <c:v>0.29799999999999999</c:v>
                </c:pt>
                <c:pt idx="6212">
                  <c:v>0.29799999999999999</c:v>
                </c:pt>
                <c:pt idx="6213">
                  <c:v>0.29799999999999999</c:v>
                </c:pt>
                <c:pt idx="6214">
                  <c:v>0.29799999999999999</c:v>
                </c:pt>
                <c:pt idx="6215">
                  <c:v>0.29799999999999999</c:v>
                </c:pt>
                <c:pt idx="6216">
                  <c:v>0.29799999999999999</c:v>
                </c:pt>
                <c:pt idx="6217">
                  <c:v>0.29799999999999999</c:v>
                </c:pt>
                <c:pt idx="6218">
                  <c:v>0.29799999999999999</c:v>
                </c:pt>
                <c:pt idx="6219">
                  <c:v>0.29799999999999999</c:v>
                </c:pt>
                <c:pt idx="6220">
                  <c:v>0.29799999999999999</c:v>
                </c:pt>
                <c:pt idx="6221">
                  <c:v>0.24833338300000002</c:v>
                </c:pt>
                <c:pt idx="6222">
                  <c:v>0.24833338300000002</c:v>
                </c:pt>
                <c:pt idx="6223">
                  <c:v>0.24833338300000002</c:v>
                </c:pt>
                <c:pt idx="6224">
                  <c:v>0.24833338300000002</c:v>
                </c:pt>
                <c:pt idx="6225">
                  <c:v>0.24833338300000002</c:v>
                </c:pt>
                <c:pt idx="6226">
                  <c:v>0.2235</c:v>
                </c:pt>
                <c:pt idx="6227">
                  <c:v>0.2235</c:v>
                </c:pt>
                <c:pt idx="6228">
                  <c:v>0.2235</c:v>
                </c:pt>
                <c:pt idx="6229">
                  <c:v>0.2235</c:v>
                </c:pt>
                <c:pt idx="6230">
                  <c:v>0.2235</c:v>
                </c:pt>
                <c:pt idx="6231">
                  <c:v>0.2235</c:v>
                </c:pt>
                <c:pt idx="6232">
                  <c:v>0.2235</c:v>
                </c:pt>
                <c:pt idx="6233">
                  <c:v>0.2235</c:v>
                </c:pt>
                <c:pt idx="6234">
                  <c:v>0.2235</c:v>
                </c:pt>
                <c:pt idx="6235">
                  <c:v>0.2235</c:v>
                </c:pt>
                <c:pt idx="6236">
                  <c:v>0.2235</c:v>
                </c:pt>
                <c:pt idx="6237">
                  <c:v>0.2235</c:v>
                </c:pt>
                <c:pt idx="6238">
                  <c:v>0.2235</c:v>
                </c:pt>
                <c:pt idx="6239">
                  <c:v>0.2235</c:v>
                </c:pt>
                <c:pt idx="6240">
                  <c:v>0.2235</c:v>
                </c:pt>
                <c:pt idx="6241">
                  <c:v>0.2235</c:v>
                </c:pt>
                <c:pt idx="6242">
                  <c:v>0.2235</c:v>
                </c:pt>
                <c:pt idx="6243">
                  <c:v>0.2235</c:v>
                </c:pt>
                <c:pt idx="6244">
                  <c:v>0.2235</c:v>
                </c:pt>
                <c:pt idx="6245">
                  <c:v>0.2235</c:v>
                </c:pt>
                <c:pt idx="6246">
                  <c:v>0.2235</c:v>
                </c:pt>
                <c:pt idx="6247">
                  <c:v>0.2235</c:v>
                </c:pt>
                <c:pt idx="6248">
                  <c:v>0.2235</c:v>
                </c:pt>
                <c:pt idx="6249">
                  <c:v>0.2235</c:v>
                </c:pt>
                <c:pt idx="6250">
                  <c:v>0.2235</c:v>
                </c:pt>
                <c:pt idx="6251">
                  <c:v>0.2235</c:v>
                </c:pt>
                <c:pt idx="6252">
                  <c:v>0.2235</c:v>
                </c:pt>
                <c:pt idx="6253">
                  <c:v>0.2235</c:v>
                </c:pt>
                <c:pt idx="6254">
                  <c:v>0.2235</c:v>
                </c:pt>
                <c:pt idx="6255">
                  <c:v>0.2235</c:v>
                </c:pt>
                <c:pt idx="6256">
                  <c:v>0.2235</c:v>
                </c:pt>
                <c:pt idx="6257">
                  <c:v>0.2235</c:v>
                </c:pt>
                <c:pt idx="6258">
                  <c:v>0.2235</c:v>
                </c:pt>
                <c:pt idx="6259">
                  <c:v>0.2235</c:v>
                </c:pt>
                <c:pt idx="6260">
                  <c:v>0.2235</c:v>
                </c:pt>
                <c:pt idx="6261">
                  <c:v>0.2235</c:v>
                </c:pt>
                <c:pt idx="6262">
                  <c:v>0.2235</c:v>
                </c:pt>
                <c:pt idx="6263">
                  <c:v>0.2235</c:v>
                </c:pt>
                <c:pt idx="6264">
                  <c:v>0.2235</c:v>
                </c:pt>
                <c:pt idx="6265">
                  <c:v>0.2235</c:v>
                </c:pt>
                <c:pt idx="6266">
                  <c:v>0.2235</c:v>
                </c:pt>
                <c:pt idx="6267">
                  <c:v>0.2235</c:v>
                </c:pt>
                <c:pt idx="6268">
                  <c:v>0.2235</c:v>
                </c:pt>
                <c:pt idx="6269">
                  <c:v>0.2235</c:v>
                </c:pt>
                <c:pt idx="6270">
                  <c:v>0.2235</c:v>
                </c:pt>
                <c:pt idx="6271">
                  <c:v>0.2235</c:v>
                </c:pt>
                <c:pt idx="6272">
                  <c:v>0.2235</c:v>
                </c:pt>
                <c:pt idx="6273">
                  <c:v>0.2235</c:v>
                </c:pt>
                <c:pt idx="6274">
                  <c:v>0.2235</c:v>
                </c:pt>
                <c:pt idx="6275">
                  <c:v>0.2235</c:v>
                </c:pt>
                <c:pt idx="6276">
                  <c:v>0.2235</c:v>
                </c:pt>
                <c:pt idx="6277">
                  <c:v>0.2235</c:v>
                </c:pt>
                <c:pt idx="6278">
                  <c:v>0.2235</c:v>
                </c:pt>
                <c:pt idx="6279">
                  <c:v>0.2235</c:v>
                </c:pt>
                <c:pt idx="6280">
                  <c:v>0.2235</c:v>
                </c:pt>
                <c:pt idx="6281">
                  <c:v>0.2235</c:v>
                </c:pt>
                <c:pt idx="6282">
                  <c:v>0.2235</c:v>
                </c:pt>
                <c:pt idx="6283">
                  <c:v>0.204875</c:v>
                </c:pt>
                <c:pt idx="6284">
                  <c:v>0.19866669149999999</c:v>
                </c:pt>
                <c:pt idx="6285">
                  <c:v>0.17383330850000001</c:v>
                </c:pt>
                <c:pt idx="6286">
                  <c:v>0.17383330850000001</c:v>
                </c:pt>
                <c:pt idx="6287">
                  <c:v>0.17383330850000001</c:v>
                </c:pt>
                <c:pt idx="6288">
                  <c:v>0.17383330850000001</c:v>
                </c:pt>
                <c:pt idx="6289">
                  <c:v>0.17383330850000001</c:v>
                </c:pt>
                <c:pt idx="6290">
                  <c:v>0.17383330850000001</c:v>
                </c:pt>
                <c:pt idx="6291">
                  <c:v>0.17383330850000001</c:v>
                </c:pt>
                <c:pt idx="6292">
                  <c:v>0.17383330850000001</c:v>
                </c:pt>
                <c:pt idx="6293">
                  <c:v>0.17383330850000001</c:v>
                </c:pt>
                <c:pt idx="6294">
                  <c:v>0.17383330850000001</c:v>
                </c:pt>
                <c:pt idx="6295">
                  <c:v>0.17383330850000001</c:v>
                </c:pt>
                <c:pt idx="6296">
                  <c:v>0.165555539</c:v>
                </c:pt>
                <c:pt idx="6297">
                  <c:v>0.165555539</c:v>
                </c:pt>
                <c:pt idx="6298">
                  <c:v>0.1572777695</c:v>
                </c:pt>
                <c:pt idx="6299">
                  <c:v>0.1572777695</c:v>
                </c:pt>
                <c:pt idx="6300">
                  <c:v>0.1572777695</c:v>
                </c:pt>
                <c:pt idx="6301">
                  <c:v>0.1572777695</c:v>
                </c:pt>
                <c:pt idx="6302">
                  <c:v>0.1572777695</c:v>
                </c:pt>
                <c:pt idx="6303">
                  <c:v>0.1572777695</c:v>
                </c:pt>
                <c:pt idx="6304">
                  <c:v>0.14899999999999999</c:v>
                </c:pt>
                <c:pt idx="6305">
                  <c:v>0.14899999999999999</c:v>
                </c:pt>
                <c:pt idx="6306">
                  <c:v>0.14899999999999999</c:v>
                </c:pt>
                <c:pt idx="6307">
                  <c:v>0.14899999999999999</c:v>
                </c:pt>
                <c:pt idx="6308">
                  <c:v>0.14899999999999999</c:v>
                </c:pt>
                <c:pt idx="6309">
                  <c:v>0.14899999999999999</c:v>
                </c:pt>
                <c:pt idx="6310">
                  <c:v>0.14899999999999999</c:v>
                </c:pt>
                <c:pt idx="6311">
                  <c:v>0.14899999999999999</c:v>
                </c:pt>
                <c:pt idx="6312">
                  <c:v>0.14899999999999999</c:v>
                </c:pt>
                <c:pt idx="6313">
                  <c:v>0.14899999999999999</c:v>
                </c:pt>
                <c:pt idx="6314">
                  <c:v>0.14899999999999999</c:v>
                </c:pt>
                <c:pt idx="6315">
                  <c:v>0.14899999999999999</c:v>
                </c:pt>
                <c:pt idx="6316">
                  <c:v>0.14899999999999999</c:v>
                </c:pt>
                <c:pt idx="6317">
                  <c:v>0.14899999999999999</c:v>
                </c:pt>
                <c:pt idx="6318">
                  <c:v>0.14899999999999999</c:v>
                </c:pt>
                <c:pt idx="6319">
                  <c:v>0.14899999999999999</c:v>
                </c:pt>
                <c:pt idx="6320">
                  <c:v>0.14899999999999999</c:v>
                </c:pt>
                <c:pt idx="6321">
                  <c:v>0.14899999999999999</c:v>
                </c:pt>
                <c:pt idx="6322">
                  <c:v>0.14899999999999999</c:v>
                </c:pt>
                <c:pt idx="6323">
                  <c:v>0.14899999999999999</c:v>
                </c:pt>
                <c:pt idx="6324">
                  <c:v>0.14899999999999999</c:v>
                </c:pt>
                <c:pt idx="6325">
                  <c:v>0.14899999999999999</c:v>
                </c:pt>
                <c:pt idx="6326">
                  <c:v>0.14899999999999999</c:v>
                </c:pt>
                <c:pt idx="6327">
                  <c:v>0.14899999999999999</c:v>
                </c:pt>
                <c:pt idx="6328">
                  <c:v>0.14899999999999999</c:v>
                </c:pt>
                <c:pt idx="6329">
                  <c:v>0.14899999999999999</c:v>
                </c:pt>
                <c:pt idx="6330">
                  <c:v>0.14899999999999999</c:v>
                </c:pt>
                <c:pt idx="6331">
                  <c:v>0.14899999999999999</c:v>
                </c:pt>
                <c:pt idx="6332">
                  <c:v>0.14899999999999999</c:v>
                </c:pt>
                <c:pt idx="6333">
                  <c:v>0.14899999999999999</c:v>
                </c:pt>
                <c:pt idx="6334">
                  <c:v>0.14899999999999999</c:v>
                </c:pt>
                <c:pt idx="6335">
                  <c:v>0.14899999999999999</c:v>
                </c:pt>
                <c:pt idx="6336">
                  <c:v>0.14899999999999999</c:v>
                </c:pt>
                <c:pt idx="6337">
                  <c:v>0.14899999999999999</c:v>
                </c:pt>
                <c:pt idx="6338">
                  <c:v>0.14899999999999999</c:v>
                </c:pt>
                <c:pt idx="6339">
                  <c:v>0.14899999999999999</c:v>
                </c:pt>
                <c:pt idx="6340">
                  <c:v>0.14899999999999999</c:v>
                </c:pt>
                <c:pt idx="6341">
                  <c:v>0.14899999999999999</c:v>
                </c:pt>
                <c:pt idx="6342">
                  <c:v>0.14899999999999999</c:v>
                </c:pt>
                <c:pt idx="6343">
                  <c:v>0.14899999999999999</c:v>
                </c:pt>
                <c:pt idx="6344">
                  <c:v>0.14899999999999999</c:v>
                </c:pt>
                <c:pt idx="6345">
                  <c:v>0.14899999999999999</c:v>
                </c:pt>
                <c:pt idx="6346">
                  <c:v>0.14899999999999999</c:v>
                </c:pt>
                <c:pt idx="6347">
                  <c:v>0.14899999999999999</c:v>
                </c:pt>
                <c:pt idx="6348">
                  <c:v>0.14899999999999999</c:v>
                </c:pt>
                <c:pt idx="6349">
                  <c:v>0.14899999999999999</c:v>
                </c:pt>
                <c:pt idx="6350">
                  <c:v>0.14899999999999999</c:v>
                </c:pt>
                <c:pt idx="6351">
                  <c:v>0.14899999999999999</c:v>
                </c:pt>
                <c:pt idx="6352">
                  <c:v>0.14899999999999999</c:v>
                </c:pt>
                <c:pt idx="6353">
                  <c:v>0.14899999999999999</c:v>
                </c:pt>
                <c:pt idx="6354">
                  <c:v>0.14899999999999999</c:v>
                </c:pt>
                <c:pt idx="6355">
                  <c:v>0.14899999999999999</c:v>
                </c:pt>
                <c:pt idx="6356">
                  <c:v>0.14899999999999999</c:v>
                </c:pt>
                <c:pt idx="6357">
                  <c:v>0.14899999999999999</c:v>
                </c:pt>
                <c:pt idx="6358">
                  <c:v>0.14899999999999999</c:v>
                </c:pt>
                <c:pt idx="6359">
                  <c:v>0.14899999999999999</c:v>
                </c:pt>
                <c:pt idx="6360">
                  <c:v>0.14899999999999999</c:v>
                </c:pt>
                <c:pt idx="6361">
                  <c:v>0.14899999999999999</c:v>
                </c:pt>
                <c:pt idx="6362">
                  <c:v>0.14899999999999999</c:v>
                </c:pt>
                <c:pt idx="6363">
                  <c:v>0.14899999999999999</c:v>
                </c:pt>
                <c:pt idx="6364">
                  <c:v>0.14899999999999999</c:v>
                </c:pt>
                <c:pt idx="6365">
                  <c:v>0.14899999999999999</c:v>
                </c:pt>
                <c:pt idx="6366">
                  <c:v>0.14899999999999999</c:v>
                </c:pt>
                <c:pt idx="6367">
                  <c:v>0.14899999999999999</c:v>
                </c:pt>
                <c:pt idx="6368">
                  <c:v>0.14899999999999999</c:v>
                </c:pt>
                <c:pt idx="6369">
                  <c:v>0.14899999999999999</c:v>
                </c:pt>
                <c:pt idx="6370">
                  <c:v>0.14899999999999999</c:v>
                </c:pt>
                <c:pt idx="6371">
                  <c:v>0.14899999999999999</c:v>
                </c:pt>
                <c:pt idx="6372">
                  <c:v>0.14899999999999999</c:v>
                </c:pt>
                <c:pt idx="6373">
                  <c:v>0.14899999999999999</c:v>
                </c:pt>
                <c:pt idx="6374">
                  <c:v>0.14899999999999999</c:v>
                </c:pt>
                <c:pt idx="6375">
                  <c:v>0.14899999999999999</c:v>
                </c:pt>
                <c:pt idx="6376">
                  <c:v>0.14899999999999999</c:v>
                </c:pt>
                <c:pt idx="6377">
                  <c:v>0.14899999999999999</c:v>
                </c:pt>
                <c:pt idx="6378">
                  <c:v>0.14899999999999999</c:v>
                </c:pt>
                <c:pt idx="6379">
                  <c:v>0.14899999999999999</c:v>
                </c:pt>
                <c:pt idx="6380">
                  <c:v>0.14899999999999999</c:v>
                </c:pt>
                <c:pt idx="6381">
                  <c:v>0.14899999999999999</c:v>
                </c:pt>
                <c:pt idx="6382">
                  <c:v>0.14899999999999999</c:v>
                </c:pt>
                <c:pt idx="6383">
                  <c:v>0.14899999999999999</c:v>
                </c:pt>
                <c:pt idx="6384">
                  <c:v>0.14899999999999999</c:v>
                </c:pt>
                <c:pt idx="6385">
                  <c:v>0.14899999999999999</c:v>
                </c:pt>
                <c:pt idx="6386">
                  <c:v>0.14899999999999999</c:v>
                </c:pt>
                <c:pt idx="6387">
                  <c:v>0.14899999999999999</c:v>
                </c:pt>
                <c:pt idx="6388">
                  <c:v>0.14899999999999999</c:v>
                </c:pt>
                <c:pt idx="6389">
                  <c:v>0.14899999999999999</c:v>
                </c:pt>
                <c:pt idx="6390">
                  <c:v>0.14899999999999999</c:v>
                </c:pt>
                <c:pt idx="6391">
                  <c:v>0.14899999999999999</c:v>
                </c:pt>
                <c:pt idx="6392">
                  <c:v>0.14899999999999999</c:v>
                </c:pt>
                <c:pt idx="6393">
                  <c:v>0.14899999999999999</c:v>
                </c:pt>
                <c:pt idx="6394">
                  <c:v>0.14899999999999999</c:v>
                </c:pt>
                <c:pt idx="6395">
                  <c:v>0.14899999999999999</c:v>
                </c:pt>
                <c:pt idx="6396">
                  <c:v>0.14899999999999999</c:v>
                </c:pt>
                <c:pt idx="6397">
                  <c:v>0.14899999999999999</c:v>
                </c:pt>
                <c:pt idx="6398">
                  <c:v>0.14899999999999999</c:v>
                </c:pt>
                <c:pt idx="6399">
                  <c:v>0.14899999999999999</c:v>
                </c:pt>
                <c:pt idx="6400">
                  <c:v>0.14899999999999999</c:v>
                </c:pt>
                <c:pt idx="6401">
                  <c:v>0.14899999999999999</c:v>
                </c:pt>
                <c:pt idx="6402">
                  <c:v>0.14899999999999999</c:v>
                </c:pt>
                <c:pt idx="6403">
                  <c:v>0.14899999999999999</c:v>
                </c:pt>
                <c:pt idx="6404">
                  <c:v>0.14155000000000001</c:v>
                </c:pt>
                <c:pt idx="6405">
                  <c:v>0.14155000000000001</c:v>
                </c:pt>
                <c:pt idx="6406">
                  <c:v>0.14155000000000001</c:v>
                </c:pt>
                <c:pt idx="6407">
                  <c:v>0.14155000000000001</c:v>
                </c:pt>
                <c:pt idx="6408">
                  <c:v>0.14155000000000001</c:v>
                </c:pt>
                <c:pt idx="6409">
                  <c:v>0.14155000000000001</c:v>
                </c:pt>
                <c:pt idx="6410">
                  <c:v>0.13037500000000002</c:v>
                </c:pt>
                <c:pt idx="6411">
                  <c:v>0.13037500000000002</c:v>
                </c:pt>
                <c:pt idx="6412">
                  <c:v>9.9333308499999995E-2</c:v>
                </c:pt>
                <c:pt idx="6413">
                  <c:v>9.1055539000000005E-2</c:v>
                </c:pt>
                <c:pt idx="6414">
                  <c:v>9.1055539000000005E-2</c:v>
                </c:pt>
                <c:pt idx="6415">
                  <c:v>9.1055539000000005E-2</c:v>
                </c:pt>
                <c:pt idx="6416">
                  <c:v>9.1055539000000005E-2</c:v>
                </c:pt>
                <c:pt idx="6417">
                  <c:v>9.1055539000000005E-2</c:v>
                </c:pt>
                <c:pt idx="6418">
                  <c:v>9.1055539000000005E-2</c:v>
                </c:pt>
                <c:pt idx="6419">
                  <c:v>9.1055539000000005E-2</c:v>
                </c:pt>
                <c:pt idx="6420">
                  <c:v>9.1055539000000005E-2</c:v>
                </c:pt>
                <c:pt idx="6421">
                  <c:v>8.2777769500000001E-2</c:v>
                </c:pt>
                <c:pt idx="6422">
                  <c:v>8.2777769500000001E-2</c:v>
                </c:pt>
                <c:pt idx="6423">
                  <c:v>8.2777769500000001E-2</c:v>
                </c:pt>
                <c:pt idx="6424">
                  <c:v>7.4499999999999997E-2</c:v>
                </c:pt>
                <c:pt idx="6425">
                  <c:v>7.4499999999999997E-2</c:v>
                </c:pt>
                <c:pt idx="6426">
                  <c:v>7.4499999999999997E-2</c:v>
                </c:pt>
                <c:pt idx="6427">
                  <c:v>7.4499999999999997E-2</c:v>
                </c:pt>
                <c:pt idx="6428">
                  <c:v>7.4499999999999997E-2</c:v>
                </c:pt>
                <c:pt idx="6429">
                  <c:v>7.4499999999999997E-2</c:v>
                </c:pt>
                <c:pt idx="6430">
                  <c:v>7.4499999999999997E-2</c:v>
                </c:pt>
                <c:pt idx="6431">
                  <c:v>7.4499999999999997E-2</c:v>
                </c:pt>
                <c:pt idx="6432">
                  <c:v>7.4499999999999997E-2</c:v>
                </c:pt>
                <c:pt idx="6433">
                  <c:v>7.4499999999999997E-2</c:v>
                </c:pt>
                <c:pt idx="6434">
                  <c:v>7.4499999999999997E-2</c:v>
                </c:pt>
                <c:pt idx="6435">
                  <c:v>7.4499999999999997E-2</c:v>
                </c:pt>
                <c:pt idx="6436">
                  <c:v>7.4499999999999997E-2</c:v>
                </c:pt>
                <c:pt idx="6437">
                  <c:v>7.4499999999999997E-2</c:v>
                </c:pt>
                <c:pt idx="6438">
                  <c:v>7.4499999999999997E-2</c:v>
                </c:pt>
                <c:pt idx="6439">
                  <c:v>7.4499999999999997E-2</c:v>
                </c:pt>
                <c:pt idx="6440">
                  <c:v>7.4499999999999997E-2</c:v>
                </c:pt>
                <c:pt idx="6441">
                  <c:v>7.4499999999999997E-2</c:v>
                </c:pt>
                <c:pt idx="6442">
                  <c:v>7.4499999999999997E-2</c:v>
                </c:pt>
                <c:pt idx="6443">
                  <c:v>7.4499999999999997E-2</c:v>
                </c:pt>
                <c:pt idx="6444">
                  <c:v>7.4499999999999997E-2</c:v>
                </c:pt>
                <c:pt idx="6445">
                  <c:v>7.4499999999999997E-2</c:v>
                </c:pt>
                <c:pt idx="6446">
                  <c:v>7.4499999999999997E-2</c:v>
                </c:pt>
                <c:pt idx="6447">
                  <c:v>7.4499999999999997E-2</c:v>
                </c:pt>
                <c:pt idx="6448">
                  <c:v>7.4499999999999997E-2</c:v>
                </c:pt>
                <c:pt idx="6449">
                  <c:v>7.4499999999999997E-2</c:v>
                </c:pt>
                <c:pt idx="6450">
                  <c:v>7.4499999999999997E-2</c:v>
                </c:pt>
                <c:pt idx="6451">
                  <c:v>7.4499999999999997E-2</c:v>
                </c:pt>
                <c:pt idx="6452">
                  <c:v>7.4499999999999997E-2</c:v>
                </c:pt>
                <c:pt idx="6453">
                  <c:v>7.4499999999999997E-2</c:v>
                </c:pt>
                <c:pt idx="6454">
                  <c:v>7.4499999999999997E-2</c:v>
                </c:pt>
                <c:pt idx="6455">
                  <c:v>7.4499999999999997E-2</c:v>
                </c:pt>
                <c:pt idx="6456">
                  <c:v>7.4499999999999997E-2</c:v>
                </c:pt>
                <c:pt idx="6457">
                  <c:v>7.4499999999999997E-2</c:v>
                </c:pt>
                <c:pt idx="6458">
                  <c:v>7.4499999999999997E-2</c:v>
                </c:pt>
                <c:pt idx="6459">
                  <c:v>7.4499999999999997E-2</c:v>
                </c:pt>
                <c:pt idx="6460">
                  <c:v>7.4499999999999997E-2</c:v>
                </c:pt>
                <c:pt idx="6461">
                  <c:v>7.4499999999999997E-2</c:v>
                </c:pt>
                <c:pt idx="6462">
                  <c:v>7.4499999999999997E-2</c:v>
                </c:pt>
                <c:pt idx="6463">
                  <c:v>7.4499999999999997E-2</c:v>
                </c:pt>
                <c:pt idx="6464">
                  <c:v>7.4499999999999997E-2</c:v>
                </c:pt>
                <c:pt idx="6465">
                  <c:v>7.4499999999999997E-2</c:v>
                </c:pt>
                <c:pt idx="6466">
                  <c:v>7.4499999999999997E-2</c:v>
                </c:pt>
                <c:pt idx="6467">
                  <c:v>7.4499999999999997E-2</c:v>
                </c:pt>
                <c:pt idx="6468">
                  <c:v>7.4499999999999997E-2</c:v>
                </c:pt>
                <c:pt idx="6469">
                  <c:v>7.4499999999999997E-2</c:v>
                </c:pt>
                <c:pt idx="6470">
                  <c:v>7.4499999999999997E-2</c:v>
                </c:pt>
                <c:pt idx="6471">
                  <c:v>7.4499999999999997E-2</c:v>
                </c:pt>
                <c:pt idx="6472">
                  <c:v>7.4499999999999997E-2</c:v>
                </c:pt>
                <c:pt idx="6473">
                  <c:v>7.4499999999999997E-2</c:v>
                </c:pt>
                <c:pt idx="6474">
                  <c:v>7.4499999999999997E-2</c:v>
                </c:pt>
                <c:pt idx="6475">
                  <c:v>7.4499999999999997E-2</c:v>
                </c:pt>
                <c:pt idx="6476">
                  <c:v>7.4499999999999997E-2</c:v>
                </c:pt>
                <c:pt idx="6477">
                  <c:v>7.4499999999999997E-2</c:v>
                </c:pt>
                <c:pt idx="6478">
                  <c:v>7.4499999999999997E-2</c:v>
                </c:pt>
                <c:pt idx="6479">
                  <c:v>7.4499999999999997E-2</c:v>
                </c:pt>
                <c:pt idx="6480">
                  <c:v>7.4499999999999997E-2</c:v>
                </c:pt>
                <c:pt idx="6481">
                  <c:v>7.4499999999999997E-2</c:v>
                </c:pt>
                <c:pt idx="6482">
                  <c:v>7.4499999999999997E-2</c:v>
                </c:pt>
                <c:pt idx="6483">
                  <c:v>7.4499999999999997E-2</c:v>
                </c:pt>
                <c:pt idx="6484">
                  <c:v>7.4499999999999997E-2</c:v>
                </c:pt>
                <c:pt idx="6485">
                  <c:v>7.4499999999999997E-2</c:v>
                </c:pt>
                <c:pt idx="6486">
                  <c:v>7.4499999999999997E-2</c:v>
                </c:pt>
                <c:pt idx="6487">
                  <c:v>7.4499999999999997E-2</c:v>
                </c:pt>
                <c:pt idx="6488">
                  <c:v>7.4499999999999997E-2</c:v>
                </c:pt>
                <c:pt idx="6489">
                  <c:v>7.4499999999999997E-2</c:v>
                </c:pt>
                <c:pt idx="6490">
                  <c:v>7.4499999999999997E-2</c:v>
                </c:pt>
                <c:pt idx="6491">
                  <c:v>7.4499999999999997E-2</c:v>
                </c:pt>
                <c:pt idx="6492">
                  <c:v>7.4499999999999997E-2</c:v>
                </c:pt>
                <c:pt idx="6493">
                  <c:v>7.4499999999999997E-2</c:v>
                </c:pt>
                <c:pt idx="6494">
                  <c:v>7.4499999999999997E-2</c:v>
                </c:pt>
                <c:pt idx="6495">
                  <c:v>7.4499999999999997E-2</c:v>
                </c:pt>
                <c:pt idx="6496">
                  <c:v>7.4499999999999997E-2</c:v>
                </c:pt>
                <c:pt idx="6497">
                  <c:v>7.4499999999999997E-2</c:v>
                </c:pt>
                <c:pt idx="6498">
                  <c:v>7.4499999999999997E-2</c:v>
                </c:pt>
                <c:pt idx="6499">
                  <c:v>7.4499999999999997E-2</c:v>
                </c:pt>
                <c:pt idx="6500">
                  <c:v>7.4499999999999997E-2</c:v>
                </c:pt>
                <c:pt idx="6501">
                  <c:v>7.4499999999999997E-2</c:v>
                </c:pt>
                <c:pt idx="6502">
                  <c:v>7.4499999999999997E-2</c:v>
                </c:pt>
                <c:pt idx="6503">
                  <c:v>7.4499999999999997E-2</c:v>
                </c:pt>
                <c:pt idx="6504">
                  <c:v>7.4499999999999997E-2</c:v>
                </c:pt>
                <c:pt idx="6505">
                  <c:v>7.4499999999999997E-2</c:v>
                </c:pt>
                <c:pt idx="6506">
                  <c:v>7.4499999999999997E-2</c:v>
                </c:pt>
                <c:pt idx="6507">
                  <c:v>7.4499999999999997E-2</c:v>
                </c:pt>
                <c:pt idx="6508">
                  <c:v>7.4499999999999997E-2</c:v>
                </c:pt>
                <c:pt idx="6509">
                  <c:v>7.4499999999999997E-2</c:v>
                </c:pt>
                <c:pt idx="6510">
                  <c:v>7.4499999999999997E-2</c:v>
                </c:pt>
                <c:pt idx="6511">
                  <c:v>7.4499999999999997E-2</c:v>
                </c:pt>
                <c:pt idx="6512">
                  <c:v>7.4499999999999997E-2</c:v>
                </c:pt>
                <c:pt idx="6513">
                  <c:v>7.4499999999999997E-2</c:v>
                </c:pt>
                <c:pt idx="6514">
                  <c:v>7.4499999999999997E-2</c:v>
                </c:pt>
                <c:pt idx="6515">
                  <c:v>7.4499999999999997E-2</c:v>
                </c:pt>
                <c:pt idx="6516">
                  <c:v>7.4499999999999997E-2</c:v>
                </c:pt>
                <c:pt idx="6517">
                  <c:v>7.4499999999999997E-2</c:v>
                </c:pt>
                <c:pt idx="6518">
                  <c:v>7.4499999999999997E-2</c:v>
                </c:pt>
                <c:pt idx="6519">
                  <c:v>7.4499999999999997E-2</c:v>
                </c:pt>
                <c:pt idx="6520">
                  <c:v>7.4499999999999997E-2</c:v>
                </c:pt>
                <c:pt idx="6521">
                  <c:v>7.4499999999999997E-2</c:v>
                </c:pt>
                <c:pt idx="6522">
                  <c:v>7.4499999999999997E-2</c:v>
                </c:pt>
                <c:pt idx="6523">
                  <c:v>7.4499999999999997E-2</c:v>
                </c:pt>
                <c:pt idx="6524">
                  <c:v>7.4499999999999997E-2</c:v>
                </c:pt>
                <c:pt idx="6525">
                  <c:v>7.4499999999999997E-2</c:v>
                </c:pt>
                <c:pt idx="6526">
                  <c:v>7.4499999999999997E-2</c:v>
                </c:pt>
                <c:pt idx="6527">
                  <c:v>7.4499999999999997E-2</c:v>
                </c:pt>
                <c:pt idx="6528">
                  <c:v>7.4499999999999997E-2</c:v>
                </c:pt>
                <c:pt idx="6529">
                  <c:v>7.4499999999999997E-2</c:v>
                </c:pt>
                <c:pt idx="6530">
                  <c:v>7.4499999999999997E-2</c:v>
                </c:pt>
                <c:pt idx="6531">
                  <c:v>7.4499999999999997E-2</c:v>
                </c:pt>
                <c:pt idx="6532">
                  <c:v>7.4499999999999997E-2</c:v>
                </c:pt>
                <c:pt idx="6533">
                  <c:v>7.4499999999999997E-2</c:v>
                </c:pt>
                <c:pt idx="6534">
                  <c:v>7.4499999999999997E-2</c:v>
                </c:pt>
                <c:pt idx="6535">
                  <c:v>7.4499999999999997E-2</c:v>
                </c:pt>
                <c:pt idx="6536">
                  <c:v>7.4499999999999997E-2</c:v>
                </c:pt>
                <c:pt idx="6537">
                  <c:v>7.4499999999999997E-2</c:v>
                </c:pt>
                <c:pt idx="6538">
                  <c:v>7.4499999999999997E-2</c:v>
                </c:pt>
                <c:pt idx="6539">
                  <c:v>7.4499999999999997E-2</c:v>
                </c:pt>
                <c:pt idx="6540">
                  <c:v>7.4499999999999997E-2</c:v>
                </c:pt>
                <c:pt idx="6541">
                  <c:v>7.4499999999999997E-2</c:v>
                </c:pt>
                <c:pt idx="6542">
                  <c:v>7.4499999999999997E-2</c:v>
                </c:pt>
                <c:pt idx="6543">
                  <c:v>7.4499999999999997E-2</c:v>
                </c:pt>
                <c:pt idx="6544">
                  <c:v>7.4499999999999997E-2</c:v>
                </c:pt>
                <c:pt idx="6545">
                  <c:v>7.4499999999999997E-2</c:v>
                </c:pt>
                <c:pt idx="6546">
                  <c:v>7.4499999999999997E-2</c:v>
                </c:pt>
                <c:pt idx="6547">
                  <c:v>7.4499999999999997E-2</c:v>
                </c:pt>
                <c:pt idx="6548">
                  <c:v>7.4499999999999997E-2</c:v>
                </c:pt>
                <c:pt idx="6549">
                  <c:v>7.4499999999999997E-2</c:v>
                </c:pt>
                <c:pt idx="6550">
                  <c:v>7.4499999999999997E-2</c:v>
                </c:pt>
                <c:pt idx="6551">
                  <c:v>7.4499999999999997E-2</c:v>
                </c:pt>
                <c:pt idx="6552">
                  <c:v>7.4499999999999997E-2</c:v>
                </c:pt>
                <c:pt idx="6553">
                  <c:v>7.4499999999999997E-2</c:v>
                </c:pt>
                <c:pt idx="6554">
                  <c:v>7.4499999999999997E-2</c:v>
                </c:pt>
                <c:pt idx="6555">
                  <c:v>7.4499999999999997E-2</c:v>
                </c:pt>
                <c:pt idx="6556">
                  <c:v>7.4499999999999997E-2</c:v>
                </c:pt>
                <c:pt idx="6557">
                  <c:v>7.4499999999999997E-2</c:v>
                </c:pt>
                <c:pt idx="6558">
                  <c:v>7.4499999999999997E-2</c:v>
                </c:pt>
                <c:pt idx="6559">
                  <c:v>7.4499999999999997E-2</c:v>
                </c:pt>
                <c:pt idx="6560">
                  <c:v>7.4499999999999997E-2</c:v>
                </c:pt>
                <c:pt idx="6561">
                  <c:v>7.4499999999999997E-2</c:v>
                </c:pt>
                <c:pt idx="6562">
                  <c:v>7.4499999999999997E-2</c:v>
                </c:pt>
                <c:pt idx="6563">
                  <c:v>7.4499999999999997E-2</c:v>
                </c:pt>
                <c:pt idx="6564">
                  <c:v>7.4499999999999997E-2</c:v>
                </c:pt>
                <c:pt idx="6565">
                  <c:v>7.4499999999999997E-2</c:v>
                </c:pt>
                <c:pt idx="6566">
                  <c:v>7.4499999999999997E-2</c:v>
                </c:pt>
                <c:pt idx="6567">
                  <c:v>7.4499999999999997E-2</c:v>
                </c:pt>
                <c:pt idx="6568">
                  <c:v>7.4499999999999997E-2</c:v>
                </c:pt>
                <c:pt idx="6569">
                  <c:v>7.4499999999999997E-2</c:v>
                </c:pt>
                <c:pt idx="6570">
                  <c:v>7.4499999999999997E-2</c:v>
                </c:pt>
                <c:pt idx="6571">
                  <c:v>7.4499999999999997E-2</c:v>
                </c:pt>
                <c:pt idx="6572">
                  <c:v>7.4499999999999997E-2</c:v>
                </c:pt>
                <c:pt idx="6573">
                  <c:v>7.4499999999999997E-2</c:v>
                </c:pt>
                <c:pt idx="6574">
                  <c:v>7.4499999999999997E-2</c:v>
                </c:pt>
                <c:pt idx="6575">
                  <c:v>7.4499999999999997E-2</c:v>
                </c:pt>
                <c:pt idx="6576">
                  <c:v>7.4499999999999997E-2</c:v>
                </c:pt>
                <c:pt idx="6577">
                  <c:v>7.4499999999999997E-2</c:v>
                </c:pt>
                <c:pt idx="6578">
                  <c:v>7.4499999999999997E-2</c:v>
                </c:pt>
                <c:pt idx="6579">
                  <c:v>7.4499999999999997E-2</c:v>
                </c:pt>
                <c:pt idx="6580">
                  <c:v>7.4499999999999997E-2</c:v>
                </c:pt>
                <c:pt idx="6581">
                  <c:v>7.4499999999999997E-2</c:v>
                </c:pt>
                <c:pt idx="6582">
                  <c:v>7.4499999999999997E-2</c:v>
                </c:pt>
                <c:pt idx="6583">
                  <c:v>7.4499999999999997E-2</c:v>
                </c:pt>
                <c:pt idx="6584">
                  <c:v>7.4499999999999997E-2</c:v>
                </c:pt>
                <c:pt idx="6585">
                  <c:v>7.4499999999999997E-2</c:v>
                </c:pt>
                <c:pt idx="6586">
                  <c:v>7.4499999999999997E-2</c:v>
                </c:pt>
                <c:pt idx="6587">
                  <c:v>7.4499999999999997E-2</c:v>
                </c:pt>
                <c:pt idx="6588">
                  <c:v>7.4499999999999997E-2</c:v>
                </c:pt>
                <c:pt idx="6589">
                  <c:v>7.4499999999999997E-2</c:v>
                </c:pt>
                <c:pt idx="6590">
                  <c:v>7.4499999999999997E-2</c:v>
                </c:pt>
                <c:pt idx="6591">
                  <c:v>7.4499999999999997E-2</c:v>
                </c:pt>
                <c:pt idx="6592">
                  <c:v>7.4499999999999997E-2</c:v>
                </c:pt>
                <c:pt idx="6593">
                  <c:v>7.4499999999999997E-2</c:v>
                </c:pt>
                <c:pt idx="6594">
                  <c:v>7.4499999999999997E-2</c:v>
                </c:pt>
                <c:pt idx="6595">
                  <c:v>7.4499999999999997E-2</c:v>
                </c:pt>
                <c:pt idx="6596">
                  <c:v>7.4499999999999997E-2</c:v>
                </c:pt>
                <c:pt idx="6597">
                  <c:v>7.4499999999999997E-2</c:v>
                </c:pt>
                <c:pt idx="6598">
                  <c:v>7.4499999999999997E-2</c:v>
                </c:pt>
                <c:pt idx="6599">
                  <c:v>7.4499999999999997E-2</c:v>
                </c:pt>
                <c:pt idx="6600">
                  <c:v>7.4499999999999997E-2</c:v>
                </c:pt>
                <c:pt idx="6601">
                  <c:v>7.4499999999999997E-2</c:v>
                </c:pt>
                <c:pt idx="6602">
                  <c:v>7.4499999999999997E-2</c:v>
                </c:pt>
                <c:pt idx="6603">
                  <c:v>7.4499999999999997E-2</c:v>
                </c:pt>
                <c:pt idx="6604">
                  <c:v>7.4499999999999997E-2</c:v>
                </c:pt>
                <c:pt idx="6605">
                  <c:v>7.4499999999999997E-2</c:v>
                </c:pt>
                <c:pt idx="6606">
                  <c:v>7.4499999999999997E-2</c:v>
                </c:pt>
                <c:pt idx="6607">
                  <c:v>7.4499999999999997E-2</c:v>
                </c:pt>
                <c:pt idx="6608">
                  <c:v>7.4499999999999997E-2</c:v>
                </c:pt>
                <c:pt idx="6609">
                  <c:v>7.4499999999999997E-2</c:v>
                </c:pt>
                <c:pt idx="6610">
                  <c:v>7.4499999999999997E-2</c:v>
                </c:pt>
                <c:pt idx="6611">
                  <c:v>7.4499999999999997E-2</c:v>
                </c:pt>
                <c:pt idx="6612">
                  <c:v>7.4499999999999997E-2</c:v>
                </c:pt>
                <c:pt idx="6613">
                  <c:v>7.4499999999999997E-2</c:v>
                </c:pt>
                <c:pt idx="6614">
                  <c:v>7.4499999999999997E-2</c:v>
                </c:pt>
                <c:pt idx="6615">
                  <c:v>7.4499999999999997E-2</c:v>
                </c:pt>
                <c:pt idx="6616">
                  <c:v>7.4499999999999997E-2</c:v>
                </c:pt>
                <c:pt idx="6617">
                  <c:v>7.4499999999999997E-2</c:v>
                </c:pt>
                <c:pt idx="6618">
                  <c:v>7.4499999999999997E-2</c:v>
                </c:pt>
                <c:pt idx="6619">
                  <c:v>7.4499999999999997E-2</c:v>
                </c:pt>
                <c:pt idx="6620">
                  <c:v>7.4499999999999997E-2</c:v>
                </c:pt>
                <c:pt idx="6621">
                  <c:v>7.4499999999999997E-2</c:v>
                </c:pt>
                <c:pt idx="6622">
                  <c:v>7.4499999999999997E-2</c:v>
                </c:pt>
                <c:pt idx="6623">
                  <c:v>7.4499999999999997E-2</c:v>
                </c:pt>
                <c:pt idx="6624">
                  <c:v>7.4499999999999997E-2</c:v>
                </c:pt>
                <c:pt idx="6625">
                  <c:v>7.4499999999999997E-2</c:v>
                </c:pt>
                <c:pt idx="6626">
                  <c:v>7.4499999999999997E-2</c:v>
                </c:pt>
                <c:pt idx="6627">
                  <c:v>7.4499999999999997E-2</c:v>
                </c:pt>
                <c:pt idx="6628">
                  <c:v>7.4499999999999997E-2</c:v>
                </c:pt>
                <c:pt idx="6629">
                  <c:v>7.4499999999999997E-2</c:v>
                </c:pt>
                <c:pt idx="6630">
                  <c:v>7.4499999999999997E-2</c:v>
                </c:pt>
                <c:pt idx="6631">
                  <c:v>7.4499999999999997E-2</c:v>
                </c:pt>
                <c:pt idx="6632">
                  <c:v>7.4499999999999997E-2</c:v>
                </c:pt>
                <c:pt idx="6633">
                  <c:v>7.4499999999999997E-2</c:v>
                </c:pt>
                <c:pt idx="6634">
                  <c:v>7.4499999999999997E-2</c:v>
                </c:pt>
                <c:pt idx="6635">
                  <c:v>7.4499999999999997E-2</c:v>
                </c:pt>
                <c:pt idx="6636">
                  <c:v>7.4499999999999997E-2</c:v>
                </c:pt>
                <c:pt idx="6637">
                  <c:v>7.4499999999999997E-2</c:v>
                </c:pt>
                <c:pt idx="6638">
                  <c:v>7.4499999999999997E-2</c:v>
                </c:pt>
                <c:pt idx="6639">
                  <c:v>7.4499999999999997E-2</c:v>
                </c:pt>
                <c:pt idx="6640">
                  <c:v>7.4499999999999997E-2</c:v>
                </c:pt>
                <c:pt idx="6641">
                  <c:v>7.4499999999999997E-2</c:v>
                </c:pt>
                <c:pt idx="6642">
                  <c:v>7.4499999999999997E-2</c:v>
                </c:pt>
                <c:pt idx="6643">
                  <c:v>7.4499999999999997E-2</c:v>
                </c:pt>
                <c:pt idx="6644">
                  <c:v>7.4499999999999997E-2</c:v>
                </c:pt>
                <c:pt idx="6645">
                  <c:v>7.4499999999999997E-2</c:v>
                </c:pt>
                <c:pt idx="6646">
                  <c:v>7.4499999999999997E-2</c:v>
                </c:pt>
                <c:pt idx="6647">
                  <c:v>7.4499999999999997E-2</c:v>
                </c:pt>
                <c:pt idx="6648">
                  <c:v>7.4499999999999997E-2</c:v>
                </c:pt>
                <c:pt idx="6649">
                  <c:v>7.4499999999999997E-2</c:v>
                </c:pt>
                <c:pt idx="6650">
                  <c:v>7.4499999999999997E-2</c:v>
                </c:pt>
                <c:pt idx="6651">
                  <c:v>7.4499999999999997E-2</c:v>
                </c:pt>
                <c:pt idx="6652">
                  <c:v>7.4499999999999997E-2</c:v>
                </c:pt>
                <c:pt idx="6653">
                  <c:v>7.4499999999999997E-2</c:v>
                </c:pt>
                <c:pt idx="6654">
                  <c:v>7.4499999999999997E-2</c:v>
                </c:pt>
                <c:pt idx="6655">
                  <c:v>7.4499999999999997E-2</c:v>
                </c:pt>
                <c:pt idx="6656">
                  <c:v>7.4499999999999997E-2</c:v>
                </c:pt>
                <c:pt idx="6657">
                  <c:v>7.4499999999999997E-2</c:v>
                </c:pt>
                <c:pt idx="6658">
                  <c:v>7.4499999999999997E-2</c:v>
                </c:pt>
                <c:pt idx="6659">
                  <c:v>7.4499999999999997E-2</c:v>
                </c:pt>
                <c:pt idx="6660">
                  <c:v>7.4499999999999997E-2</c:v>
                </c:pt>
                <c:pt idx="6661">
                  <c:v>7.4499999999999997E-2</c:v>
                </c:pt>
                <c:pt idx="6662">
                  <c:v>7.4499999999999997E-2</c:v>
                </c:pt>
                <c:pt idx="6663">
                  <c:v>7.4499999999999997E-2</c:v>
                </c:pt>
                <c:pt idx="6664">
                  <c:v>7.4499999999999997E-2</c:v>
                </c:pt>
                <c:pt idx="6665">
                  <c:v>7.4499999999999997E-2</c:v>
                </c:pt>
                <c:pt idx="6666">
                  <c:v>7.4499999999999997E-2</c:v>
                </c:pt>
                <c:pt idx="6667">
                  <c:v>7.4499999999999997E-2</c:v>
                </c:pt>
                <c:pt idx="6668">
                  <c:v>7.4499999999999997E-2</c:v>
                </c:pt>
                <c:pt idx="6669">
                  <c:v>7.4499999999999997E-2</c:v>
                </c:pt>
                <c:pt idx="6670">
                  <c:v>7.4499999999999997E-2</c:v>
                </c:pt>
                <c:pt idx="6671">
                  <c:v>7.4499999999999997E-2</c:v>
                </c:pt>
                <c:pt idx="6672">
                  <c:v>7.4499999999999997E-2</c:v>
                </c:pt>
                <c:pt idx="6673">
                  <c:v>7.4499999999999997E-2</c:v>
                </c:pt>
                <c:pt idx="6674">
                  <c:v>7.4499999999999997E-2</c:v>
                </c:pt>
                <c:pt idx="6675">
                  <c:v>7.4499999999999997E-2</c:v>
                </c:pt>
                <c:pt idx="6676">
                  <c:v>7.4499999999999997E-2</c:v>
                </c:pt>
                <c:pt idx="6677">
                  <c:v>7.4499999999999997E-2</c:v>
                </c:pt>
                <c:pt idx="6678">
                  <c:v>7.4499999999999997E-2</c:v>
                </c:pt>
                <c:pt idx="6679">
                  <c:v>7.4499999999999997E-2</c:v>
                </c:pt>
                <c:pt idx="6680">
                  <c:v>7.4499999999999997E-2</c:v>
                </c:pt>
                <c:pt idx="6681">
                  <c:v>7.4499999999999997E-2</c:v>
                </c:pt>
                <c:pt idx="6682">
                  <c:v>7.4499999999999997E-2</c:v>
                </c:pt>
                <c:pt idx="6683">
                  <c:v>7.4499999999999997E-2</c:v>
                </c:pt>
                <c:pt idx="6684">
                  <c:v>7.4499999999999997E-2</c:v>
                </c:pt>
                <c:pt idx="6685">
                  <c:v>7.4499999999999997E-2</c:v>
                </c:pt>
                <c:pt idx="6686">
                  <c:v>7.4499999999999997E-2</c:v>
                </c:pt>
                <c:pt idx="6687">
                  <c:v>7.4499999999999997E-2</c:v>
                </c:pt>
                <c:pt idx="6688">
                  <c:v>7.4499999999999997E-2</c:v>
                </c:pt>
                <c:pt idx="6689">
                  <c:v>7.4499999999999997E-2</c:v>
                </c:pt>
                <c:pt idx="6690">
                  <c:v>7.4499999999999997E-2</c:v>
                </c:pt>
                <c:pt idx="6691">
                  <c:v>7.4499999999999997E-2</c:v>
                </c:pt>
                <c:pt idx="6692">
                  <c:v>7.4499999999999997E-2</c:v>
                </c:pt>
                <c:pt idx="6693">
                  <c:v>7.4499999999999997E-2</c:v>
                </c:pt>
                <c:pt idx="6694">
                  <c:v>7.4499999999999997E-2</c:v>
                </c:pt>
                <c:pt idx="6695">
                  <c:v>7.4499999999999997E-2</c:v>
                </c:pt>
                <c:pt idx="6696">
                  <c:v>7.4499999999999997E-2</c:v>
                </c:pt>
                <c:pt idx="6697">
                  <c:v>7.4499999999999997E-2</c:v>
                </c:pt>
                <c:pt idx="6698">
                  <c:v>7.4499999999999997E-2</c:v>
                </c:pt>
                <c:pt idx="6699">
                  <c:v>7.4499999999999997E-2</c:v>
                </c:pt>
                <c:pt idx="6700">
                  <c:v>7.4499999999999997E-2</c:v>
                </c:pt>
                <c:pt idx="6701">
                  <c:v>7.4499999999999997E-2</c:v>
                </c:pt>
                <c:pt idx="6702">
                  <c:v>7.4499999999999997E-2</c:v>
                </c:pt>
                <c:pt idx="6703">
                  <c:v>7.4499999999999997E-2</c:v>
                </c:pt>
                <c:pt idx="6704">
                  <c:v>7.4499999999999997E-2</c:v>
                </c:pt>
                <c:pt idx="6705">
                  <c:v>7.4499999999999997E-2</c:v>
                </c:pt>
                <c:pt idx="6706">
                  <c:v>7.4499999999999997E-2</c:v>
                </c:pt>
                <c:pt idx="6707">
                  <c:v>7.4499999999999997E-2</c:v>
                </c:pt>
                <c:pt idx="6708">
                  <c:v>7.4499999999999997E-2</c:v>
                </c:pt>
                <c:pt idx="6709">
                  <c:v>7.4499999999999997E-2</c:v>
                </c:pt>
                <c:pt idx="6710">
                  <c:v>7.4499999999999997E-2</c:v>
                </c:pt>
                <c:pt idx="6711">
                  <c:v>7.4499999999999997E-2</c:v>
                </c:pt>
                <c:pt idx="6712">
                  <c:v>7.4499999999999997E-2</c:v>
                </c:pt>
                <c:pt idx="6713">
                  <c:v>7.4499999999999997E-2</c:v>
                </c:pt>
                <c:pt idx="6714">
                  <c:v>7.4499999999999997E-2</c:v>
                </c:pt>
                <c:pt idx="6715">
                  <c:v>7.4499999999999997E-2</c:v>
                </c:pt>
                <c:pt idx="6716">
                  <c:v>7.4499999999999997E-2</c:v>
                </c:pt>
                <c:pt idx="6717">
                  <c:v>7.4499999999999997E-2</c:v>
                </c:pt>
                <c:pt idx="6718">
                  <c:v>7.4499999999999997E-2</c:v>
                </c:pt>
                <c:pt idx="6719">
                  <c:v>7.4499999999999997E-2</c:v>
                </c:pt>
                <c:pt idx="6720">
                  <c:v>7.4499999999999997E-2</c:v>
                </c:pt>
                <c:pt idx="6721">
                  <c:v>7.4499999999999997E-2</c:v>
                </c:pt>
                <c:pt idx="6722">
                  <c:v>7.4499999999999997E-2</c:v>
                </c:pt>
                <c:pt idx="6723">
                  <c:v>7.4499999999999997E-2</c:v>
                </c:pt>
                <c:pt idx="6724">
                  <c:v>7.4499999999999997E-2</c:v>
                </c:pt>
                <c:pt idx="6725">
                  <c:v>7.4499999999999997E-2</c:v>
                </c:pt>
                <c:pt idx="6726">
                  <c:v>7.4499999999999997E-2</c:v>
                </c:pt>
                <c:pt idx="6727">
                  <c:v>7.4499999999999997E-2</c:v>
                </c:pt>
                <c:pt idx="6728">
                  <c:v>7.4499999999999997E-2</c:v>
                </c:pt>
                <c:pt idx="6729">
                  <c:v>7.4499999999999997E-2</c:v>
                </c:pt>
                <c:pt idx="6730">
                  <c:v>7.4499999999999997E-2</c:v>
                </c:pt>
                <c:pt idx="6731">
                  <c:v>7.4499999999999997E-2</c:v>
                </c:pt>
                <c:pt idx="6732">
                  <c:v>7.4499999999999997E-2</c:v>
                </c:pt>
                <c:pt idx="6733">
                  <c:v>7.4499999999999997E-2</c:v>
                </c:pt>
                <c:pt idx="6734">
                  <c:v>7.4499999999999997E-2</c:v>
                </c:pt>
                <c:pt idx="6735">
                  <c:v>7.4499999999999997E-2</c:v>
                </c:pt>
                <c:pt idx="6736">
                  <c:v>7.4499999999999997E-2</c:v>
                </c:pt>
                <c:pt idx="6737">
                  <c:v>7.4499999999999997E-2</c:v>
                </c:pt>
                <c:pt idx="6738">
                  <c:v>7.4499999999999997E-2</c:v>
                </c:pt>
                <c:pt idx="6739">
                  <c:v>7.4499999999999997E-2</c:v>
                </c:pt>
                <c:pt idx="6740">
                  <c:v>7.4499999999999997E-2</c:v>
                </c:pt>
                <c:pt idx="6741">
                  <c:v>7.4499999999999997E-2</c:v>
                </c:pt>
                <c:pt idx="6742">
                  <c:v>7.4499999999999997E-2</c:v>
                </c:pt>
                <c:pt idx="6743">
                  <c:v>7.4499999999999997E-2</c:v>
                </c:pt>
                <c:pt idx="6744">
                  <c:v>7.4499999999999997E-2</c:v>
                </c:pt>
                <c:pt idx="6745">
                  <c:v>7.4499999999999997E-2</c:v>
                </c:pt>
                <c:pt idx="6746">
                  <c:v>7.4499999999999997E-2</c:v>
                </c:pt>
                <c:pt idx="6747">
                  <c:v>7.4499999999999997E-2</c:v>
                </c:pt>
                <c:pt idx="6748">
                  <c:v>7.4499999999999997E-2</c:v>
                </c:pt>
                <c:pt idx="6749">
                  <c:v>7.4499999999999997E-2</c:v>
                </c:pt>
                <c:pt idx="6750">
                  <c:v>7.4499999999999997E-2</c:v>
                </c:pt>
                <c:pt idx="6751">
                  <c:v>7.4499999999999997E-2</c:v>
                </c:pt>
                <c:pt idx="6752">
                  <c:v>7.4499999999999997E-2</c:v>
                </c:pt>
                <c:pt idx="6753">
                  <c:v>7.4499999999999997E-2</c:v>
                </c:pt>
                <c:pt idx="6754">
                  <c:v>7.4499999999999997E-2</c:v>
                </c:pt>
                <c:pt idx="6755">
                  <c:v>7.4499999999999997E-2</c:v>
                </c:pt>
                <c:pt idx="6756">
                  <c:v>7.4499999999999997E-2</c:v>
                </c:pt>
                <c:pt idx="6757">
                  <c:v>7.4499999999999997E-2</c:v>
                </c:pt>
                <c:pt idx="6758">
                  <c:v>7.4499999999999997E-2</c:v>
                </c:pt>
                <c:pt idx="6759">
                  <c:v>7.4499999999999997E-2</c:v>
                </c:pt>
                <c:pt idx="6760">
                  <c:v>7.4499999999999997E-2</c:v>
                </c:pt>
                <c:pt idx="6761">
                  <c:v>7.4499999999999997E-2</c:v>
                </c:pt>
                <c:pt idx="6762">
                  <c:v>7.4499999999999997E-2</c:v>
                </c:pt>
                <c:pt idx="6763">
                  <c:v>7.4499999999999997E-2</c:v>
                </c:pt>
                <c:pt idx="6764">
                  <c:v>7.4499999999999997E-2</c:v>
                </c:pt>
                <c:pt idx="6765">
                  <c:v>7.4499999999999997E-2</c:v>
                </c:pt>
                <c:pt idx="6766">
                  <c:v>7.4499999999999997E-2</c:v>
                </c:pt>
                <c:pt idx="6767">
                  <c:v>7.4499999999999997E-2</c:v>
                </c:pt>
                <c:pt idx="6768">
                  <c:v>7.4499999999999997E-2</c:v>
                </c:pt>
                <c:pt idx="6769">
                  <c:v>7.4499999999999997E-2</c:v>
                </c:pt>
                <c:pt idx="6770">
                  <c:v>7.4499999999999997E-2</c:v>
                </c:pt>
                <c:pt idx="6771">
                  <c:v>7.4499999999999997E-2</c:v>
                </c:pt>
                <c:pt idx="6772">
                  <c:v>7.4499999999999997E-2</c:v>
                </c:pt>
                <c:pt idx="6773">
                  <c:v>7.4499999999999997E-2</c:v>
                </c:pt>
                <c:pt idx="6774">
                  <c:v>7.4499999999999997E-2</c:v>
                </c:pt>
                <c:pt idx="6775">
                  <c:v>7.4499999999999997E-2</c:v>
                </c:pt>
                <c:pt idx="6776">
                  <c:v>7.4499999999999997E-2</c:v>
                </c:pt>
                <c:pt idx="6777">
                  <c:v>7.4499999999999997E-2</c:v>
                </c:pt>
                <c:pt idx="6778">
                  <c:v>7.4499999999999997E-2</c:v>
                </c:pt>
                <c:pt idx="6779">
                  <c:v>7.4499999999999997E-2</c:v>
                </c:pt>
                <c:pt idx="6780">
                  <c:v>7.4499999999999997E-2</c:v>
                </c:pt>
                <c:pt idx="6781">
                  <c:v>7.4499999999999997E-2</c:v>
                </c:pt>
                <c:pt idx="6782">
                  <c:v>7.4499999999999997E-2</c:v>
                </c:pt>
                <c:pt idx="6783">
                  <c:v>7.4499999999999997E-2</c:v>
                </c:pt>
                <c:pt idx="6784">
                  <c:v>7.4499999999999997E-2</c:v>
                </c:pt>
                <c:pt idx="6785">
                  <c:v>7.4499999999999997E-2</c:v>
                </c:pt>
                <c:pt idx="6786">
                  <c:v>7.4499999999999997E-2</c:v>
                </c:pt>
                <c:pt idx="6787">
                  <c:v>7.4499999999999997E-2</c:v>
                </c:pt>
                <c:pt idx="6788">
                  <c:v>7.4499999999999997E-2</c:v>
                </c:pt>
                <c:pt idx="6789">
                  <c:v>7.4499999999999997E-2</c:v>
                </c:pt>
                <c:pt idx="6790">
                  <c:v>7.4499999999999997E-2</c:v>
                </c:pt>
                <c:pt idx="6791">
                  <c:v>7.4499999999999997E-2</c:v>
                </c:pt>
                <c:pt idx="6792">
                  <c:v>7.4499999999999997E-2</c:v>
                </c:pt>
                <c:pt idx="6793">
                  <c:v>7.4499999999999997E-2</c:v>
                </c:pt>
                <c:pt idx="6794">
                  <c:v>7.4499999999999997E-2</c:v>
                </c:pt>
                <c:pt idx="6795">
                  <c:v>7.4499999999999997E-2</c:v>
                </c:pt>
                <c:pt idx="6796">
                  <c:v>7.4499999999999997E-2</c:v>
                </c:pt>
                <c:pt idx="6797">
                  <c:v>7.4499999999999997E-2</c:v>
                </c:pt>
                <c:pt idx="6798">
                  <c:v>7.4499999999999997E-2</c:v>
                </c:pt>
                <c:pt idx="6799">
                  <c:v>7.4499999999999997E-2</c:v>
                </c:pt>
                <c:pt idx="6800">
                  <c:v>7.4499999999999997E-2</c:v>
                </c:pt>
                <c:pt idx="6801">
                  <c:v>7.4499999999999997E-2</c:v>
                </c:pt>
                <c:pt idx="6802">
                  <c:v>7.4499999999999997E-2</c:v>
                </c:pt>
                <c:pt idx="6803">
                  <c:v>7.4499999999999997E-2</c:v>
                </c:pt>
                <c:pt idx="6804">
                  <c:v>7.4499999999999997E-2</c:v>
                </c:pt>
                <c:pt idx="6805">
                  <c:v>7.4499999999999997E-2</c:v>
                </c:pt>
                <c:pt idx="6806">
                  <c:v>7.4499999999999997E-2</c:v>
                </c:pt>
                <c:pt idx="6807">
                  <c:v>7.4499999999999997E-2</c:v>
                </c:pt>
                <c:pt idx="6808">
                  <c:v>7.4499999999999997E-2</c:v>
                </c:pt>
                <c:pt idx="6809">
                  <c:v>7.4499999999999997E-2</c:v>
                </c:pt>
                <c:pt idx="6810">
                  <c:v>7.4499999999999997E-2</c:v>
                </c:pt>
                <c:pt idx="6811">
                  <c:v>7.4499999999999997E-2</c:v>
                </c:pt>
                <c:pt idx="6812">
                  <c:v>7.4499999999999997E-2</c:v>
                </c:pt>
                <c:pt idx="6813">
                  <c:v>7.4499999999999997E-2</c:v>
                </c:pt>
                <c:pt idx="6814">
                  <c:v>7.4499999999999997E-2</c:v>
                </c:pt>
                <c:pt idx="6815">
                  <c:v>7.4499999999999997E-2</c:v>
                </c:pt>
                <c:pt idx="6816">
                  <c:v>7.4499999999999997E-2</c:v>
                </c:pt>
                <c:pt idx="6817">
                  <c:v>7.4499999999999997E-2</c:v>
                </c:pt>
                <c:pt idx="6818">
                  <c:v>7.4499999999999997E-2</c:v>
                </c:pt>
                <c:pt idx="6819">
                  <c:v>7.4499999999999997E-2</c:v>
                </c:pt>
                <c:pt idx="6820">
                  <c:v>7.4499999999999997E-2</c:v>
                </c:pt>
                <c:pt idx="6821">
                  <c:v>7.4499999999999997E-2</c:v>
                </c:pt>
                <c:pt idx="6822">
                  <c:v>7.4499999999999997E-2</c:v>
                </c:pt>
                <c:pt idx="6823">
                  <c:v>7.4499999999999997E-2</c:v>
                </c:pt>
                <c:pt idx="6824">
                  <c:v>7.4499999999999997E-2</c:v>
                </c:pt>
                <c:pt idx="6825">
                  <c:v>7.4499999999999997E-2</c:v>
                </c:pt>
                <c:pt idx="6826">
                  <c:v>7.4499999999999997E-2</c:v>
                </c:pt>
                <c:pt idx="6827">
                  <c:v>7.4499999999999997E-2</c:v>
                </c:pt>
                <c:pt idx="6828">
                  <c:v>7.4499999999999997E-2</c:v>
                </c:pt>
                <c:pt idx="6829">
                  <c:v>7.4499999999999997E-2</c:v>
                </c:pt>
                <c:pt idx="6830">
                  <c:v>7.4499999999999997E-2</c:v>
                </c:pt>
                <c:pt idx="6831">
                  <c:v>7.4499999999999997E-2</c:v>
                </c:pt>
                <c:pt idx="6832">
                  <c:v>7.4499999999999997E-2</c:v>
                </c:pt>
                <c:pt idx="6833">
                  <c:v>7.4499999999999997E-2</c:v>
                </c:pt>
                <c:pt idx="6834">
                  <c:v>7.4499999999999997E-2</c:v>
                </c:pt>
                <c:pt idx="6835">
                  <c:v>7.4499999999999997E-2</c:v>
                </c:pt>
                <c:pt idx="6836">
                  <c:v>7.4499999999999997E-2</c:v>
                </c:pt>
                <c:pt idx="6837">
                  <c:v>7.4499999999999997E-2</c:v>
                </c:pt>
                <c:pt idx="6838">
                  <c:v>7.4499999999999997E-2</c:v>
                </c:pt>
                <c:pt idx="6839">
                  <c:v>7.4499999999999997E-2</c:v>
                </c:pt>
                <c:pt idx="6840">
                  <c:v>7.4499999999999997E-2</c:v>
                </c:pt>
                <c:pt idx="6841">
                  <c:v>7.4499999999999997E-2</c:v>
                </c:pt>
                <c:pt idx="6842">
                  <c:v>7.4499999999999997E-2</c:v>
                </c:pt>
                <c:pt idx="6843">
                  <c:v>7.4499999999999997E-2</c:v>
                </c:pt>
                <c:pt idx="6844">
                  <c:v>7.4499999999999997E-2</c:v>
                </c:pt>
                <c:pt idx="6845">
                  <c:v>7.4499999999999997E-2</c:v>
                </c:pt>
                <c:pt idx="6846">
                  <c:v>7.4499999999999997E-2</c:v>
                </c:pt>
                <c:pt idx="6847">
                  <c:v>7.4499999999999997E-2</c:v>
                </c:pt>
                <c:pt idx="6848">
                  <c:v>7.4499999999999997E-2</c:v>
                </c:pt>
                <c:pt idx="6849">
                  <c:v>7.4499999999999997E-2</c:v>
                </c:pt>
                <c:pt idx="6850">
                  <c:v>7.4499999999999997E-2</c:v>
                </c:pt>
                <c:pt idx="6851">
                  <c:v>7.4499999999999997E-2</c:v>
                </c:pt>
                <c:pt idx="6852">
                  <c:v>7.4499999999999997E-2</c:v>
                </c:pt>
                <c:pt idx="6853">
                  <c:v>7.4499999999999997E-2</c:v>
                </c:pt>
                <c:pt idx="6854">
                  <c:v>7.4499999999999997E-2</c:v>
                </c:pt>
                <c:pt idx="6855">
                  <c:v>7.4499999999999997E-2</c:v>
                </c:pt>
                <c:pt idx="6856">
                  <c:v>7.4499999999999997E-2</c:v>
                </c:pt>
                <c:pt idx="6857">
                  <c:v>7.4499999999999997E-2</c:v>
                </c:pt>
                <c:pt idx="6858">
                  <c:v>7.4499999999999997E-2</c:v>
                </c:pt>
                <c:pt idx="6859">
                  <c:v>7.4499999999999997E-2</c:v>
                </c:pt>
                <c:pt idx="6860">
                  <c:v>7.4499999999999997E-2</c:v>
                </c:pt>
                <c:pt idx="6861">
                  <c:v>7.4499999999999997E-2</c:v>
                </c:pt>
                <c:pt idx="6862">
                  <c:v>7.4499999999999997E-2</c:v>
                </c:pt>
                <c:pt idx="6863">
                  <c:v>7.4499999999999997E-2</c:v>
                </c:pt>
                <c:pt idx="6864">
                  <c:v>7.4499999999999997E-2</c:v>
                </c:pt>
                <c:pt idx="6865">
                  <c:v>7.4499999999999997E-2</c:v>
                </c:pt>
                <c:pt idx="6866">
                  <c:v>7.4499999999999997E-2</c:v>
                </c:pt>
                <c:pt idx="6867">
                  <c:v>7.4499999999999997E-2</c:v>
                </c:pt>
                <c:pt idx="6868">
                  <c:v>7.4499999999999997E-2</c:v>
                </c:pt>
                <c:pt idx="6869">
                  <c:v>7.4499999999999997E-2</c:v>
                </c:pt>
                <c:pt idx="6870">
                  <c:v>7.4499999999999997E-2</c:v>
                </c:pt>
                <c:pt idx="6871">
                  <c:v>7.4499999999999997E-2</c:v>
                </c:pt>
                <c:pt idx="6872">
                  <c:v>7.4499999999999997E-2</c:v>
                </c:pt>
                <c:pt idx="6873">
                  <c:v>7.4499999999999997E-2</c:v>
                </c:pt>
                <c:pt idx="6874">
                  <c:v>7.4499999999999997E-2</c:v>
                </c:pt>
                <c:pt idx="6875">
                  <c:v>7.4499999999999997E-2</c:v>
                </c:pt>
                <c:pt idx="6876">
                  <c:v>7.4499999999999997E-2</c:v>
                </c:pt>
                <c:pt idx="6877">
                  <c:v>7.4499999999999997E-2</c:v>
                </c:pt>
                <c:pt idx="6878">
                  <c:v>7.4499999999999997E-2</c:v>
                </c:pt>
                <c:pt idx="6879">
                  <c:v>7.4499999999999997E-2</c:v>
                </c:pt>
                <c:pt idx="6880">
                  <c:v>7.4499999999999997E-2</c:v>
                </c:pt>
                <c:pt idx="6881">
                  <c:v>7.4499999999999997E-2</c:v>
                </c:pt>
                <c:pt idx="6882">
                  <c:v>7.4499999999999997E-2</c:v>
                </c:pt>
                <c:pt idx="6883">
                  <c:v>7.4499999999999997E-2</c:v>
                </c:pt>
                <c:pt idx="6884">
                  <c:v>7.4499999999999997E-2</c:v>
                </c:pt>
                <c:pt idx="6885">
                  <c:v>7.4499999999999997E-2</c:v>
                </c:pt>
                <c:pt idx="6886">
                  <c:v>7.4499999999999997E-2</c:v>
                </c:pt>
                <c:pt idx="6887">
                  <c:v>7.4499999999999997E-2</c:v>
                </c:pt>
                <c:pt idx="6888">
                  <c:v>7.4499999999999997E-2</c:v>
                </c:pt>
                <c:pt idx="6889">
                  <c:v>7.4499999999999997E-2</c:v>
                </c:pt>
                <c:pt idx="6890">
                  <c:v>7.4499999999999997E-2</c:v>
                </c:pt>
                <c:pt idx="6891">
                  <c:v>7.4499999999999997E-2</c:v>
                </c:pt>
                <c:pt idx="6892">
                  <c:v>7.4499999999999997E-2</c:v>
                </c:pt>
                <c:pt idx="6893">
                  <c:v>7.4499999999999997E-2</c:v>
                </c:pt>
                <c:pt idx="6894">
                  <c:v>7.4499999999999997E-2</c:v>
                </c:pt>
                <c:pt idx="6895">
                  <c:v>7.4499999999999997E-2</c:v>
                </c:pt>
                <c:pt idx="6896">
                  <c:v>7.4499999999999997E-2</c:v>
                </c:pt>
                <c:pt idx="6897">
                  <c:v>7.4499999999999997E-2</c:v>
                </c:pt>
                <c:pt idx="6898">
                  <c:v>7.4499999999999997E-2</c:v>
                </c:pt>
                <c:pt idx="6899">
                  <c:v>7.4499999999999997E-2</c:v>
                </c:pt>
                <c:pt idx="6900">
                  <c:v>7.4499999999999997E-2</c:v>
                </c:pt>
                <c:pt idx="6901">
                  <c:v>7.4499999999999997E-2</c:v>
                </c:pt>
                <c:pt idx="6902">
                  <c:v>7.4499999999999997E-2</c:v>
                </c:pt>
                <c:pt idx="6903">
                  <c:v>7.4499999999999997E-2</c:v>
                </c:pt>
                <c:pt idx="6904">
                  <c:v>7.4499999999999997E-2</c:v>
                </c:pt>
                <c:pt idx="6905">
                  <c:v>7.4499999999999997E-2</c:v>
                </c:pt>
                <c:pt idx="6906">
                  <c:v>7.4499999999999997E-2</c:v>
                </c:pt>
                <c:pt idx="6907">
                  <c:v>7.4499999999999997E-2</c:v>
                </c:pt>
                <c:pt idx="6908">
                  <c:v>7.4499999999999997E-2</c:v>
                </c:pt>
                <c:pt idx="6909">
                  <c:v>7.4499999999999997E-2</c:v>
                </c:pt>
                <c:pt idx="6910">
                  <c:v>7.4499999999999997E-2</c:v>
                </c:pt>
                <c:pt idx="6911">
                  <c:v>7.4499999999999997E-2</c:v>
                </c:pt>
                <c:pt idx="6912">
                  <c:v>7.4499999999999997E-2</c:v>
                </c:pt>
                <c:pt idx="6913">
                  <c:v>7.4499999999999997E-2</c:v>
                </c:pt>
                <c:pt idx="6914">
                  <c:v>7.4499999999999997E-2</c:v>
                </c:pt>
                <c:pt idx="6915">
                  <c:v>7.4499999999999997E-2</c:v>
                </c:pt>
                <c:pt idx="6916">
                  <c:v>7.4499999999999997E-2</c:v>
                </c:pt>
                <c:pt idx="6917">
                  <c:v>7.4499999999999997E-2</c:v>
                </c:pt>
                <c:pt idx="6918">
                  <c:v>7.4499999999999997E-2</c:v>
                </c:pt>
                <c:pt idx="6919">
                  <c:v>7.4499999999999997E-2</c:v>
                </c:pt>
                <c:pt idx="6920">
                  <c:v>7.4499999999999997E-2</c:v>
                </c:pt>
                <c:pt idx="6921">
                  <c:v>7.4499999999999997E-2</c:v>
                </c:pt>
                <c:pt idx="6922">
                  <c:v>7.4499999999999997E-2</c:v>
                </c:pt>
                <c:pt idx="6923">
                  <c:v>7.4499999999999997E-2</c:v>
                </c:pt>
                <c:pt idx="6924">
                  <c:v>7.4499999999999997E-2</c:v>
                </c:pt>
                <c:pt idx="6925">
                  <c:v>7.4499999999999997E-2</c:v>
                </c:pt>
                <c:pt idx="6926">
                  <c:v>7.4499999999999997E-2</c:v>
                </c:pt>
                <c:pt idx="6927">
                  <c:v>7.4499999999999997E-2</c:v>
                </c:pt>
                <c:pt idx="6928">
                  <c:v>7.4499999999999997E-2</c:v>
                </c:pt>
                <c:pt idx="6929">
                  <c:v>7.4499999999999997E-2</c:v>
                </c:pt>
                <c:pt idx="6930">
                  <c:v>7.4499999999999997E-2</c:v>
                </c:pt>
                <c:pt idx="6931">
                  <c:v>7.4499999999999997E-2</c:v>
                </c:pt>
                <c:pt idx="6932">
                  <c:v>7.4499999999999997E-2</c:v>
                </c:pt>
                <c:pt idx="6933">
                  <c:v>7.4499999999999997E-2</c:v>
                </c:pt>
                <c:pt idx="6934">
                  <c:v>7.4499999999999997E-2</c:v>
                </c:pt>
                <c:pt idx="6935">
                  <c:v>7.4499999999999997E-2</c:v>
                </c:pt>
                <c:pt idx="6936">
                  <c:v>7.4499999999999997E-2</c:v>
                </c:pt>
                <c:pt idx="6937">
                  <c:v>7.4499999999999997E-2</c:v>
                </c:pt>
                <c:pt idx="6938">
                  <c:v>7.4499999999999997E-2</c:v>
                </c:pt>
                <c:pt idx="6939">
                  <c:v>7.4499999999999997E-2</c:v>
                </c:pt>
                <c:pt idx="6940">
                  <c:v>7.4499999999999997E-2</c:v>
                </c:pt>
                <c:pt idx="6941">
                  <c:v>7.4499999999999997E-2</c:v>
                </c:pt>
                <c:pt idx="6942">
                  <c:v>7.4499999999999997E-2</c:v>
                </c:pt>
                <c:pt idx="6943">
                  <c:v>7.4499999999999997E-2</c:v>
                </c:pt>
                <c:pt idx="6944">
                  <c:v>7.4499999999999997E-2</c:v>
                </c:pt>
                <c:pt idx="6945">
                  <c:v>7.4499999999999997E-2</c:v>
                </c:pt>
                <c:pt idx="6946">
                  <c:v>7.4499999999999997E-2</c:v>
                </c:pt>
                <c:pt idx="6947">
                  <c:v>7.4499999999999997E-2</c:v>
                </c:pt>
                <c:pt idx="6948">
                  <c:v>7.4499999999999997E-2</c:v>
                </c:pt>
                <c:pt idx="6949">
                  <c:v>7.4499999999999997E-2</c:v>
                </c:pt>
                <c:pt idx="6950">
                  <c:v>7.4499999999999997E-2</c:v>
                </c:pt>
                <c:pt idx="6951">
                  <c:v>7.4499999999999997E-2</c:v>
                </c:pt>
                <c:pt idx="6952">
                  <c:v>7.4499999999999997E-2</c:v>
                </c:pt>
                <c:pt idx="6953">
                  <c:v>7.4499999999999997E-2</c:v>
                </c:pt>
                <c:pt idx="6954">
                  <c:v>7.4499999999999997E-2</c:v>
                </c:pt>
                <c:pt idx="6955">
                  <c:v>7.4499999999999997E-2</c:v>
                </c:pt>
                <c:pt idx="6956">
                  <c:v>7.4499999999999997E-2</c:v>
                </c:pt>
                <c:pt idx="6957">
                  <c:v>7.4499999999999997E-2</c:v>
                </c:pt>
                <c:pt idx="6958">
                  <c:v>7.4499999999999997E-2</c:v>
                </c:pt>
                <c:pt idx="6959">
                  <c:v>7.4499999999999997E-2</c:v>
                </c:pt>
                <c:pt idx="6960">
                  <c:v>7.4499999999999997E-2</c:v>
                </c:pt>
                <c:pt idx="6961">
                  <c:v>7.4499999999999997E-2</c:v>
                </c:pt>
                <c:pt idx="6962">
                  <c:v>7.4499999999999997E-2</c:v>
                </c:pt>
                <c:pt idx="6963">
                  <c:v>7.4499999999999997E-2</c:v>
                </c:pt>
                <c:pt idx="6964">
                  <c:v>7.4499999999999997E-2</c:v>
                </c:pt>
                <c:pt idx="6965">
                  <c:v>7.4499999999999997E-2</c:v>
                </c:pt>
                <c:pt idx="6966">
                  <c:v>7.4499999999999997E-2</c:v>
                </c:pt>
                <c:pt idx="6967">
                  <c:v>7.4499999999999997E-2</c:v>
                </c:pt>
                <c:pt idx="6968">
                  <c:v>7.4499999999999997E-2</c:v>
                </c:pt>
                <c:pt idx="6969">
                  <c:v>7.4499999999999997E-2</c:v>
                </c:pt>
                <c:pt idx="6970">
                  <c:v>7.4499999999999997E-2</c:v>
                </c:pt>
                <c:pt idx="6971">
                  <c:v>7.4499999999999997E-2</c:v>
                </c:pt>
                <c:pt idx="6972">
                  <c:v>7.4499999999999997E-2</c:v>
                </c:pt>
                <c:pt idx="6973">
                  <c:v>7.4499999999999997E-2</c:v>
                </c:pt>
                <c:pt idx="6974">
                  <c:v>7.4499999999999997E-2</c:v>
                </c:pt>
                <c:pt idx="6975">
                  <c:v>7.4499999999999997E-2</c:v>
                </c:pt>
                <c:pt idx="6976">
                  <c:v>7.4499999999999997E-2</c:v>
                </c:pt>
                <c:pt idx="6977">
                  <c:v>7.4499999999999997E-2</c:v>
                </c:pt>
                <c:pt idx="6978">
                  <c:v>7.4499999999999997E-2</c:v>
                </c:pt>
                <c:pt idx="6979">
                  <c:v>7.4499999999999997E-2</c:v>
                </c:pt>
                <c:pt idx="6980">
                  <c:v>7.4499999999999997E-2</c:v>
                </c:pt>
                <c:pt idx="6981">
                  <c:v>7.4499999999999997E-2</c:v>
                </c:pt>
                <c:pt idx="6982">
                  <c:v>7.4499999999999997E-2</c:v>
                </c:pt>
                <c:pt idx="6983">
                  <c:v>7.4499999999999997E-2</c:v>
                </c:pt>
                <c:pt idx="6984">
                  <c:v>7.4499999999999997E-2</c:v>
                </c:pt>
                <c:pt idx="6985">
                  <c:v>7.4499999999999997E-2</c:v>
                </c:pt>
                <c:pt idx="6986">
                  <c:v>7.4499999999999997E-2</c:v>
                </c:pt>
                <c:pt idx="6987">
                  <c:v>7.4499999999999997E-2</c:v>
                </c:pt>
                <c:pt idx="6988">
                  <c:v>7.4499999999999997E-2</c:v>
                </c:pt>
                <c:pt idx="6989">
                  <c:v>7.4499999999999997E-2</c:v>
                </c:pt>
                <c:pt idx="6990">
                  <c:v>7.4499999999999997E-2</c:v>
                </c:pt>
                <c:pt idx="6991">
                  <c:v>7.4499999999999997E-2</c:v>
                </c:pt>
                <c:pt idx="6992">
                  <c:v>7.4499999999999997E-2</c:v>
                </c:pt>
                <c:pt idx="6993">
                  <c:v>7.4499999999999997E-2</c:v>
                </c:pt>
                <c:pt idx="6994">
                  <c:v>7.4499999999999997E-2</c:v>
                </c:pt>
                <c:pt idx="6995">
                  <c:v>7.4499999999999997E-2</c:v>
                </c:pt>
                <c:pt idx="6996">
                  <c:v>7.4499999999999997E-2</c:v>
                </c:pt>
                <c:pt idx="6997">
                  <c:v>7.4499999999999997E-2</c:v>
                </c:pt>
                <c:pt idx="6998">
                  <c:v>7.4499999999999997E-2</c:v>
                </c:pt>
                <c:pt idx="6999">
                  <c:v>7.4499999999999997E-2</c:v>
                </c:pt>
                <c:pt idx="7000">
                  <c:v>7.4499999999999997E-2</c:v>
                </c:pt>
                <c:pt idx="7001">
                  <c:v>7.4499999999999997E-2</c:v>
                </c:pt>
                <c:pt idx="7002">
                  <c:v>7.4499999999999997E-2</c:v>
                </c:pt>
                <c:pt idx="7003">
                  <c:v>7.4499999999999997E-2</c:v>
                </c:pt>
                <c:pt idx="7004">
                  <c:v>7.4499999999999997E-2</c:v>
                </c:pt>
                <c:pt idx="7005">
                  <c:v>7.4499999999999997E-2</c:v>
                </c:pt>
                <c:pt idx="7006">
                  <c:v>7.4499999999999997E-2</c:v>
                </c:pt>
                <c:pt idx="7007">
                  <c:v>7.4499999999999997E-2</c:v>
                </c:pt>
                <c:pt idx="7008">
                  <c:v>7.4499999999999997E-2</c:v>
                </c:pt>
                <c:pt idx="7009">
                  <c:v>7.4499999999999997E-2</c:v>
                </c:pt>
                <c:pt idx="7010">
                  <c:v>7.4499999999999997E-2</c:v>
                </c:pt>
                <c:pt idx="7011">
                  <c:v>7.4499999999999997E-2</c:v>
                </c:pt>
                <c:pt idx="7012">
                  <c:v>7.4499999999999997E-2</c:v>
                </c:pt>
                <c:pt idx="7013">
                  <c:v>7.4499999999999997E-2</c:v>
                </c:pt>
                <c:pt idx="7014">
                  <c:v>7.4499999999999997E-2</c:v>
                </c:pt>
                <c:pt idx="7015">
                  <c:v>7.4499999999999997E-2</c:v>
                </c:pt>
                <c:pt idx="7016">
                  <c:v>7.4499999999999997E-2</c:v>
                </c:pt>
                <c:pt idx="7017">
                  <c:v>7.4499999999999997E-2</c:v>
                </c:pt>
                <c:pt idx="7018">
                  <c:v>7.4499999999999997E-2</c:v>
                </c:pt>
                <c:pt idx="7019">
                  <c:v>7.4499999999999997E-2</c:v>
                </c:pt>
                <c:pt idx="7020">
                  <c:v>7.4499999999999997E-2</c:v>
                </c:pt>
                <c:pt idx="7021">
                  <c:v>7.4499999999999997E-2</c:v>
                </c:pt>
                <c:pt idx="7022">
                  <c:v>7.4499999999999997E-2</c:v>
                </c:pt>
                <c:pt idx="7023">
                  <c:v>7.4499999999999997E-2</c:v>
                </c:pt>
                <c:pt idx="7024">
                  <c:v>7.4499999999999997E-2</c:v>
                </c:pt>
                <c:pt idx="7025">
                  <c:v>7.4499999999999997E-2</c:v>
                </c:pt>
                <c:pt idx="7026">
                  <c:v>7.4499999999999997E-2</c:v>
                </c:pt>
                <c:pt idx="7027">
                  <c:v>7.4499999999999997E-2</c:v>
                </c:pt>
                <c:pt idx="7028">
                  <c:v>7.4499999999999997E-2</c:v>
                </c:pt>
                <c:pt idx="7029">
                  <c:v>7.4499999999999997E-2</c:v>
                </c:pt>
                <c:pt idx="7030">
                  <c:v>7.4499999999999997E-2</c:v>
                </c:pt>
                <c:pt idx="7031">
                  <c:v>7.4499999999999997E-2</c:v>
                </c:pt>
                <c:pt idx="7032">
                  <c:v>7.4499999999999997E-2</c:v>
                </c:pt>
                <c:pt idx="7033">
                  <c:v>7.4499999999999997E-2</c:v>
                </c:pt>
                <c:pt idx="7034">
                  <c:v>7.4499999999999997E-2</c:v>
                </c:pt>
                <c:pt idx="7035">
                  <c:v>7.4499999999999997E-2</c:v>
                </c:pt>
                <c:pt idx="7036">
                  <c:v>7.4499999999999997E-2</c:v>
                </c:pt>
                <c:pt idx="7037">
                  <c:v>7.4499999999999997E-2</c:v>
                </c:pt>
                <c:pt idx="7038">
                  <c:v>7.4499999999999997E-2</c:v>
                </c:pt>
                <c:pt idx="7039">
                  <c:v>7.4499999999999997E-2</c:v>
                </c:pt>
                <c:pt idx="7040">
                  <c:v>7.4499999999999997E-2</c:v>
                </c:pt>
                <c:pt idx="7041">
                  <c:v>7.4499999999999997E-2</c:v>
                </c:pt>
                <c:pt idx="7042">
                  <c:v>7.4499999999999997E-2</c:v>
                </c:pt>
                <c:pt idx="7043">
                  <c:v>7.4499999999999997E-2</c:v>
                </c:pt>
                <c:pt idx="7044">
                  <c:v>7.4499999999999997E-2</c:v>
                </c:pt>
                <c:pt idx="7045">
                  <c:v>7.4499999999999997E-2</c:v>
                </c:pt>
                <c:pt idx="7046">
                  <c:v>7.4499999999999997E-2</c:v>
                </c:pt>
                <c:pt idx="7047">
                  <c:v>7.4499999999999997E-2</c:v>
                </c:pt>
                <c:pt idx="7048">
                  <c:v>7.4499999999999997E-2</c:v>
                </c:pt>
                <c:pt idx="7049">
                  <c:v>7.4499999999999997E-2</c:v>
                </c:pt>
                <c:pt idx="7050">
                  <c:v>7.4499999999999997E-2</c:v>
                </c:pt>
                <c:pt idx="7051">
                  <c:v>7.4499999999999997E-2</c:v>
                </c:pt>
                <c:pt idx="7052">
                  <c:v>7.4499999999999997E-2</c:v>
                </c:pt>
                <c:pt idx="7053">
                  <c:v>7.4499999999999997E-2</c:v>
                </c:pt>
                <c:pt idx="7054">
                  <c:v>7.4499999999999997E-2</c:v>
                </c:pt>
                <c:pt idx="7055">
                  <c:v>7.4499999999999997E-2</c:v>
                </c:pt>
                <c:pt idx="7056">
                  <c:v>7.4499999999999997E-2</c:v>
                </c:pt>
                <c:pt idx="7057">
                  <c:v>7.4499999999999997E-2</c:v>
                </c:pt>
                <c:pt idx="7058">
                  <c:v>7.4499999999999997E-2</c:v>
                </c:pt>
                <c:pt idx="7059">
                  <c:v>7.4499999999999997E-2</c:v>
                </c:pt>
                <c:pt idx="7060">
                  <c:v>7.4499999999999997E-2</c:v>
                </c:pt>
                <c:pt idx="7061">
                  <c:v>7.4499999999999997E-2</c:v>
                </c:pt>
                <c:pt idx="7062">
                  <c:v>7.4499999999999997E-2</c:v>
                </c:pt>
                <c:pt idx="7063">
                  <c:v>7.4499999999999997E-2</c:v>
                </c:pt>
                <c:pt idx="7064">
                  <c:v>7.4499999999999997E-2</c:v>
                </c:pt>
                <c:pt idx="7065">
                  <c:v>7.4499999999999997E-2</c:v>
                </c:pt>
                <c:pt idx="7066">
                  <c:v>7.4499999999999997E-2</c:v>
                </c:pt>
                <c:pt idx="7067">
                  <c:v>7.4499999999999997E-2</c:v>
                </c:pt>
                <c:pt idx="7068">
                  <c:v>7.4499999999999997E-2</c:v>
                </c:pt>
                <c:pt idx="7069">
                  <c:v>7.4499999999999997E-2</c:v>
                </c:pt>
                <c:pt idx="7070">
                  <c:v>7.4499999999999997E-2</c:v>
                </c:pt>
                <c:pt idx="7071">
                  <c:v>7.4499999999999997E-2</c:v>
                </c:pt>
                <c:pt idx="7072">
                  <c:v>7.4499999999999997E-2</c:v>
                </c:pt>
                <c:pt idx="7073">
                  <c:v>7.4499999999999997E-2</c:v>
                </c:pt>
                <c:pt idx="7074">
                  <c:v>7.4499999999999997E-2</c:v>
                </c:pt>
                <c:pt idx="7075">
                  <c:v>7.4499999999999997E-2</c:v>
                </c:pt>
                <c:pt idx="7076">
                  <c:v>7.4499999999999997E-2</c:v>
                </c:pt>
                <c:pt idx="7077">
                  <c:v>6.7049999999999998E-2</c:v>
                </c:pt>
                <c:pt idx="7078">
                  <c:v>6.7049999999999998E-2</c:v>
                </c:pt>
                <c:pt idx="7079">
                  <c:v>6.7049999999999998E-2</c:v>
                </c:pt>
                <c:pt idx="7080">
                  <c:v>6.7049999999999998E-2</c:v>
                </c:pt>
                <c:pt idx="7081">
                  <c:v>6.7049999999999998E-2</c:v>
                </c:pt>
                <c:pt idx="7082">
                  <c:v>6.7049999999999998E-2</c:v>
                </c:pt>
                <c:pt idx="7083">
                  <c:v>6.7049999999999998E-2</c:v>
                </c:pt>
                <c:pt idx="7084">
                  <c:v>6.7049999999999998E-2</c:v>
                </c:pt>
                <c:pt idx="7085">
                  <c:v>6.7049999999999998E-2</c:v>
                </c:pt>
                <c:pt idx="7086">
                  <c:v>6.7049999999999998E-2</c:v>
                </c:pt>
                <c:pt idx="7087">
                  <c:v>6.7049999999999998E-2</c:v>
                </c:pt>
                <c:pt idx="7088">
                  <c:v>5.5875000000000001E-2</c:v>
                </c:pt>
                <c:pt idx="7089">
                  <c:v>4.9666669150000002E-2</c:v>
                </c:pt>
                <c:pt idx="7090">
                  <c:v>2.4833330850000002E-2</c:v>
                </c:pt>
                <c:pt idx="7091">
                  <c:v>8.2777769499999994E-3</c:v>
                </c:pt>
                <c:pt idx="7092">
                  <c:v>8.2777769499999994E-3</c:v>
                </c:pt>
                <c:pt idx="7093">
                  <c:v>0</c:v>
                </c:pt>
                <c:pt idx="7094">
                  <c:v>0</c:v>
                </c:pt>
                <c:pt idx="7095">
                  <c:v>0</c:v>
                </c:pt>
                <c:pt idx="7096">
                  <c:v>0</c:v>
                </c:pt>
                <c:pt idx="7097">
                  <c:v>0</c:v>
                </c:pt>
                <c:pt idx="7098">
                  <c:v>0</c:v>
                </c:pt>
                <c:pt idx="7099">
                  <c:v>0</c:v>
                </c:pt>
                <c:pt idx="7100">
                  <c:v>0</c:v>
                </c:pt>
                <c:pt idx="7101">
                  <c:v>0</c:v>
                </c:pt>
                <c:pt idx="7102">
                  <c:v>0</c:v>
                </c:pt>
                <c:pt idx="7103">
                  <c:v>0</c:v>
                </c:pt>
                <c:pt idx="7104">
                  <c:v>0</c:v>
                </c:pt>
                <c:pt idx="7105">
                  <c:v>0</c:v>
                </c:pt>
                <c:pt idx="7106">
                  <c:v>0</c:v>
                </c:pt>
                <c:pt idx="7107">
                  <c:v>0</c:v>
                </c:pt>
                <c:pt idx="7108">
                  <c:v>0</c:v>
                </c:pt>
                <c:pt idx="7109">
                  <c:v>0</c:v>
                </c:pt>
                <c:pt idx="7110">
                  <c:v>0</c:v>
                </c:pt>
                <c:pt idx="7111">
                  <c:v>0</c:v>
                </c:pt>
                <c:pt idx="7112">
                  <c:v>0</c:v>
                </c:pt>
                <c:pt idx="7113">
                  <c:v>0</c:v>
                </c:pt>
                <c:pt idx="7114">
                  <c:v>0</c:v>
                </c:pt>
                <c:pt idx="7115">
                  <c:v>0</c:v>
                </c:pt>
                <c:pt idx="7116">
                  <c:v>0</c:v>
                </c:pt>
                <c:pt idx="7117">
                  <c:v>0</c:v>
                </c:pt>
                <c:pt idx="7118">
                  <c:v>0</c:v>
                </c:pt>
                <c:pt idx="7119">
                  <c:v>0</c:v>
                </c:pt>
                <c:pt idx="7120">
                  <c:v>0</c:v>
                </c:pt>
                <c:pt idx="7121">
                  <c:v>0</c:v>
                </c:pt>
                <c:pt idx="7122">
                  <c:v>0</c:v>
                </c:pt>
                <c:pt idx="7123">
                  <c:v>0</c:v>
                </c:pt>
                <c:pt idx="7124">
                  <c:v>0</c:v>
                </c:pt>
                <c:pt idx="7125">
                  <c:v>0</c:v>
                </c:pt>
                <c:pt idx="7126">
                  <c:v>0</c:v>
                </c:pt>
                <c:pt idx="7127">
                  <c:v>0</c:v>
                </c:pt>
                <c:pt idx="7128">
                  <c:v>0</c:v>
                </c:pt>
                <c:pt idx="7129">
                  <c:v>0</c:v>
                </c:pt>
                <c:pt idx="7130">
                  <c:v>0</c:v>
                </c:pt>
                <c:pt idx="7131">
                  <c:v>0</c:v>
                </c:pt>
                <c:pt idx="7132">
                  <c:v>0</c:v>
                </c:pt>
                <c:pt idx="7133">
                  <c:v>0</c:v>
                </c:pt>
                <c:pt idx="7134">
                  <c:v>0</c:v>
                </c:pt>
                <c:pt idx="7135">
                  <c:v>0</c:v>
                </c:pt>
                <c:pt idx="7136">
                  <c:v>0</c:v>
                </c:pt>
                <c:pt idx="7137">
                  <c:v>0</c:v>
                </c:pt>
                <c:pt idx="7138">
                  <c:v>0</c:v>
                </c:pt>
                <c:pt idx="7139">
                  <c:v>0</c:v>
                </c:pt>
                <c:pt idx="7140">
                  <c:v>0</c:v>
                </c:pt>
                <c:pt idx="7141">
                  <c:v>0</c:v>
                </c:pt>
                <c:pt idx="7142">
                  <c:v>0</c:v>
                </c:pt>
                <c:pt idx="7143">
                  <c:v>0</c:v>
                </c:pt>
                <c:pt idx="7144">
                  <c:v>0</c:v>
                </c:pt>
                <c:pt idx="7145">
                  <c:v>0</c:v>
                </c:pt>
                <c:pt idx="7146">
                  <c:v>0</c:v>
                </c:pt>
                <c:pt idx="7147">
                  <c:v>0</c:v>
                </c:pt>
                <c:pt idx="7148">
                  <c:v>0</c:v>
                </c:pt>
                <c:pt idx="7149">
                  <c:v>0</c:v>
                </c:pt>
                <c:pt idx="7150">
                  <c:v>0</c:v>
                </c:pt>
                <c:pt idx="7151">
                  <c:v>0</c:v>
                </c:pt>
                <c:pt idx="7152">
                  <c:v>0</c:v>
                </c:pt>
                <c:pt idx="7153">
                  <c:v>0</c:v>
                </c:pt>
                <c:pt idx="7154">
                  <c:v>0</c:v>
                </c:pt>
                <c:pt idx="7155">
                  <c:v>0</c:v>
                </c:pt>
                <c:pt idx="7156">
                  <c:v>0</c:v>
                </c:pt>
                <c:pt idx="7157">
                  <c:v>0</c:v>
                </c:pt>
                <c:pt idx="7158">
                  <c:v>0</c:v>
                </c:pt>
                <c:pt idx="7159">
                  <c:v>0</c:v>
                </c:pt>
                <c:pt idx="7160">
                  <c:v>0</c:v>
                </c:pt>
                <c:pt idx="7161">
                  <c:v>0</c:v>
                </c:pt>
                <c:pt idx="7162">
                  <c:v>0</c:v>
                </c:pt>
                <c:pt idx="7163">
                  <c:v>0</c:v>
                </c:pt>
                <c:pt idx="7164">
                  <c:v>0</c:v>
                </c:pt>
                <c:pt idx="7165">
                  <c:v>0</c:v>
                </c:pt>
                <c:pt idx="7166">
                  <c:v>0</c:v>
                </c:pt>
                <c:pt idx="7167">
                  <c:v>0</c:v>
                </c:pt>
                <c:pt idx="7168">
                  <c:v>0</c:v>
                </c:pt>
                <c:pt idx="7169">
                  <c:v>0</c:v>
                </c:pt>
                <c:pt idx="7170">
                  <c:v>0</c:v>
                </c:pt>
                <c:pt idx="7171">
                  <c:v>0</c:v>
                </c:pt>
                <c:pt idx="7172">
                  <c:v>0</c:v>
                </c:pt>
                <c:pt idx="7173">
                  <c:v>0</c:v>
                </c:pt>
                <c:pt idx="7174">
                  <c:v>0</c:v>
                </c:pt>
                <c:pt idx="7175">
                  <c:v>0</c:v>
                </c:pt>
                <c:pt idx="7176">
                  <c:v>0</c:v>
                </c:pt>
                <c:pt idx="7177">
                  <c:v>0</c:v>
                </c:pt>
                <c:pt idx="7178">
                  <c:v>0</c:v>
                </c:pt>
                <c:pt idx="7179">
                  <c:v>0</c:v>
                </c:pt>
                <c:pt idx="7180">
                  <c:v>0</c:v>
                </c:pt>
                <c:pt idx="7181">
                  <c:v>0</c:v>
                </c:pt>
                <c:pt idx="7182">
                  <c:v>0</c:v>
                </c:pt>
                <c:pt idx="7183">
                  <c:v>0</c:v>
                </c:pt>
                <c:pt idx="7184">
                  <c:v>0</c:v>
                </c:pt>
                <c:pt idx="7185">
                  <c:v>0</c:v>
                </c:pt>
                <c:pt idx="7186">
                  <c:v>0</c:v>
                </c:pt>
                <c:pt idx="7187">
                  <c:v>0</c:v>
                </c:pt>
                <c:pt idx="7188">
                  <c:v>0</c:v>
                </c:pt>
                <c:pt idx="7189">
                  <c:v>0</c:v>
                </c:pt>
                <c:pt idx="7190">
                  <c:v>0</c:v>
                </c:pt>
                <c:pt idx="7191">
                  <c:v>0</c:v>
                </c:pt>
                <c:pt idx="7192">
                  <c:v>0</c:v>
                </c:pt>
                <c:pt idx="7193">
                  <c:v>0</c:v>
                </c:pt>
                <c:pt idx="7194">
                  <c:v>0</c:v>
                </c:pt>
                <c:pt idx="7195">
                  <c:v>0</c:v>
                </c:pt>
                <c:pt idx="7196">
                  <c:v>0</c:v>
                </c:pt>
                <c:pt idx="7197">
                  <c:v>0</c:v>
                </c:pt>
                <c:pt idx="7198">
                  <c:v>0</c:v>
                </c:pt>
                <c:pt idx="7199">
                  <c:v>0</c:v>
                </c:pt>
                <c:pt idx="7200">
                  <c:v>0</c:v>
                </c:pt>
                <c:pt idx="7201">
                  <c:v>0</c:v>
                </c:pt>
                <c:pt idx="7202">
                  <c:v>0</c:v>
                </c:pt>
                <c:pt idx="7203">
                  <c:v>0</c:v>
                </c:pt>
                <c:pt idx="7204">
                  <c:v>0</c:v>
                </c:pt>
                <c:pt idx="7205">
                  <c:v>0</c:v>
                </c:pt>
                <c:pt idx="7206">
                  <c:v>0</c:v>
                </c:pt>
                <c:pt idx="7207">
                  <c:v>0</c:v>
                </c:pt>
                <c:pt idx="7208">
                  <c:v>0</c:v>
                </c:pt>
                <c:pt idx="7209">
                  <c:v>0</c:v>
                </c:pt>
                <c:pt idx="7210">
                  <c:v>0</c:v>
                </c:pt>
                <c:pt idx="7211">
                  <c:v>0</c:v>
                </c:pt>
                <c:pt idx="7212">
                  <c:v>0</c:v>
                </c:pt>
                <c:pt idx="7213">
                  <c:v>0</c:v>
                </c:pt>
                <c:pt idx="7214">
                  <c:v>0</c:v>
                </c:pt>
                <c:pt idx="7215">
                  <c:v>0</c:v>
                </c:pt>
                <c:pt idx="7216">
                  <c:v>0</c:v>
                </c:pt>
                <c:pt idx="7217">
                  <c:v>0</c:v>
                </c:pt>
                <c:pt idx="7218">
                  <c:v>0</c:v>
                </c:pt>
                <c:pt idx="7219">
                  <c:v>0</c:v>
                </c:pt>
                <c:pt idx="7220">
                  <c:v>0</c:v>
                </c:pt>
                <c:pt idx="7221">
                  <c:v>0</c:v>
                </c:pt>
                <c:pt idx="7222">
                  <c:v>0</c:v>
                </c:pt>
                <c:pt idx="7223">
                  <c:v>0</c:v>
                </c:pt>
                <c:pt idx="7224">
                  <c:v>0</c:v>
                </c:pt>
                <c:pt idx="7225">
                  <c:v>0</c:v>
                </c:pt>
                <c:pt idx="7226">
                  <c:v>0</c:v>
                </c:pt>
                <c:pt idx="7227">
                  <c:v>0</c:v>
                </c:pt>
                <c:pt idx="7228">
                  <c:v>0</c:v>
                </c:pt>
                <c:pt idx="7229">
                  <c:v>0</c:v>
                </c:pt>
                <c:pt idx="7230">
                  <c:v>0</c:v>
                </c:pt>
                <c:pt idx="7231">
                  <c:v>0</c:v>
                </c:pt>
                <c:pt idx="7232">
                  <c:v>0</c:v>
                </c:pt>
                <c:pt idx="7233">
                  <c:v>0</c:v>
                </c:pt>
                <c:pt idx="7234">
                  <c:v>0</c:v>
                </c:pt>
                <c:pt idx="7235">
                  <c:v>0</c:v>
                </c:pt>
                <c:pt idx="7236">
                  <c:v>0</c:v>
                </c:pt>
                <c:pt idx="7237">
                  <c:v>0</c:v>
                </c:pt>
                <c:pt idx="7238">
                  <c:v>0</c:v>
                </c:pt>
                <c:pt idx="7239">
                  <c:v>0</c:v>
                </c:pt>
                <c:pt idx="7240">
                  <c:v>0</c:v>
                </c:pt>
                <c:pt idx="7241">
                  <c:v>0</c:v>
                </c:pt>
                <c:pt idx="7242">
                  <c:v>0</c:v>
                </c:pt>
                <c:pt idx="7243">
                  <c:v>0</c:v>
                </c:pt>
                <c:pt idx="7244">
                  <c:v>0</c:v>
                </c:pt>
                <c:pt idx="7245">
                  <c:v>0</c:v>
                </c:pt>
                <c:pt idx="7246">
                  <c:v>0</c:v>
                </c:pt>
                <c:pt idx="7247">
                  <c:v>0</c:v>
                </c:pt>
                <c:pt idx="7248">
                  <c:v>0</c:v>
                </c:pt>
                <c:pt idx="7249">
                  <c:v>0</c:v>
                </c:pt>
                <c:pt idx="7250">
                  <c:v>0</c:v>
                </c:pt>
                <c:pt idx="7251">
                  <c:v>0</c:v>
                </c:pt>
                <c:pt idx="7252">
                  <c:v>0</c:v>
                </c:pt>
                <c:pt idx="7253">
                  <c:v>0</c:v>
                </c:pt>
                <c:pt idx="7254">
                  <c:v>0</c:v>
                </c:pt>
                <c:pt idx="7255">
                  <c:v>0</c:v>
                </c:pt>
                <c:pt idx="7256">
                  <c:v>0</c:v>
                </c:pt>
                <c:pt idx="7257">
                  <c:v>0</c:v>
                </c:pt>
                <c:pt idx="7258">
                  <c:v>0</c:v>
                </c:pt>
                <c:pt idx="7259">
                  <c:v>0</c:v>
                </c:pt>
                <c:pt idx="7260">
                  <c:v>0</c:v>
                </c:pt>
                <c:pt idx="7261">
                  <c:v>0</c:v>
                </c:pt>
                <c:pt idx="7262">
                  <c:v>0</c:v>
                </c:pt>
                <c:pt idx="7263">
                  <c:v>0</c:v>
                </c:pt>
                <c:pt idx="7264">
                  <c:v>0</c:v>
                </c:pt>
                <c:pt idx="7265">
                  <c:v>0</c:v>
                </c:pt>
                <c:pt idx="7266">
                  <c:v>0</c:v>
                </c:pt>
                <c:pt idx="7267">
                  <c:v>0</c:v>
                </c:pt>
                <c:pt idx="7268">
                  <c:v>0</c:v>
                </c:pt>
                <c:pt idx="7269">
                  <c:v>0</c:v>
                </c:pt>
                <c:pt idx="7270">
                  <c:v>0</c:v>
                </c:pt>
                <c:pt idx="7271">
                  <c:v>0</c:v>
                </c:pt>
                <c:pt idx="7272">
                  <c:v>0</c:v>
                </c:pt>
                <c:pt idx="7273">
                  <c:v>0</c:v>
                </c:pt>
                <c:pt idx="7274">
                  <c:v>0</c:v>
                </c:pt>
                <c:pt idx="7275">
                  <c:v>0</c:v>
                </c:pt>
                <c:pt idx="7276">
                  <c:v>0</c:v>
                </c:pt>
                <c:pt idx="7277">
                  <c:v>0</c:v>
                </c:pt>
                <c:pt idx="7278">
                  <c:v>0</c:v>
                </c:pt>
                <c:pt idx="7279">
                  <c:v>0</c:v>
                </c:pt>
                <c:pt idx="7280">
                  <c:v>0</c:v>
                </c:pt>
                <c:pt idx="7281">
                  <c:v>0</c:v>
                </c:pt>
                <c:pt idx="7282">
                  <c:v>0</c:v>
                </c:pt>
                <c:pt idx="7283">
                  <c:v>0</c:v>
                </c:pt>
                <c:pt idx="7284">
                  <c:v>0</c:v>
                </c:pt>
                <c:pt idx="7285">
                  <c:v>0</c:v>
                </c:pt>
                <c:pt idx="7286">
                  <c:v>0</c:v>
                </c:pt>
                <c:pt idx="7287">
                  <c:v>0</c:v>
                </c:pt>
                <c:pt idx="7288">
                  <c:v>0</c:v>
                </c:pt>
                <c:pt idx="7289">
                  <c:v>0</c:v>
                </c:pt>
                <c:pt idx="7290">
                  <c:v>0</c:v>
                </c:pt>
                <c:pt idx="7291">
                  <c:v>0</c:v>
                </c:pt>
                <c:pt idx="7292">
                  <c:v>0</c:v>
                </c:pt>
                <c:pt idx="7293">
                  <c:v>0</c:v>
                </c:pt>
                <c:pt idx="7294">
                  <c:v>0</c:v>
                </c:pt>
                <c:pt idx="7295">
                  <c:v>0</c:v>
                </c:pt>
                <c:pt idx="7296">
                  <c:v>0</c:v>
                </c:pt>
                <c:pt idx="7297">
                  <c:v>0</c:v>
                </c:pt>
                <c:pt idx="7298">
                  <c:v>0</c:v>
                </c:pt>
                <c:pt idx="7299">
                  <c:v>0</c:v>
                </c:pt>
                <c:pt idx="7300">
                  <c:v>0</c:v>
                </c:pt>
                <c:pt idx="7301">
                  <c:v>0</c:v>
                </c:pt>
                <c:pt idx="7302">
                  <c:v>0</c:v>
                </c:pt>
                <c:pt idx="7303">
                  <c:v>0</c:v>
                </c:pt>
                <c:pt idx="7304">
                  <c:v>0</c:v>
                </c:pt>
                <c:pt idx="7305">
                  <c:v>0</c:v>
                </c:pt>
                <c:pt idx="7306">
                  <c:v>0</c:v>
                </c:pt>
                <c:pt idx="7307">
                  <c:v>0</c:v>
                </c:pt>
                <c:pt idx="7308">
                  <c:v>0</c:v>
                </c:pt>
                <c:pt idx="7309">
                  <c:v>0</c:v>
                </c:pt>
                <c:pt idx="7310">
                  <c:v>0</c:v>
                </c:pt>
                <c:pt idx="7311">
                  <c:v>0</c:v>
                </c:pt>
                <c:pt idx="7312">
                  <c:v>0</c:v>
                </c:pt>
                <c:pt idx="7313">
                  <c:v>0</c:v>
                </c:pt>
                <c:pt idx="7314">
                  <c:v>0</c:v>
                </c:pt>
                <c:pt idx="7315">
                  <c:v>0</c:v>
                </c:pt>
                <c:pt idx="7316">
                  <c:v>0</c:v>
                </c:pt>
                <c:pt idx="7317">
                  <c:v>0</c:v>
                </c:pt>
                <c:pt idx="7318">
                  <c:v>0</c:v>
                </c:pt>
                <c:pt idx="7319">
                  <c:v>0</c:v>
                </c:pt>
                <c:pt idx="7320">
                  <c:v>0</c:v>
                </c:pt>
                <c:pt idx="7321">
                  <c:v>0</c:v>
                </c:pt>
                <c:pt idx="7322">
                  <c:v>0</c:v>
                </c:pt>
                <c:pt idx="7323">
                  <c:v>0</c:v>
                </c:pt>
                <c:pt idx="7324">
                  <c:v>0</c:v>
                </c:pt>
                <c:pt idx="7325">
                  <c:v>0</c:v>
                </c:pt>
                <c:pt idx="7326">
                  <c:v>0</c:v>
                </c:pt>
                <c:pt idx="7327">
                  <c:v>0</c:v>
                </c:pt>
                <c:pt idx="7328">
                  <c:v>0</c:v>
                </c:pt>
                <c:pt idx="7329">
                  <c:v>0</c:v>
                </c:pt>
                <c:pt idx="7330">
                  <c:v>0</c:v>
                </c:pt>
                <c:pt idx="7331">
                  <c:v>0</c:v>
                </c:pt>
                <c:pt idx="7332">
                  <c:v>0</c:v>
                </c:pt>
                <c:pt idx="7333">
                  <c:v>0</c:v>
                </c:pt>
                <c:pt idx="7334">
                  <c:v>0</c:v>
                </c:pt>
                <c:pt idx="7335">
                  <c:v>0</c:v>
                </c:pt>
                <c:pt idx="7336">
                  <c:v>0</c:v>
                </c:pt>
                <c:pt idx="7337">
                  <c:v>0</c:v>
                </c:pt>
                <c:pt idx="7338">
                  <c:v>0</c:v>
                </c:pt>
                <c:pt idx="7339">
                  <c:v>0</c:v>
                </c:pt>
                <c:pt idx="7340">
                  <c:v>0</c:v>
                </c:pt>
                <c:pt idx="7341">
                  <c:v>0</c:v>
                </c:pt>
                <c:pt idx="7342">
                  <c:v>0</c:v>
                </c:pt>
                <c:pt idx="7343">
                  <c:v>0</c:v>
                </c:pt>
                <c:pt idx="7344">
                  <c:v>0</c:v>
                </c:pt>
                <c:pt idx="7345">
                  <c:v>0</c:v>
                </c:pt>
                <c:pt idx="7346">
                  <c:v>0</c:v>
                </c:pt>
                <c:pt idx="7347">
                  <c:v>0</c:v>
                </c:pt>
                <c:pt idx="7348">
                  <c:v>0</c:v>
                </c:pt>
                <c:pt idx="7349">
                  <c:v>0</c:v>
                </c:pt>
                <c:pt idx="7350">
                  <c:v>0</c:v>
                </c:pt>
                <c:pt idx="7351">
                  <c:v>0</c:v>
                </c:pt>
                <c:pt idx="7352">
                  <c:v>0</c:v>
                </c:pt>
                <c:pt idx="7353">
                  <c:v>0</c:v>
                </c:pt>
                <c:pt idx="7354">
                  <c:v>0</c:v>
                </c:pt>
                <c:pt idx="7355">
                  <c:v>0</c:v>
                </c:pt>
                <c:pt idx="7356">
                  <c:v>0</c:v>
                </c:pt>
                <c:pt idx="7357">
                  <c:v>0</c:v>
                </c:pt>
                <c:pt idx="7358">
                  <c:v>0</c:v>
                </c:pt>
                <c:pt idx="7359">
                  <c:v>0</c:v>
                </c:pt>
                <c:pt idx="7360">
                  <c:v>0</c:v>
                </c:pt>
                <c:pt idx="7361">
                  <c:v>0</c:v>
                </c:pt>
                <c:pt idx="7362">
                  <c:v>0</c:v>
                </c:pt>
                <c:pt idx="7363">
                  <c:v>0</c:v>
                </c:pt>
                <c:pt idx="7364">
                  <c:v>0</c:v>
                </c:pt>
                <c:pt idx="7365">
                  <c:v>0</c:v>
                </c:pt>
                <c:pt idx="7366">
                  <c:v>0</c:v>
                </c:pt>
                <c:pt idx="7367">
                  <c:v>0</c:v>
                </c:pt>
                <c:pt idx="7368">
                  <c:v>0</c:v>
                </c:pt>
                <c:pt idx="7369">
                  <c:v>0</c:v>
                </c:pt>
                <c:pt idx="7370">
                  <c:v>0</c:v>
                </c:pt>
                <c:pt idx="7371">
                  <c:v>0</c:v>
                </c:pt>
                <c:pt idx="7372">
                  <c:v>0</c:v>
                </c:pt>
                <c:pt idx="7373">
                  <c:v>0</c:v>
                </c:pt>
                <c:pt idx="7374">
                  <c:v>0</c:v>
                </c:pt>
                <c:pt idx="7375">
                  <c:v>0</c:v>
                </c:pt>
                <c:pt idx="7376">
                  <c:v>0</c:v>
                </c:pt>
                <c:pt idx="7377">
                  <c:v>0</c:v>
                </c:pt>
                <c:pt idx="7378">
                  <c:v>0</c:v>
                </c:pt>
                <c:pt idx="7379">
                  <c:v>0</c:v>
                </c:pt>
                <c:pt idx="7380">
                  <c:v>0</c:v>
                </c:pt>
                <c:pt idx="7381">
                  <c:v>0</c:v>
                </c:pt>
                <c:pt idx="7382">
                  <c:v>0</c:v>
                </c:pt>
                <c:pt idx="7383">
                  <c:v>0</c:v>
                </c:pt>
                <c:pt idx="7384">
                  <c:v>0</c:v>
                </c:pt>
                <c:pt idx="7385">
                  <c:v>0</c:v>
                </c:pt>
                <c:pt idx="7386">
                  <c:v>0</c:v>
                </c:pt>
                <c:pt idx="7387">
                  <c:v>0</c:v>
                </c:pt>
                <c:pt idx="7388">
                  <c:v>0</c:v>
                </c:pt>
                <c:pt idx="7389">
                  <c:v>0</c:v>
                </c:pt>
                <c:pt idx="7390">
                  <c:v>0</c:v>
                </c:pt>
                <c:pt idx="7391">
                  <c:v>0</c:v>
                </c:pt>
                <c:pt idx="7392">
                  <c:v>0</c:v>
                </c:pt>
                <c:pt idx="7393">
                  <c:v>0</c:v>
                </c:pt>
                <c:pt idx="7394">
                  <c:v>0</c:v>
                </c:pt>
                <c:pt idx="7395">
                  <c:v>0</c:v>
                </c:pt>
                <c:pt idx="7396">
                  <c:v>0</c:v>
                </c:pt>
                <c:pt idx="7397">
                  <c:v>0</c:v>
                </c:pt>
                <c:pt idx="7398">
                  <c:v>0</c:v>
                </c:pt>
                <c:pt idx="7399">
                  <c:v>0</c:v>
                </c:pt>
                <c:pt idx="7400">
                  <c:v>0</c:v>
                </c:pt>
                <c:pt idx="7401">
                  <c:v>0</c:v>
                </c:pt>
                <c:pt idx="7402">
                  <c:v>0</c:v>
                </c:pt>
                <c:pt idx="7403">
                  <c:v>0</c:v>
                </c:pt>
                <c:pt idx="7404">
                  <c:v>0</c:v>
                </c:pt>
                <c:pt idx="7405">
                  <c:v>0</c:v>
                </c:pt>
                <c:pt idx="7406">
                  <c:v>0</c:v>
                </c:pt>
                <c:pt idx="7407">
                  <c:v>0</c:v>
                </c:pt>
                <c:pt idx="7408">
                  <c:v>0</c:v>
                </c:pt>
                <c:pt idx="7409">
                  <c:v>0</c:v>
                </c:pt>
                <c:pt idx="7410">
                  <c:v>0</c:v>
                </c:pt>
                <c:pt idx="7411">
                  <c:v>0</c:v>
                </c:pt>
                <c:pt idx="7412">
                  <c:v>0</c:v>
                </c:pt>
                <c:pt idx="7413">
                  <c:v>0</c:v>
                </c:pt>
                <c:pt idx="7414">
                  <c:v>0</c:v>
                </c:pt>
                <c:pt idx="7415">
                  <c:v>0</c:v>
                </c:pt>
                <c:pt idx="7416">
                  <c:v>0</c:v>
                </c:pt>
                <c:pt idx="7417">
                  <c:v>0</c:v>
                </c:pt>
                <c:pt idx="7418">
                  <c:v>0</c:v>
                </c:pt>
                <c:pt idx="7419">
                  <c:v>0</c:v>
                </c:pt>
                <c:pt idx="7420">
                  <c:v>0</c:v>
                </c:pt>
                <c:pt idx="7421">
                  <c:v>0</c:v>
                </c:pt>
                <c:pt idx="7422">
                  <c:v>0</c:v>
                </c:pt>
                <c:pt idx="7423">
                  <c:v>0</c:v>
                </c:pt>
                <c:pt idx="7424">
                  <c:v>0</c:v>
                </c:pt>
                <c:pt idx="7425">
                  <c:v>0</c:v>
                </c:pt>
                <c:pt idx="7426">
                  <c:v>0</c:v>
                </c:pt>
                <c:pt idx="7427">
                  <c:v>0</c:v>
                </c:pt>
                <c:pt idx="7428">
                  <c:v>0</c:v>
                </c:pt>
                <c:pt idx="7429">
                  <c:v>0</c:v>
                </c:pt>
                <c:pt idx="7430">
                  <c:v>0</c:v>
                </c:pt>
                <c:pt idx="7431">
                  <c:v>0</c:v>
                </c:pt>
                <c:pt idx="7432">
                  <c:v>0</c:v>
                </c:pt>
                <c:pt idx="7433">
                  <c:v>0</c:v>
                </c:pt>
                <c:pt idx="7434">
                  <c:v>0</c:v>
                </c:pt>
                <c:pt idx="7435">
                  <c:v>0</c:v>
                </c:pt>
                <c:pt idx="7436">
                  <c:v>0</c:v>
                </c:pt>
                <c:pt idx="7437">
                  <c:v>0</c:v>
                </c:pt>
                <c:pt idx="7438">
                  <c:v>0</c:v>
                </c:pt>
                <c:pt idx="7439">
                  <c:v>0</c:v>
                </c:pt>
                <c:pt idx="7440">
                  <c:v>0</c:v>
                </c:pt>
                <c:pt idx="7441">
                  <c:v>0</c:v>
                </c:pt>
                <c:pt idx="7442">
                  <c:v>0</c:v>
                </c:pt>
                <c:pt idx="7443">
                  <c:v>0</c:v>
                </c:pt>
                <c:pt idx="7444">
                  <c:v>0</c:v>
                </c:pt>
                <c:pt idx="7445">
                  <c:v>0</c:v>
                </c:pt>
                <c:pt idx="7446">
                  <c:v>0</c:v>
                </c:pt>
                <c:pt idx="7447">
                  <c:v>0</c:v>
                </c:pt>
                <c:pt idx="7448">
                  <c:v>0</c:v>
                </c:pt>
                <c:pt idx="7449">
                  <c:v>0</c:v>
                </c:pt>
                <c:pt idx="7450">
                  <c:v>0</c:v>
                </c:pt>
                <c:pt idx="7451">
                  <c:v>0</c:v>
                </c:pt>
                <c:pt idx="7452">
                  <c:v>0</c:v>
                </c:pt>
                <c:pt idx="7453">
                  <c:v>0</c:v>
                </c:pt>
                <c:pt idx="7454">
                  <c:v>0</c:v>
                </c:pt>
                <c:pt idx="7455">
                  <c:v>0</c:v>
                </c:pt>
                <c:pt idx="7456">
                  <c:v>0</c:v>
                </c:pt>
                <c:pt idx="7457">
                  <c:v>0</c:v>
                </c:pt>
                <c:pt idx="7458">
                  <c:v>0</c:v>
                </c:pt>
                <c:pt idx="7459">
                  <c:v>0</c:v>
                </c:pt>
                <c:pt idx="7460">
                  <c:v>0</c:v>
                </c:pt>
                <c:pt idx="7461">
                  <c:v>0</c:v>
                </c:pt>
                <c:pt idx="7462">
                  <c:v>0</c:v>
                </c:pt>
                <c:pt idx="7463">
                  <c:v>0</c:v>
                </c:pt>
                <c:pt idx="7464">
                  <c:v>0</c:v>
                </c:pt>
                <c:pt idx="7465">
                  <c:v>0</c:v>
                </c:pt>
                <c:pt idx="7466">
                  <c:v>0</c:v>
                </c:pt>
                <c:pt idx="7467">
                  <c:v>0</c:v>
                </c:pt>
                <c:pt idx="7468">
                  <c:v>0</c:v>
                </c:pt>
                <c:pt idx="7469">
                  <c:v>0</c:v>
                </c:pt>
                <c:pt idx="7470">
                  <c:v>0</c:v>
                </c:pt>
                <c:pt idx="7471">
                  <c:v>0</c:v>
                </c:pt>
                <c:pt idx="7472">
                  <c:v>0</c:v>
                </c:pt>
                <c:pt idx="7473">
                  <c:v>0</c:v>
                </c:pt>
                <c:pt idx="7474">
                  <c:v>0</c:v>
                </c:pt>
                <c:pt idx="7475">
                  <c:v>0</c:v>
                </c:pt>
                <c:pt idx="7476">
                  <c:v>0</c:v>
                </c:pt>
                <c:pt idx="7477">
                  <c:v>0</c:v>
                </c:pt>
                <c:pt idx="7478">
                  <c:v>0</c:v>
                </c:pt>
                <c:pt idx="7479">
                  <c:v>0</c:v>
                </c:pt>
                <c:pt idx="7480">
                  <c:v>0</c:v>
                </c:pt>
                <c:pt idx="7481">
                  <c:v>0</c:v>
                </c:pt>
                <c:pt idx="7482">
                  <c:v>0</c:v>
                </c:pt>
                <c:pt idx="7483">
                  <c:v>0</c:v>
                </c:pt>
                <c:pt idx="7484">
                  <c:v>0</c:v>
                </c:pt>
                <c:pt idx="7485">
                  <c:v>0</c:v>
                </c:pt>
                <c:pt idx="7486">
                  <c:v>0</c:v>
                </c:pt>
                <c:pt idx="7487">
                  <c:v>0</c:v>
                </c:pt>
                <c:pt idx="7488">
                  <c:v>0</c:v>
                </c:pt>
                <c:pt idx="7489">
                  <c:v>0</c:v>
                </c:pt>
                <c:pt idx="7490">
                  <c:v>0</c:v>
                </c:pt>
                <c:pt idx="7491">
                  <c:v>0</c:v>
                </c:pt>
                <c:pt idx="7492">
                  <c:v>0</c:v>
                </c:pt>
                <c:pt idx="7493">
                  <c:v>0</c:v>
                </c:pt>
                <c:pt idx="7494">
                  <c:v>0</c:v>
                </c:pt>
                <c:pt idx="7495">
                  <c:v>0</c:v>
                </c:pt>
                <c:pt idx="7496">
                  <c:v>0</c:v>
                </c:pt>
                <c:pt idx="7497">
                  <c:v>0</c:v>
                </c:pt>
                <c:pt idx="7498">
                  <c:v>0</c:v>
                </c:pt>
                <c:pt idx="7499">
                  <c:v>0</c:v>
                </c:pt>
                <c:pt idx="7500">
                  <c:v>0</c:v>
                </c:pt>
                <c:pt idx="7501">
                  <c:v>0</c:v>
                </c:pt>
                <c:pt idx="7502">
                  <c:v>0</c:v>
                </c:pt>
                <c:pt idx="7503">
                  <c:v>0</c:v>
                </c:pt>
                <c:pt idx="7504">
                  <c:v>0</c:v>
                </c:pt>
                <c:pt idx="7505">
                  <c:v>0</c:v>
                </c:pt>
                <c:pt idx="7506">
                  <c:v>0</c:v>
                </c:pt>
                <c:pt idx="7507">
                  <c:v>0</c:v>
                </c:pt>
                <c:pt idx="7508">
                  <c:v>0</c:v>
                </c:pt>
                <c:pt idx="7509">
                  <c:v>0</c:v>
                </c:pt>
                <c:pt idx="7510">
                  <c:v>0</c:v>
                </c:pt>
                <c:pt idx="7511">
                  <c:v>0</c:v>
                </c:pt>
                <c:pt idx="7512">
                  <c:v>0</c:v>
                </c:pt>
                <c:pt idx="7513">
                  <c:v>0</c:v>
                </c:pt>
                <c:pt idx="7514">
                  <c:v>0</c:v>
                </c:pt>
                <c:pt idx="7515">
                  <c:v>0</c:v>
                </c:pt>
                <c:pt idx="7516">
                  <c:v>0</c:v>
                </c:pt>
                <c:pt idx="7517">
                  <c:v>0</c:v>
                </c:pt>
                <c:pt idx="7518">
                  <c:v>0</c:v>
                </c:pt>
                <c:pt idx="7519">
                  <c:v>0</c:v>
                </c:pt>
                <c:pt idx="7520">
                  <c:v>0</c:v>
                </c:pt>
                <c:pt idx="7521">
                  <c:v>0</c:v>
                </c:pt>
                <c:pt idx="7522">
                  <c:v>0</c:v>
                </c:pt>
                <c:pt idx="7523">
                  <c:v>0</c:v>
                </c:pt>
                <c:pt idx="7524">
                  <c:v>0</c:v>
                </c:pt>
                <c:pt idx="7525">
                  <c:v>0</c:v>
                </c:pt>
                <c:pt idx="7526">
                  <c:v>0</c:v>
                </c:pt>
                <c:pt idx="7527">
                  <c:v>0</c:v>
                </c:pt>
                <c:pt idx="7528">
                  <c:v>0</c:v>
                </c:pt>
                <c:pt idx="7529">
                  <c:v>0</c:v>
                </c:pt>
                <c:pt idx="7530">
                  <c:v>0</c:v>
                </c:pt>
                <c:pt idx="7531">
                  <c:v>0</c:v>
                </c:pt>
                <c:pt idx="7532">
                  <c:v>0</c:v>
                </c:pt>
                <c:pt idx="7533">
                  <c:v>0</c:v>
                </c:pt>
                <c:pt idx="7534">
                  <c:v>0</c:v>
                </c:pt>
                <c:pt idx="7535">
                  <c:v>0</c:v>
                </c:pt>
                <c:pt idx="7536">
                  <c:v>0</c:v>
                </c:pt>
                <c:pt idx="7537">
                  <c:v>0</c:v>
                </c:pt>
                <c:pt idx="7538">
                  <c:v>0</c:v>
                </c:pt>
                <c:pt idx="7539">
                  <c:v>0</c:v>
                </c:pt>
                <c:pt idx="7540">
                  <c:v>0</c:v>
                </c:pt>
                <c:pt idx="7541">
                  <c:v>0</c:v>
                </c:pt>
                <c:pt idx="7542">
                  <c:v>0</c:v>
                </c:pt>
                <c:pt idx="7543">
                  <c:v>0</c:v>
                </c:pt>
                <c:pt idx="7544">
                  <c:v>0</c:v>
                </c:pt>
                <c:pt idx="7545">
                  <c:v>0</c:v>
                </c:pt>
                <c:pt idx="7546">
                  <c:v>0</c:v>
                </c:pt>
                <c:pt idx="7547">
                  <c:v>0</c:v>
                </c:pt>
                <c:pt idx="7548">
                  <c:v>0</c:v>
                </c:pt>
                <c:pt idx="7549">
                  <c:v>0</c:v>
                </c:pt>
                <c:pt idx="7550">
                  <c:v>0</c:v>
                </c:pt>
                <c:pt idx="7551">
                  <c:v>0</c:v>
                </c:pt>
                <c:pt idx="7552">
                  <c:v>0</c:v>
                </c:pt>
                <c:pt idx="7553">
                  <c:v>0</c:v>
                </c:pt>
                <c:pt idx="7554">
                  <c:v>0</c:v>
                </c:pt>
                <c:pt idx="7555">
                  <c:v>0</c:v>
                </c:pt>
                <c:pt idx="7556">
                  <c:v>0</c:v>
                </c:pt>
                <c:pt idx="7557">
                  <c:v>0</c:v>
                </c:pt>
                <c:pt idx="7558">
                  <c:v>0</c:v>
                </c:pt>
                <c:pt idx="7559">
                  <c:v>0</c:v>
                </c:pt>
                <c:pt idx="7560">
                  <c:v>0</c:v>
                </c:pt>
                <c:pt idx="7561">
                  <c:v>0</c:v>
                </c:pt>
                <c:pt idx="7562">
                  <c:v>0</c:v>
                </c:pt>
                <c:pt idx="7563">
                  <c:v>0</c:v>
                </c:pt>
                <c:pt idx="7564">
                  <c:v>0</c:v>
                </c:pt>
                <c:pt idx="7565">
                  <c:v>0</c:v>
                </c:pt>
                <c:pt idx="7566">
                  <c:v>0</c:v>
                </c:pt>
                <c:pt idx="7567">
                  <c:v>0</c:v>
                </c:pt>
                <c:pt idx="7568">
                  <c:v>0</c:v>
                </c:pt>
                <c:pt idx="7569">
                  <c:v>0</c:v>
                </c:pt>
                <c:pt idx="7570">
                  <c:v>0</c:v>
                </c:pt>
                <c:pt idx="7571">
                  <c:v>0</c:v>
                </c:pt>
                <c:pt idx="7572">
                  <c:v>0</c:v>
                </c:pt>
                <c:pt idx="7573">
                  <c:v>0</c:v>
                </c:pt>
                <c:pt idx="7574">
                  <c:v>0</c:v>
                </c:pt>
                <c:pt idx="7575">
                  <c:v>0</c:v>
                </c:pt>
                <c:pt idx="7576">
                  <c:v>0</c:v>
                </c:pt>
                <c:pt idx="7577">
                  <c:v>0</c:v>
                </c:pt>
                <c:pt idx="7578">
                  <c:v>0</c:v>
                </c:pt>
                <c:pt idx="7579">
                  <c:v>0</c:v>
                </c:pt>
                <c:pt idx="7580">
                  <c:v>0</c:v>
                </c:pt>
                <c:pt idx="7581">
                  <c:v>0</c:v>
                </c:pt>
                <c:pt idx="7582">
                  <c:v>0</c:v>
                </c:pt>
                <c:pt idx="7583">
                  <c:v>0</c:v>
                </c:pt>
                <c:pt idx="7584">
                  <c:v>0</c:v>
                </c:pt>
                <c:pt idx="7585">
                  <c:v>0</c:v>
                </c:pt>
                <c:pt idx="7586">
                  <c:v>0</c:v>
                </c:pt>
                <c:pt idx="7587">
                  <c:v>0</c:v>
                </c:pt>
                <c:pt idx="7588">
                  <c:v>0</c:v>
                </c:pt>
                <c:pt idx="7589">
                  <c:v>0</c:v>
                </c:pt>
                <c:pt idx="7590">
                  <c:v>0</c:v>
                </c:pt>
                <c:pt idx="7591">
                  <c:v>0</c:v>
                </c:pt>
                <c:pt idx="7592">
                  <c:v>0</c:v>
                </c:pt>
                <c:pt idx="7593">
                  <c:v>0</c:v>
                </c:pt>
                <c:pt idx="7594">
                  <c:v>0</c:v>
                </c:pt>
                <c:pt idx="7595">
                  <c:v>0</c:v>
                </c:pt>
                <c:pt idx="7596">
                  <c:v>0</c:v>
                </c:pt>
                <c:pt idx="7597">
                  <c:v>0</c:v>
                </c:pt>
                <c:pt idx="7598">
                  <c:v>0</c:v>
                </c:pt>
                <c:pt idx="7599">
                  <c:v>0</c:v>
                </c:pt>
                <c:pt idx="7600">
                  <c:v>0</c:v>
                </c:pt>
                <c:pt idx="7601">
                  <c:v>0</c:v>
                </c:pt>
                <c:pt idx="7602">
                  <c:v>0</c:v>
                </c:pt>
                <c:pt idx="7603">
                  <c:v>0</c:v>
                </c:pt>
                <c:pt idx="7604">
                  <c:v>0</c:v>
                </c:pt>
                <c:pt idx="7605">
                  <c:v>0</c:v>
                </c:pt>
                <c:pt idx="7606">
                  <c:v>0</c:v>
                </c:pt>
                <c:pt idx="7607">
                  <c:v>0</c:v>
                </c:pt>
                <c:pt idx="7608">
                  <c:v>0</c:v>
                </c:pt>
                <c:pt idx="7609">
                  <c:v>0</c:v>
                </c:pt>
                <c:pt idx="7610">
                  <c:v>0</c:v>
                </c:pt>
                <c:pt idx="7611">
                  <c:v>0</c:v>
                </c:pt>
                <c:pt idx="7612">
                  <c:v>0</c:v>
                </c:pt>
                <c:pt idx="7613">
                  <c:v>0</c:v>
                </c:pt>
                <c:pt idx="7614">
                  <c:v>0</c:v>
                </c:pt>
                <c:pt idx="7615">
                  <c:v>0</c:v>
                </c:pt>
                <c:pt idx="7616">
                  <c:v>0</c:v>
                </c:pt>
                <c:pt idx="7617">
                  <c:v>0</c:v>
                </c:pt>
                <c:pt idx="7618">
                  <c:v>0</c:v>
                </c:pt>
                <c:pt idx="7619">
                  <c:v>0</c:v>
                </c:pt>
                <c:pt idx="7620">
                  <c:v>0</c:v>
                </c:pt>
                <c:pt idx="7621">
                  <c:v>0</c:v>
                </c:pt>
                <c:pt idx="7622">
                  <c:v>0</c:v>
                </c:pt>
                <c:pt idx="7623">
                  <c:v>0</c:v>
                </c:pt>
                <c:pt idx="7624">
                  <c:v>0</c:v>
                </c:pt>
                <c:pt idx="7625">
                  <c:v>0</c:v>
                </c:pt>
                <c:pt idx="7626">
                  <c:v>0</c:v>
                </c:pt>
                <c:pt idx="7627">
                  <c:v>0</c:v>
                </c:pt>
                <c:pt idx="7628">
                  <c:v>0</c:v>
                </c:pt>
                <c:pt idx="7629">
                  <c:v>0</c:v>
                </c:pt>
                <c:pt idx="7630">
                  <c:v>0</c:v>
                </c:pt>
                <c:pt idx="7631">
                  <c:v>0</c:v>
                </c:pt>
                <c:pt idx="7632">
                  <c:v>0</c:v>
                </c:pt>
                <c:pt idx="7633">
                  <c:v>0</c:v>
                </c:pt>
                <c:pt idx="7634">
                  <c:v>0</c:v>
                </c:pt>
                <c:pt idx="7635">
                  <c:v>0</c:v>
                </c:pt>
                <c:pt idx="7636">
                  <c:v>0</c:v>
                </c:pt>
                <c:pt idx="7637">
                  <c:v>0</c:v>
                </c:pt>
                <c:pt idx="7638">
                  <c:v>0</c:v>
                </c:pt>
                <c:pt idx="7639">
                  <c:v>0</c:v>
                </c:pt>
                <c:pt idx="7640">
                  <c:v>0</c:v>
                </c:pt>
                <c:pt idx="7641">
                  <c:v>0</c:v>
                </c:pt>
                <c:pt idx="7642">
                  <c:v>0</c:v>
                </c:pt>
                <c:pt idx="7643">
                  <c:v>0</c:v>
                </c:pt>
                <c:pt idx="7644">
                  <c:v>0</c:v>
                </c:pt>
                <c:pt idx="7645">
                  <c:v>0</c:v>
                </c:pt>
                <c:pt idx="7646">
                  <c:v>0</c:v>
                </c:pt>
                <c:pt idx="7647">
                  <c:v>0</c:v>
                </c:pt>
                <c:pt idx="7648">
                  <c:v>0</c:v>
                </c:pt>
                <c:pt idx="7649">
                  <c:v>0</c:v>
                </c:pt>
                <c:pt idx="7650">
                  <c:v>0</c:v>
                </c:pt>
                <c:pt idx="7651">
                  <c:v>0</c:v>
                </c:pt>
                <c:pt idx="7652">
                  <c:v>0</c:v>
                </c:pt>
                <c:pt idx="7653">
                  <c:v>0</c:v>
                </c:pt>
                <c:pt idx="7654">
                  <c:v>0</c:v>
                </c:pt>
                <c:pt idx="7655">
                  <c:v>0</c:v>
                </c:pt>
                <c:pt idx="7656">
                  <c:v>0</c:v>
                </c:pt>
                <c:pt idx="7657">
                  <c:v>0</c:v>
                </c:pt>
                <c:pt idx="7658">
                  <c:v>0</c:v>
                </c:pt>
                <c:pt idx="7659">
                  <c:v>0</c:v>
                </c:pt>
                <c:pt idx="7660">
                  <c:v>0</c:v>
                </c:pt>
                <c:pt idx="7661">
                  <c:v>0</c:v>
                </c:pt>
                <c:pt idx="7662">
                  <c:v>0</c:v>
                </c:pt>
                <c:pt idx="7663">
                  <c:v>0</c:v>
                </c:pt>
                <c:pt idx="7664">
                  <c:v>0</c:v>
                </c:pt>
                <c:pt idx="7665">
                  <c:v>0</c:v>
                </c:pt>
                <c:pt idx="7666">
                  <c:v>0</c:v>
                </c:pt>
                <c:pt idx="7667">
                  <c:v>0</c:v>
                </c:pt>
                <c:pt idx="7668">
                  <c:v>0</c:v>
                </c:pt>
                <c:pt idx="7669">
                  <c:v>0</c:v>
                </c:pt>
                <c:pt idx="7670">
                  <c:v>0</c:v>
                </c:pt>
                <c:pt idx="7671">
                  <c:v>0</c:v>
                </c:pt>
                <c:pt idx="7672">
                  <c:v>0</c:v>
                </c:pt>
                <c:pt idx="7673">
                  <c:v>0</c:v>
                </c:pt>
                <c:pt idx="7674">
                  <c:v>0</c:v>
                </c:pt>
                <c:pt idx="7675">
                  <c:v>0</c:v>
                </c:pt>
                <c:pt idx="7676">
                  <c:v>0</c:v>
                </c:pt>
                <c:pt idx="7677">
                  <c:v>0</c:v>
                </c:pt>
                <c:pt idx="7678">
                  <c:v>0</c:v>
                </c:pt>
                <c:pt idx="7679">
                  <c:v>0</c:v>
                </c:pt>
                <c:pt idx="7680">
                  <c:v>0</c:v>
                </c:pt>
                <c:pt idx="7681">
                  <c:v>0</c:v>
                </c:pt>
                <c:pt idx="7682">
                  <c:v>0</c:v>
                </c:pt>
                <c:pt idx="7683">
                  <c:v>0</c:v>
                </c:pt>
                <c:pt idx="7684">
                  <c:v>0</c:v>
                </c:pt>
                <c:pt idx="7685">
                  <c:v>0</c:v>
                </c:pt>
                <c:pt idx="7686">
                  <c:v>0</c:v>
                </c:pt>
                <c:pt idx="7687">
                  <c:v>0</c:v>
                </c:pt>
                <c:pt idx="7688">
                  <c:v>0</c:v>
                </c:pt>
                <c:pt idx="7689">
                  <c:v>0</c:v>
                </c:pt>
                <c:pt idx="7690">
                  <c:v>0</c:v>
                </c:pt>
                <c:pt idx="7691">
                  <c:v>0</c:v>
                </c:pt>
                <c:pt idx="7692">
                  <c:v>0</c:v>
                </c:pt>
                <c:pt idx="7693">
                  <c:v>0</c:v>
                </c:pt>
                <c:pt idx="7694">
                  <c:v>0</c:v>
                </c:pt>
                <c:pt idx="7695">
                  <c:v>0</c:v>
                </c:pt>
                <c:pt idx="7696">
                  <c:v>0</c:v>
                </c:pt>
                <c:pt idx="7697">
                  <c:v>0</c:v>
                </c:pt>
                <c:pt idx="7698">
                  <c:v>0</c:v>
                </c:pt>
                <c:pt idx="7699">
                  <c:v>0</c:v>
                </c:pt>
                <c:pt idx="7700">
                  <c:v>0</c:v>
                </c:pt>
                <c:pt idx="7701">
                  <c:v>0</c:v>
                </c:pt>
                <c:pt idx="7702">
                  <c:v>0</c:v>
                </c:pt>
                <c:pt idx="7703">
                  <c:v>0</c:v>
                </c:pt>
                <c:pt idx="7704">
                  <c:v>0</c:v>
                </c:pt>
                <c:pt idx="7705">
                  <c:v>0</c:v>
                </c:pt>
                <c:pt idx="7706">
                  <c:v>0</c:v>
                </c:pt>
                <c:pt idx="7707">
                  <c:v>0</c:v>
                </c:pt>
                <c:pt idx="7708">
                  <c:v>0</c:v>
                </c:pt>
                <c:pt idx="7709">
                  <c:v>0</c:v>
                </c:pt>
                <c:pt idx="7710">
                  <c:v>0</c:v>
                </c:pt>
                <c:pt idx="7711">
                  <c:v>0</c:v>
                </c:pt>
                <c:pt idx="7712">
                  <c:v>0</c:v>
                </c:pt>
                <c:pt idx="7713">
                  <c:v>0</c:v>
                </c:pt>
                <c:pt idx="7714">
                  <c:v>0</c:v>
                </c:pt>
                <c:pt idx="7715">
                  <c:v>0</c:v>
                </c:pt>
                <c:pt idx="7716">
                  <c:v>0</c:v>
                </c:pt>
                <c:pt idx="7717">
                  <c:v>0</c:v>
                </c:pt>
                <c:pt idx="7718">
                  <c:v>0</c:v>
                </c:pt>
                <c:pt idx="7719">
                  <c:v>0</c:v>
                </c:pt>
                <c:pt idx="7720">
                  <c:v>0</c:v>
                </c:pt>
                <c:pt idx="7721">
                  <c:v>0</c:v>
                </c:pt>
                <c:pt idx="7722">
                  <c:v>0</c:v>
                </c:pt>
                <c:pt idx="7723">
                  <c:v>0</c:v>
                </c:pt>
                <c:pt idx="7724">
                  <c:v>0</c:v>
                </c:pt>
                <c:pt idx="7725">
                  <c:v>0</c:v>
                </c:pt>
                <c:pt idx="7726">
                  <c:v>0</c:v>
                </c:pt>
                <c:pt idx="7727">
                  <c:v>0</c:v>
                </c:pt>
                <c:pt idx="7728">
                  <c:v>0</c:v>
                </c:pt>
                <c:pt idx="7729">
                  <c:v>0</c:v>
                </c:pt>
                <c:pt idx="7730">
                  <c:v>0</c:v>
                </c:pt>
                <c:pt idx="7731">
                  <c:v>0</c:v>
                </c:pt>
                <c:pt idx="7732">
                  <c:v>0</c:v>
                </c:pt>
                <c:pt idx="7733">
                  <c:v>0</c:v>
                </c:pt>
                <c:pt idx="7734">
                  <c:v>0</c:v>
                </c:pt>
                <c:pt idx="7735">
                  <c:v>0</c:v>
                </c:pt>
                <c:pt idx="7736">
                  <c:v>0</c:v>
                </c:pt>
                <c:pt idx="7737">
                  <c:v>0</c:v>
                </c:pt>
                <c:pt idx="7738">
                  <c:v>0</c:v>
                </c:pt>
                <c:pt idx="7739">
                  <c:v>0</c:v>
                </c:pt>
                <c:pt idx="7740">
                  <c:v>0</c:v>
                </c:pt>
                <c:pt idx="7741">
                  <c:v>0</c:v>
                </c:pt>
                <c:pt idx="7742">
                  <c:v>0</c:v>
                </c:pt>
                <c:pt idx="7743">
                  <c:v>0</c:v>
                </c:pt>
                <c:pt idx="7744">
                  <c:v>0</c:v>
                </c:pt>
                <c:pt idx="7745">
                  <c:v>0</c:v>
                </c:pt>
                <c:pt idx="7746">
                  <c:v>0</c:v>
                </c:pt>
                <c:pt idx="7747">
                  <c:v>0</c:v>
                </c:pt>
                <c:pt idx="7748">
                  <c:v>0</c:v>
                </c:pt>
                <c:pt idx="7749">
                  <c:v>0</c:v>
                </c:pt>
                <c:pt idx="7750">
                  <c:v>0</c:v>
                </c:pt>
                <c:pt idx="7751">
                  <c:v>0</c:v>
                </c:pt>
                <c:pt idx="7752">
                  <c:v>0</c:v>
                </c:pt>
                <c:pt idx="7753">
                  <c:v>0</c:v>
                </c:pt>
                <c:pt idx="7754">
                  <c:v>0</c:v>
                </c:pt>
                <c:pt idx="7755">
                  <c:v>0</c:v>
                </c:pt>
                <c:pt idx="7756">
                  <c:v>0</c:v>
                </c:pt>
                <c:pt idx="7757">
                  <c:v>0</c:v>
                </c:pt>
                <c:pt idx="7758">
                  <c:v>0</c:v>
                </c:pt>
                <c:pt idx="7759">
                  <c:v>0</c:v>
                </c:pt>
                <c:pt idx="7760">
                  <c:v>0</c:v>
                </c:pt>
                <c:pt idx="7761">
                  <c:v>0</c:v>
                </c:pt>
                <c:pt idx="7762">
                  <c:v>0</c:v>
                </c:pt>
                <c:pt idx="7763">
                  <c:v>0</c:v>
                </c:pt>
                <c:pt idx="7764">
                  <c:v>0</c:v>
                </c:pt>
                <c:pt idx="7765">
                  <c:v>0</c:v>
                </c:pt>
                <c:pt idx="7766">
                  <c:v>0</c:v>
                </c:pt>
                <c:pt idx="7767">
                  <c:v>0</c:v>
                </c:pt>
                <c:pt idx="7768">
                  <c:v>0</c:v>
                </c:pt>
                <c:pt idx="7769">
                  <c:v>0</c:v>
                </c:pt>
                <c:pt idx="7770">
                  <c:v>0</c:v>
                </c:pt>
                <c:pt idx="7771">
                  <c:v>0</c:v>
                </c:pt>
                <c:pt idx="7772">
                  <c:v>0</c:v>
                </c:pt>
                <c:pt idx="7773">
                  <c:v>0</c:v>
                </c:pt>
                <c:pt idx="7774">
                  <c:v>0</c:v>
                </c:pt>
                <c:pt idx="7775">
                  <c:v>0</c:v>
                </c:pt>
                <c:pt idx="7776">
                  <c:v>0</c:v>
                </c:pt>
                <c:pt idx="7777">
                  <c:v>0</c:v>
                </c:pt>
                <c:pt idx="7778">
                  <c:v>0</c:v>
                </c:pt>
                <c:pt idx="7779">
                  <c:v>0</c:v>
                </c:pt>
                <c:pt idx="7780">
                  <c:v>0</c:v>
                </c:pt>
                <c:pt idx="7781">
                  <c:v>0</c:v>
                </c:pt>
                <c:pt idx="7782">
                  <c:v>0</c:v>
                </c:pt>
                <c:pt idx="7783">
                  <c:v>0</c:v>
                </c:pt>
                <c:pt idx="7784">
                  <c:v>0</c:v>
                </c:pt>
                <c:pt idx="7785">
                  <c:v>0</c:v>
                </c:pt>
                <c:pt idx="7786">
                  <c:v>0</c:v>
                </c:pt>
                <c:pt idx="7787">
                  <c:v>0</c:v>
                </c:pt>
                <c:pt idx="7788">
                  <c:v>0</c:v>
                </c:pt>
                <c:pt idx="7789">
                  <c:v>0</c:v>
                </c:pt>
                <c:pt idx="7790">
                  <c:v>0</c:v>
                </c:pt>
                <c:pt idx="7791">
                  <c:v>0</c:v>
                </c:pt>
                <c:pt idx="7792">
                  <c:v>0</c:v>
                </c:pt>
                <c:pt idx="7793">
                  <c:v>0</c:v>
                </c:pt>
                <c:pt idx="7794">
                  <c:v>0</c:v>
                </c:pt>
                <c:pt idx="7795">
                  <c:v>0</c:v>
                </c:pt>
                <c:pt idx="7796">
                  <c:v>0</c:v>
                </c:pt>
                <c:pt idx="7797">
                  <c:v>0</c:v>
                </c:pt>
                <c:pt idx="7798">
                  <c:v>0</c:v>
                </c:pt>
                <c:pt idx="7799">
                  <c:v>0</c:v>
                </c:pt>
                <c:pt idx="7800">
                  <c:v>0</c:v>
                </c:pt>
                <c:pt idx="7801">
                  <c:v>0</c:v>
                </c:pt>
                <c:pt idx="7802">
                  <c:v>0</c:v>
                </c:pt>
                <c:pt idx="7803">
                  <c:v>0</c:v>
                </c:pt>
                <c:pt idx="7804">
                  <c:v>0</c:v>
                </c:pt>
                <c:pt idx="7805">
                  <c:v>0</c:v>
                </c:pt>
                <c:pt idx="7806">
                  <c:v>0</c:v>
                </c:pt>
                <c:pt idx="7807">
                  <c:v>0</c:v>
                </c:pt>
                <c:pt idx="7808">
                  <c:v>0</c:v>
                </c:pt>
                <c:pt idx="7809">
                  <c:v>0</c:v>
                </c:pt>
                <c:pt idx="7810">
                  <c:v>0</c:v>
                </c:pt>
                <c:pt idx="7811">
                  <c:v>0</c:v>
                </c:pt>
                <c:pt idx="7812">
                  <c:v>0</c:v>
                </c:pt>
                <c:pt idx="7813">
                  <c:v>0</c:v>
                </c:pt>
                <c:pt idx="7814">
                  <c:v>0</c:v>
                </c:pt>
                <c:pt idx="7815">
                  <c:v>0</c:v>
                </c:pt>
                <c:pt idx="7816">
                  <c:v>0</c:v>
                </c:pt>
                <c:pt idx="7817">
                  <c:v>0</c:v>
                </c:pt>
                <c:pt idx="7818">
                  <c:v>0</c:v>
                </c:pt>
                <c:pt idx="7819">
                  <c:v>0</c:v>
                </c:pt>
                <c:pt idx="7820">
                  <c:v>0</c:v>
                </c:pt>
                <c:pt idx="7821">
                  <c:v>0</c:v>
                </c:pt>
                <c:pt idx="7822">
                  <c:v>0</c:v>
                </c:pt>
                <c:pt idx="7823">
                  <c:v>0</c:v>
                </c:pt>
                <c:pt idx="7824">
                  <c:v>0</c:v>
                </c:pt>
                <c:pt idx="7825">
                  <c:v>0</c:v>
                </c:pt>
                <c:pt idx="7826">
                  <c:v>0</c:v>
                </c:pt>
                <c:pt idx="7827">
                  <c:v>0</c:v>
                </c:pt>
                <c:pt idx="7828">
                  <c:v>0</c:v>
                </c:pt>
                <c:pt idx="7829">
                  <c:v>0</c:v>
                </c:pt>
                <c:pt idx="7830">
                  <c:v>0</c:v>
                </c:pt>
                <c:pt idx="7831">
                  <c:v>0</c:v>
                </c:pt>
                <c:pt idx="7832">
                  <c:v>0</c:v>
                </c:pt>
                <c:pt idx="7833">
                  <c:v>0</c:v>
                </c:pt>
                <c:pt idx="7834">
                  <c:v>0</c:v>
                </c:pt>
                <c:pt idx="7835">
                  <c:v>0</c:v>
                </c:pt>
                <c:pt idx="7836">
                  <c:v>0</c:v>
                </c:pt>
                <c:pt idx="7837">
                  <c:v>0</c:v>
                </c:pt>
                <c:pt idx="7838">
                  <c:v>0</c:v>
                </c:pt>
                <c:pt idx="7839">
                  <c:v>0</c:v>
                </c:pt>
                <c:pt idx="7840">
                  <c:v>0</c:v>
                </c:pt>
                <c:pt idx="7841">
                  <c:v>0</c:v>
                </c:pt>
                <c:pt idx="7842">
                  <c:v>0</c:v>
                </c:pt>
                <c:pt idx="7843">
                  <c:v>0</c:v>
                </c:pt>
                <c:pt idx="7844">
                  <c:v>0</c:v>
                </c:pt>
                <c:pt idx="7845">
                  <c:v>0</c:v>
                </c:pt>
                <c:pt idx="7846">
                  <c:v>0</c:v>
                </c:pt>
                <c:pt idx="7847">
                  <c:v>0</c:v>
                </c:pt>
                <c:pt idx="7848">
                  <c:v>0</c:v>
                </c:pt>
                <c:pt idx="7849">
                  <c:v>0</c:v>
                </c:pt>
                <c:pt idx="7850">
                  <c:v>0</c:v>
                </c:pt>
                <c:pt idx="7851">
                  <c:v>0</c:v>
                </c:pt>
                <c:pt idx="7852">
                  <c:v>0</c:v>
                </c:pt>
                <c:pt idx="7853">
                  <c:v>0</c:v>
                </c:pt>
                <c:pt idx="7854">
                  <c:v>0</c:v>
                </c:pt>
                <c:pt idx="7855">
                  <c:v>0</c:v>
                </c:pt>
                <c:pt idx="7856">
                  <c:v>0</c:v>
                </c:pt>
                <c:pt idx="7857">
                  <c:v>0</c:v>
                </c:pt>
                <c:pt idx="7858">
                  <c:v>0</c:v>
                </c:pt>
                <c:pt idx="7859">
                  <c:v>0</c:v>
                </c:pt>
                <c:pt idx="7860">
                  <c:v>0</c:v>
                </c:pt>
                <c:pt idx="7861">
                  <c:v>0</c:v>
                </c:pt>
                <c:pt idx="7862">
                  <c:v>0</c:v>
                </c:pt>
                <c:pt idx="7863">
                  <c:v>0</c:v>
                </c:pt>
                <c:pt idx="7864">
                  <c:v>0</c:v>
                </c:pt>
                <c:pt idx="7865">
                  <c:v>0</c:v>
                </c:pt>
                <c:pt idx="7866">
                  <c:v>0</c:v>
                </c:pt>
                <c:pt idx="7867">
                  <c:v>0</c:v>
                </c:pt>
                <c:pt idx="7868">
                  <c:v>0</c:v>
                </c:pt>
                <c:pt idx="7869">
                  <c:v>0</c:v>
                </c:pt>
                <c:pt idx="7870">
                  <c:v>0</c:v>
                </c:pt>
                <c:pt idx="7871">
                  <c:v>0</c:v>
                </c:pt>
                <c:pt idx="7872">
                  <c:v>0</c:v>
                </c:pt>
                <c:pt idx="7873">
                  <c:v>0</c:v>
                </c:pt>
                <c:pt idx="7874">
                  <c:v>0</c:v>
                </c:pt>
                <c:pt idx="7875">
                  <c:v>0</c:v>
                </c:pt>
                <c:pt idx="7876">
                  <c:v>0</c:v>
                </c:pt>
                <c:pt idx="7877">
                  <c:v>0</c:v>
                </c:pt>
                <c:pt idx="7878">
                  <c:v>0</c:v>
                </c:pt>
                <c:pt idx="7879">
                  <c:v>0</c:v>
                </c:pt>
                <c:pt idx="7880">
                  <c:v>0</c:v>
                </c:pt>
                <c:pt idx="7881">
                  <c:v>0</c:v>
                </c:pt>
                <c:pt idx="7882">
                  <c:v>0</c:v>
                </c:pt>
                <c:pt idx="7883">
                  <c:v>0</c:v>
                </c:pt>
                <c:pt idx="7884">
                  <c:v>0</c:v>
                </c:pt>
                <c:pt idx="7885">
                  <c:v>0</c:v>
                </c:pt>
                <c:pt idx="7886">
                  <c:v>0</c:v>
                </c:pt>
                <c:pt idx="7887">
                  <c:v>0</c:v>
                </c:pt>
                <c:pt idx="7888">
                  <c:v>0</c:v>
                </c:pt>
                <c:pt idx="7889">
                  <c:v>0</c:v>
                </c:pt>
                <c:pt idx="7890">
                  <c:v>0</c:v>
                </c:pt>
                <c:pt idx="7891">
                  <c:v>0</c:v>
                </c:pt>
                <c:pt idx="7892">
                  <c:v>0</c:v>
                </c:pt>
                <c:pt idx="7893">
                  <c:v>0</c:v>
                </c:pt>
                <c:pt idx="7894">
                  <c:v>0</c:v>
                </c:pt>
                <c:pt idx="7895">
                  <c:v>0</c:v>
                </c:pt>
                <c:pt idx="7896">
                  <c:v>0</c:v>
                </c:pt>
                <c:pt idx="7897">
                  <c:v>0</c:v>
                </c:pt>
                <c:pt idx="7898">
                  <c:v>0</c:v>
                </c:pt>
                <c:pt idx="7899">
                  <c:v>0</c:v>
                </c:pt>
                <c:pt idx="7900">
                  <c:v>0</c:v>
                </c:pt>
                <c:pt idx="7901">
                  <c:v>0</c:v>
                </c:pt>
                <c:pt idx="7902">
                  <c:v>0</c:v>
                </c:pt>
                <c:pt idx="7903">
                  <c:v>0</c:v>
                </c:pt>
                <c:pt idx="7904">
                  <c:v>0</c:v>
                </c:pt>
                <c:pt idx="7905">
                  <c:v>0</c:v>
                </c:pt>
                <c:pt idx="7906">
                  <c:v>0</c:v>
                </c:pt>
                <c:pt idx="7907">
                  <c:v>0</c:v>
                </c:pt>
                <c:pt idx="7908">
                  <c:v>0</c:v>
                </c:pt>
                <c:pt idx="7909">
                  <c:v>0</c:v>
                </c:pt>
                <c:pt idx="7910">
                  <c:v>0</c:v>
                </c:pt>
                <c:pt idx="7911">
                  <c:v>0</c:v>
                </c:pt>
                <c:pt idx="7912">
                  <c:v>0</c:v>
                </c:pt>
                <c:pt idx="7913">
                  <c:v>0</c:v>
                </c:pt>
                <c:pt idx="7914">
                  <c:v>0</c:v>
                </c:pt>
                <c:pt idx="7915">
                  <c:v>0</c:v>
                </c:pt>
                <c:pt idx="7916">
                  <c:v>0</c:v>
                </c:pt>
                <c:pt idx="7917">
                  <c:v>0</c:v>
                </c:pt>
                <c:pt idx="7918">
                  <c:v>0</c:v>
                </c:pt>
                <c:pt idx="7919">
                  <c:v>0</c:v>
                </c:pt>
                <c:pt idx="7920">
                  <c:v>0</c:v>
                </c:pt>
                <c:pt idx="7921">
                  <c:v>0</c:v>
                </c:pt>
                <c:pt idx="7922">
                  <c:v>0</c:v>
                </c:pt>
                <c:pt idx="7923">
                  <c:v>0</c:v>
                </c:pt>
                <c:pt idx="7924">
                  <c:v>0</c:v>
                </c:pt>
                <c:pt idx="7925">
                  <c:v>0</c:v>
                </c:pt>
                <c:pt idx="7926">
                  <c:v>0</c:v>
                </c:pt>
                <c:pt idx="7927">
                  <c:v>0</c:v>
                </c:pt>
                <c:pt idx="7928">
                  <c:v>0</c:v>
                </c:pt>
                <c:pt idx="7929">
                  <c:v>0</c:v>
                </c:pt>
                <c:pt idx="7930">
                  <c:v>0</c:v>
                </c:pt>
                <c:pt idx="7931">
                  <c:v>0</c:v>
                </c:pt>
                <c:pt idx="7932">
                  <c:v>0</c:v>
                </c:pt>
                <c:pt idx="7933">
                  <c:v>0</c:v>
                </c:pt>
                <c:pt idx="7934">
                  <c:v>0</c:v>
                </c:pt>
                <c:pt idx="7935">
                  <c:v>0</c:v>
                </c:pt>
                <c:pt idx="7936">
                  <c:v>0</c:v>
                </c:pt>
                <c:pt idx="7937">
                  <c:v>0</c:v>
                </c:pt>
                <c:pt idx="7938">
                  <c:v>0</c:v>
                </c:pt>
                <c:pt idx="7939">
                  <c:v>0</c:v>
                </c:pt>
                <c:pt idx="7940">
                  <c:v>0</c:v>
                </c:pt>
                <c:pt idx="7941">
                  <c:v>0</c:v>
                </c:pt>
                <c:pt idx="7942">
                  <c:v>0</c:v>
                </c:pt>
                <c:pt idx="7943">
                  <c:v>0</c:v>
                </c:pt>
                <c:pt idx="7944">
                  <c:v>0</c:v>
                </c:pt>
                <c:pt idx="7945">
                  <c:v>0</c:v>
                </c:pt>
                <c:pt idx="7946">
                  <c:v>0</c:v>
                </c:pt>
                <c:pt idx="7947">
                  <c:v>0</c:v>
                </c:pt>
                <c:pt idx="7948">
                  <c:v>0</c:v>
                </c:pt>
                <c:pt idx="7949">
                  <c:v>0</c:v>
                </c:pt>
                <c:pt idx="7950">
                  <c:v>0</c:v>
                </c:pt>
                <c:pt idx="7951">
                  <c:v>0</c:v>
                </c:pt>
                <c:pt idx="7952">
                  <c:v>0</c:v>
                </c:pt>
                <c:pt idx="7953">
                  <c:v>0</c:v>
                </c:pt>
                <c:pt idx="7954">
                  <c:v>0</c:v>
                </c:pt>
                <c:pt idx="7955">
                  <c:v>0</c:v>
                </c:pt>
                <c:pt idx="7956">
                  <c:v>0</c:v>
                </c:pt>
                <c:pt idx="7957">
                  <c:v>0</c:v>
                </c:pt>
                <c:pt idx="7958">
                  <c:v>0</c:v>
                </c:pt>
                <c:pt idx="7959">
                  <c:v>0</c:v>
                </c:pt>
                <c:pt idx="7960">
                  <c:v>0</c:v>
                </c:pt>
                <c:pt idx="7961">
                  <c:v>0</c:v>
                </c:pt>
                <c:pt idx="7962">
                  <c:v>0</c:v>
                </c:pt>
                <c:pt idx="7963">
                  <c:v>0</c:v>
                </c:pt>
                <c:pt idx="7964">
                  <c:v>0</c:v>
                </c:pt>
                <c:pt idx="7965">
                  <c:v>0</c:v>
                </c:pt>
                <c:pt idx="7966">
                  <c:v>0</c:v>
                </c:pt>
                <c:pt idx="7967">
                  <c:v>0</c:v>
                </c:pt>
                <c:pt idx="7968">
                  <c:v>0</c:v>
                </c:pt>
                <c:pt idx="7969">
                  <c:v>0</c:v>
                </c:pt>
                <c:pt idx="7970">
                  <c:v>0</c:v>
                </c:pt>
                <c:pt idx="7971">
                  <c:v>0</c:v>
                </c:pt>
                <c:pt idx="7972">
                  <c:v>0</c:v>
                </c:pt>
                <c:pt idx="7973">
                  <c:v>0</c:v>
                </c:pt>
                <c:pt idx="7974">
                  <c:v>0</c:v>
                </c:pt>
                <c:pt idx="7975">
                  <c:v>0</c:v>
                </c:pt>
                <c:pt idx="7976">
                  <c:v>0</c:v>
                </c:pt>
                <c:pt idx="7977">
                  <c:v>0</c:v>
                </c:pt>
                <c:pt idx="7978">
                  <c:v>0</c:v>
                </c:pt>
                <c:pt idx="7979">
                  <c:v>0</c:v>
                </c:pt>
                <c:pt idx="7980">
                  <c:v>0</c:v>
                </c:pt>
                <c:pt idx="7981">
                  <c:v>0</c:v>
                </c:pt>
                <c:pt idx="7982">
                  <c:v>0</c:v>
                </c:pt>
                <c:pt idx="7983">
                  <c:v>0</c:v>
                </c:pt>
                <c:pt idx="7984">
                  <c:v>0</c:v>
                </c:pt>
                <c:pt idx="7985">
                  <c:v>0</c:v>
                </c:pt>
                <c:pt idx="7986">
                  <c:v>0</c:v>
                </c:pt>
                <c:pt idx="7987">
                  <c:v>0</c:v>
                </c:pt>
                <c:pt idx="7988">
                  <c:v>0</c:v>
                </c:pt>
                <c:pt idx="7989">
                  <c:v>0</c:v>
                </c:pt>
                <c:pt idx="7990">
                  <c:v>0</c:v>
                </c:pt>
                <c:pt idx="7991">
                  <c:v>0</c:v>
                </c:pt>
                <c:pt idx="7992">
                  <c:v>0</c:v>
                </c:pt>
                <c:pt idx="7993">
                  <c:v>0</c:v>
                </c:pt>
                <c:pt idx="7994">
                  <c:v>0</c:v>
                </c:pt>
                <c:pt idx="7995">
                  <c:v>0</c:v>
                </c:pt>
                <c:pt idx="7996">
                  <c:v>0</c:v>
                </c:pt>
                <c:pt idx="7997">
                  <c:v>0</c:v>
                </c:pt>
                <c:pt idx="7998">
                  <c:v>0</c:v>
                </c:pt>
                <c:pt idx="7999">
                  <c:v>0</c:v>
                </c:pt>
                <c:pt idx="8000">
                  <c:v>0</c:v>
                </c:pt>
                <c:pt idx="8001">
                  <c:v>0</c:v>
                </c:pt>
                <c:pt idx="8002">
                  <c:v>0</c:v>
                </c:pt>
                <c:pt idx="8003">
                  <c:v>0</c:v>
                </c:pt>
                <c:pt idx="8004">
                  <c:v>0</c:v>
                </c:pt>
                <c:pt idx="8005">
                  <c:v>0</c:v>
                </c:pt>
                <c:pt idx="8006">
                  <c:v>0</c:v>
                </c:pt>
                <c:pt idx="8007">
                  <c:v>0</c:v>
                </c:pt>
                <c:pt idx="8008">
                  <c:v>0</c:v>
                </c:pt>
                <c:pt idx="8009">
                  <c:v>0</c:v>
                </c:pt>
                <c:pt idx="8010">
                  <c:v>0</c:v>
                </c:pt>
                <c:pt idx="8011">
                  <c:v>0</c:v>
                </c:pt>
                <c:pt idx="8012">
                  <c:v>0</c:v>
                </c:pt>
                <c:pt idx="8013">
                  <c:v>0</c:v>
                </c:pt>
                <c:pt idx="8014">
                  <c:v>0</c:v>
                </c:pt>
                <c:pt idx="8015">
                  <c:v>0</c:v>
                </c:pt>
                <c:pt idx="8016">
                  <c:v>0</c:v>
                </c:pt>
                <c:pt idx="8017">
                  <c:v>0</c:v>
                </c:pt>
                <c:pt idx="8018">
                  <c:v>0</c:v>
                </c:pt>
                <c:pt idx="8019">
                  <c:v>0</c:v>
                </c:pt>
                <c:pt idx="8020">
                  <c:v>0</c:v>
                </c:pt>
                <c:pt idx="8021">
                  <c:v>0</c:v>
                </c:pt>
                <c:pt idx="8022">
                  <c:v>0</c:v>
                </c:pt>
                <c:pt idx="8023">
                  <c:v>0</c:v>
                </c:pt>
                <c:pt idx="8024">
                  <c:v>0</c:v>
                </c:pt>
                <c:pt idx="8025">
                  <c:v>0</c:v>
                </c:pt>
                <c:pt idx="8026">
                  <c:v>0</c:v>
                </c:pt>
                <c:pt idx="8027">
                  <c:v>0</c:v>
                </c:pt>
                <c:pt idx="8028">
                  <c:v>0</c:v>
                </c:pt>
                <c:pt idx="8029">
                  <c:v>0</c:v>
                </c:pt>
                <c:pt idx="8030">
                  <c:v>0</c:v>
                </c:pt>
                <c:pt idx="8031">
                  <c:v>0</c:v>
                </c:pt>
                <c:pt idx="8032">
                  <c:v>0</c:v>
                </c:pt>
                <c:pt idx="8033">
                  <c:v>0</c:v>
                </c:pt>
                <c:pt idx="8034">
                  <c:v>0</c:v>
                </c:pt>
                <c:pt idx="8035">
                  <c:v>0</c:v>
                </c:pt>
                <c:pt idx="8036">
                  <c:v>0</c:v>
                </c:pt>
                <c:pt idx="8037">
                  <c:v>0</c:v>
                </c:pt>
                <c:pt idx="8038">
                  <c:v>0</c:v>
                </c:pt>
                <c:pt idx="8039">
                  <c:v>0</c:v>
                </c:pt>
                <c:pt idx="8040">
                  <c:v>0</c:v>
                </c:pt>
                <c:pt idx="8041">
                  <c:v>0</c:v>
                </c:pt>
                <c:pt idx="8042">
                  <c:v>0</c:v>
                </c:pt>
                <c:pt idx="8043">
                  <c:v>0</c:v>
                </c:pt>
                <c:pt idx="8044">
                  <c:v>0</c:v>
                </c:pt>
                <c:pt idx="8045">
                  <c:v>0</c:v>
                </c:pt>
                <c:pt idx="8046">
                  <c:v>0</c:v>
                </c:pt>
                <c:pt idx="8047">
                  <c:v>0</c:v>
                </c:pt>
                <c:pt idx="8048">
                  <c:v>0</c:v>
                </c:pt>
                <c:pt idx="8049">
                  <c:v>0</c:v>
                </c:pt>
                <c:pt idx="8050">
                  <c:v>0</c:v>
                </c:pt>
                <c:pt idx="8051">
                  <c:v>0</c:v>
                </c:pt>
                <c:pt idx="8052">
                  <c:v>0</c:v>
                </c:pt>
                <c:pt idx="8053">
                  <c:v>0</c:v>
                </c:pt>
                <c:pt idx="8054">
                  <c:v>0</c:v>
                </c:pt>
                <c:pt idx="8055">
                  <c:v>0</c:v>
                </c:pt>
                <c:pt idx="8056">
                  <c:v>0</c:v>
                </c:pt>
                <c:pt idx="8057">
                  <c:v>0</c:v>
                </c:pt>
                <c:pt idx="8058">
                  <c:v>0</c:v>
                </c:pt>
                <c:pt idx="8059">
                  <c:v>0</c:v>
                </c:pt>
                <c:pt idx="8060">
                  <c:v>0</c:v>
                </c:pt>
                <c:pt idx="8061">
                  <c:v>0</c:v>
                </c:pt>
                <c:pt idx="8062">
                  <c:v>0</c:v>
                </c:pt>
                <c:pt idx="8063">
                  <c:v>0</c:v>
                </c:pt>
                <c:pt idx="8064">
                  <c:v>0</c:v>
                </c:pt>
                <c:pt idx="8065">
                  <c:v>0</c:v>
                </c:pt>
                <c:pt idx="8066">
                  <c:v>0</c:v>
                </c:pt>
                <c:pt idx="8067">
                  <c:v>0</c:v>
                </c:pt>
                <c:pt idx="8068">
                  <c:v>0</c:v>
                </c:pt>
                <c:pt idx="8069">
                  <c:v>0</c:v>
                </c:pt>
                <c:pt idx="8070">
                  <c:v>0</c:v>
                </c:pt>
                <c:pt idx="8071">
                  <c:v>0</c:v>
                </c:pt>
                <c:pt idx="8072">
                  <c:v>0</c:v>
                </c:pt>
                <c:pt idx="8073">
                  <c:v>0</c:v>
                </c:pt>
                <c:pt idx="8074">
                  <c:v>0</c:v>
                </c:pt>
                <c:pt idx="8075">
                  <c:v>0</c:v>
                </c:pt>
                <c:pt idx="8076">
                  <c:v>0</c:v>
                </c:pt>
                <c:pt idx="8077">
                  <c:v>0</c:v>
                </c:pt>
                <c:pt idx="8078">
                  <c:v>0</c:v>
                </c:pt>
                <c:pt idx="8079">
                  <c:v>0</c:v>
                </c:pt>
                <c:pt idx="8080">
                  <c:v>0</c:v>
                </c:pt>
                <c:pt idx="8081">
                  <c:v>0</c:v>
                </c:pt>
                <c:pt idx="8082">
                  <c:v>0</c:v>
                </c:pt>
                <c:pt idx="8083">
                  <c:v>0</c:v>
                </c:pt>
                <c:pt idx="8084">
                  <c:v>0</c:v>
                </c:pt>
                <c:pt idx="8085">
                  <c:v>0</c:v>
                </c:pt>
                <c:pt idx="8086">
                  <c:v>0</c:v>
                </c:pt>
                <c:pt idx="8087">
                  <c:v>0</c:v>
                </c:pt>
                <c:pt idx="8088">
                  <c:v>0</c:v>
                </c:pt>
                <c:pt idx="8089">
                  <c:v>0</c:v>
                </c:pt>
                <c:pt idx="8090">
                  <c:v>0</c:v>
                </c:pt>
                <c:pt idx="8091">
                  <c:v>0</c:v>
                </c:pt>
                <c:pt idx="8092">
                  <c:v>0</c:v>
                </c:pt>
                <c:pt idx="8093">
                  <c:v>0</c:v>
                </c:pt>
                <c:pt idx="8094">
                  <c:v>0</c:v>
                </c:pt>
                <c:pt idx="8095">
                  <c:v>0</c:v>
                </c:pt>
                <c:pt idx="8096">
                  <c:v>0</c:v>
                </c:pt>
                <c:pt idx="8097">
                  <c:v>0</c:v>
                </c:pt>
                <c:pt idx="8098">
                  <c:v>0</c:v>
                </c:pt>
                <c:pt idx="8099">
                  <c:v>0</c:v>
                </c:pt>
                <c:pt idx="8100">
                  <c:v>0</c:v>
                </c:pt>
                <c:pt idx="8101">
                  <c:v>0</c:v>
                </c:pt>
                <c:pt idx="8102">
                  <c:v>0</c:v>
                </c:pt>
                <c:pt idx="8103">
                  <c:v>0</c:v>
                </c:pt>
                <c:pt idx="8104">
                  <c:v>0</c:v>
                </c:pt>
                <c:pt idx="8105">
                  <c:v>0</c:v>
                </c:pt>
                <c:pt idx="8106">
                  <c:v>0</c:v>
                </c:pt>
                <c:pt idx="8107">
                  <c:v>0</c:v>
                </c:pt>
                <c:pt idx="8108">
                  <c:v>0</c:v>
                </c:pt>
                <c:pt idx="8109">
                  <c:v>0</c:v>
                </c:pt>
                <c:pt idx="8110">
                  <c:v>0</c:v>
                </c:pt>
                <c:pt idx="8111">
                  <c:v>0</c:v>
                </c:pt>
                <c:pt idx="8112">
                  <c:v>0</c:v>
                </c:pt>
                <c:pt idx="8113">
                  <c:v>0</c:v>
                </c:pt>
                <c:pt idx="8114">
                  <c:v>0</c:v>
                </c:pt>
                <c:pt idx="8115">
                  <c:v>0</c:v>
                </c:pt>
                <c:pt idx="8116">
                  <c:v>0</c:v>
                </c:pt>
                <c:pt idx="8117">
                  <c:v>0</c:v>
                </c:pt>
                <c:pt idx="8118">
                  <c:v>0</c:v>
                </c:pt>
                <c:pt idx="8119">
                  <c:v>0</c:v>
                </c:pt>
                <c:pt idx="8120">
                  <c:v>0</c:v>
                </c:pt>
                <c:pt idx="8121">
                  <c:v>0</c:v>
                </c:pt>
                <c:pt idx="8122">
                  <c:v>0</c:v>
                </c:pt>
                <c:pt idx="8123">
                  <c:v>0</c:v>
                </c:pt>
                <c:pt idx="8124">
                  <c:v>0</c:v>
                </c:pt>
                <c:pt idx="8125">
                  <c:v>0</c:v>
                </c:pt>
                <c:pt idx="8126">
                  <c:v>0</c:v>
                </c:pt>
                <c:pt idx="8127">
                  <c:v>0</c:v>
                </c:pt>
                <c:pt idx="8128">
                  <c:v>0</c:v>
                </c:pt>
                <c:pt idx="8129">
                  <c:v>0</c:v>
                </c:pt>
                <c:pt idx="8130">
                  <c:v>0</c:v>
                </c:pt>
                <c:pt idx="8131">
                  <c:v>0</c:v>
                </c:pt>
                <c:pt idx="8132">
                  <c:v>0</c:v>
                </c:pt>
                <c:pt idx="8133">
                  <c:v>0</c:v>
                </c:pt>
                <c:pt idx="8134">
                  <c:v>0</c:v>
                </c:pt>
                <c:pt idx="8135">
                  <c:v>0</c:v>
                </c:pt>
                <c:pt idx="8136">
                  <c:v>0</c:v>
                </c:pt>
                <c:pt idx="8137">
                  <c:v>0</c:v>
                </c:pt>
                <c:pt idx="8138">
                  <c:v>0</c:v>
                </c:pt>
                <c:pt idx="8139">
                  <c:v>0</c:v>
                </c:pt>
                <c:pt idx="8140">
                  <c:v>0</c:v>
                </c:pt>
                <c:pt idx="8141">
                  <c:v>0</c:v>
                </c:pt>
                <c:pt idx="8142">
                  <c:v>0</c:v>
                </c:pt>
                <c:pt idx="8143">
                  <c:v>0</c:v>
                </c:pt>
                <c:pt idx="8144">
                  <c:v>0</c:v>
                </c:pt>
                <c:pt idx="8145">
                  <c:v>0</c:v>
                </c:pt>
                <c:pt idx="8146">
                  <c:v>0</c:v>
                </c:pt>
                <c:pt idx="8147">
                  <c:v>0</c:v>
                </c:pt>
                <c:pt idx="8148">
                  <c:v>0</c:v>
                </c:pt>
                <c:pt idx="8149">
                  <c:v>0</c:v>
                </c:pt>
                <c:pt idx="8150">
                  <c:v>0</c:v>
                </c:pt>
                <c:pt idx="8151">
                  <c:v>0</c:v>
                </c:pt>
                <c:pt idx="8152">
                  <c:v>0</c:v>
                </c:pt>
                <c:pt idx="8153">
                  <c:v>0</c:v>
                </c:pt>
                <c:pt idx="8154">
                  <c:v>0</c:v>
                </c:pt>
                <c:pt idx="8155">
                  <c:v>0</c:v>
                </c:pt>
                <c:pt idx="8156">
                  <c:v>0</c:v>
                </c:pt>
                <c:pt idx="8157">
                  <c:v>0</c:v>
                </c:pt>
                <c:pt idx="8158">
                  <c:v>0</c:v>
                </c:pt>
                <c:pt idx="8159">
                  <c:v>0</c:v>
                </c:pt>
                <c:pt idx="8160">
                  <c:v>0</c:v>
                </c:pt>
                <c:pt idx="8161">
                  <c:v>0</c:v>
                </c:pt>
                <c:pt idx="8162">
                  <c:v>0</c:v>
                </c:pt>
                <c:pt idx="8163">
                  <c:v>0</c:v>
                </c:pt>
                <c:pt idx="8164">
                  <c:v>0</c:v>
                </c:pt>
                <c:pt idx="8165">
                  <c:v>0</c:v>
                </c:pt>
                <c:pt idx="8166">
                  <c:v>0</c:v>
                </c:pt>
                <c:pt idx="8167">
                  <c:v>0</c:v>
                </c:pt>
                <c:pt idx="8168">
                  <c:v>0</c:v>
                </c:pt>
                <c:pt idx="8169">
                  <c:v>0</c:v>
                </c:pt>
                <c:pt idx="8170">
                  <c:v>0</c:v>
                </c:pt>
                <c:pt idx="8171">
                  <c:v>0</c:v>
                </c:pt>
                <c:pt idx="8172">
                  <c:v>0</c:v>
                </c:pt>
                <c:pt idx="8173">
                  <c:v>0</c:v>
                </c:pt>
                <c:pt idx="8174">
                  <c:v>0</c:v>
                </c:pt>
                <c:pt idx="8175">
                  <c:v>0</c:v>
                </c:pt>
                <c:pt idx="8176">
                  <c:v>0</c:v>
                </c:pt>
                <c:pt idx="8177">
                  <c:v>0</c:v>
                </c:pt>
                <c:pt idx="8178">
                  <c:v>0</c:v>
                </c:pt>
                <c:pt idx="8179">
                  <c:v>0</c:v>
                </c:pt>
                <c:pt idx="8180">
                  <c:v>0</c:v>
                </c:pt>
                <c:pt idx="8181">
                  <c:v>0</c:v>
                </c:pt>
                <c:pt idx="8182">
                  <c:v>0</c:v>
                </c:pt>
                <c:pt idx="8183">
                  <c:v>0</c:v>
                </c:pt>
                <c:pt idx="8184">
                  <c:v>0</c:v>
                </c:pt>
                <c:pt idx="8185">
                  <c:v>0</c:v>
                </c:pt>
                <c:pt idx="8186">
                  <c:v>0</c:v>
                </c:pt>
                <c:pt idx="8187">
                  <c:v>0</c:v>
                </c:pt>
                <c:pt idx="8188">
                  <c:v>0</c:v>
                </c:pt>
                <c:pt idx="8189">
                  <c:v>0</c:v>
                </c:pt>
                <c:pt idx="8190">
                  <c:v>0</c:v>
                </c:pt>
                <c:pt idx="8191">
                  <c:v>0</c:v>
                </c:pt>
                <c:pt idx="8192">
                  <c:v>0</c:v>
                </c:pt>
                <c:pt idx="8193">
                  <c:v>0</c:v>
                </c:pt>
                <c:pt idx="8194">
                  <c:v>0</c:v>
                </c:pt>
                <c:pt idx="8195">
                  <c:v>0</c:v>
                </c:pt>
                <c:pt idx="8196">
                  <c:v>0</c:v>
                </c:pt>
                <c:pt idx="8197">
                  <c:v>0</c:v>
                </c:pt>
                <c:pt idx="8198">
                  <c:v>0</c:v>
                </c:pt>
                <c:pt idx="8199">
                  <c:v>0</c:v>
                </c:pt>
                <c:pt idx="8200">
                  <c:v>0</c:v>
                </c:pt>
                <c:pt idx="8201">
                  <c:v>0</c:v>
                </c:pt>
                <c:pt idx="8202">
                  <c:v>0</c:v>
                </c:pt>
                <c:pt idx="8203">
                  <c:v>0</c:v>
                </c:pt>
                <c:pt idx="8204">
                  <c:v>0</c:v>
                </c:pt>
                <c:pt idx="8205">
                  <c:v>0</c:v>
                </c:pt>
                <c:pt idx="8206">
                  <c:v>0</c:v>
                </c:pt>
                <c:pt idx="8207">
                  <c:v>0</c:v>
                </c:pt>
                <c:pt idx="8208">
                  <c:v>0</c:v>
                </c:pt>
                <c:pt idx="8209">
                  <c:v>0</c:v>
                </c:pt>
                <c:pt idx="8210">
                  <c:v>0</c:v>
                </c:pt>
                <c:pt idx="8211">
                  <c:v>0</c:v>
                </c:pt>
                <c:pt idx="8212">
                  <c:v>0</c:v>
                </c:pt>
                <c:pt idx="8213">
                  <c:v>0</c:v>
                </c:pt>
                <c:pt idx="8214">
                  <c:v>0</c:v>
                </c:pt>
                <c:pt idx="8215">
                  <c:v>0</c:v>
                </c:pt>
                <c:pt idx="8216">
                  <c:v>0</c:v>
                </c:pt>
                <c:pt idx="8217">
                  <c:v>0</c:v>
                </c:pt>
                <c:pt idx="8218">
                  <c:v>0</c:v>
                </c:pt>
                <c:pt idx="8219">
                  <c:v>0</c:v>
                </c:pt>
                <c:pt idx="8220">
                  <c:v>0</c:v>
                </c:pt>
                <c:pt idx="8221">
                  <c:v>0</c:v>
                </c:pt>
                <c:pt idx="8222">
                  <c:v>0</c:v>
                </c:pt>
                <c:pt idx="8223">
                  <c:v>0</c:v>
                </c:pt>
                <c:pt idx="8224">
                  <c:v>0</c:v>
                </c:pt>
                <c:pt idx="8225">
                  <c:v>0</c:v>
                </c:pt>
                <c:pt idx="8226">
                  <c:v>0</c:v>
                </c:pt>
                <c:pt idx="8227">
                  <c:v>0</c:v>
                </c:pt>
                <c:pt idx="8228">
                  <c:v>0</c:v>
                </c:pt>
                <c:pt idx="8229">
                  <c:v>0</c:v>
                </c:pt>
                <c:pt idx="8230">
                  <c:v>0</c:v>
                </c:pt>
                <c:pt idx="8231">
                  <c:v>0</c:v>
                </c:pt>
                <c:pt idx="8232">
                  <c:v>0</c:v>
                </c:pt>
                <c:pt idx="8233">
                  <c:v>0</c:v>
                </c:pt>
                <c:pt idx="8234">
                  <c:v>0</c:v>
                </c:pt>
                <c:pt idx="8235">
                  <c:v>0</c:v>
                </c:pt>
                <c:pt idx="8236">
                  <c:v>0</c:v>
                </c:pt>
                <c:pt idx="8237">
                  <c:v>0</c:v>
                </c:pt>
                <c:pt idx="8238">
                  <c:v>0</c:v>
                </c:pt>
                <c:pt idx="8239">
                  <c:v>0</c:v>
                </c:pt>
                <c:pt idx="8240">
                  <c:v>0</c:v>
                </c:pt>
                <c:pt idx="8241">
                  <c:v>0</c:v>
                </c:pt>
                <c:pt idx="8242">
                  <c:v>0</c:v>
                </c:pt>
                <c:pt idx="8243">
                  <c:v>0</c:v>
                </c:pt>
                <c:pt idx="8244">
                  <c:v>0</c:v>
                </c:pt>
                <c:pt idx="8245">
                  <c:v>0</c:v>
                </c:pt>
                <c:pt idx="8246">
                  <c:v>0</c:v>
                </c:pt>
                <c:pt idx="8247">
                  <c:v>0</c:v>
                </c:pt>
                <c:pt idx="8248">
                  <c:v>0</c:v>
                </c:pt>
                <c:pt idx="8249">
                  <c:v>0</c:v>
                </c:pt>
                <c:pt idx="8250">
                  <c:v>0</c:v>
                </c:pt>
                <c:pt idx="8251">
                  <c:v>0</c:v>
                </c:pt>
                <c:pt idx="8252">
                  <c:v>0</c:v>
                </c:pt>
                <c:pt idx="8253">
                  <c:v>0</c:v>
                </c:pt>
                <c:pt idx="8254">
                  <c:v>0</c:v>
                </c:pt>
                <c:pt idx="8255">
                  <c:v>0</c:v>
                </c:pt>
                <c:pt idx="8256">
                  <c:v>0</c:v>
                </c:pt>
                <c:pt idx="8257">
                  <c:v>0</c:v>
                </c:pt>
                <c:pt idx="8258">
                  <c:v>0</c:v>
                </c:pt>
                <c:pt idx="8259">
                  <c:v>0</c:v>
                </c:pt>
                <c:pt idx="8260">
                  <c:v>0</c:v>
                </c:pt>
                <c:pt idx="8261">
                  <c:v>0</c:v>
                </c:pt>
                <c:pt idx="8262">
                  <c:v>0</c:v>
                </c:pt>
                <c:pt idx="8263">
                  <c:v>0</c:v>
                </c:pt>
                <c:pt idx="8264">
                  <c:v>0</c:v>
                </c:pt>
                <c:pt idx="8265">
                  <c:v>0</c:v>
                </c:pt>
                <c:pt idx="8266">
                  <c:v>0</c:v>
                </c:pt>
                <c:pt idx="8267">
                  <c:v>0</c:v>
                </c:pt>
                <c:pt idx="8268">
                  <c:v>0</c:v>
                </c:pt>
                <c:pt idx="8269">
                  <c:v>0</c:v>
                </c:pt>
                <c:pt idx="8270">
                  <c:v>0</c:v>
                </c:pt>
                <c:pt idx="8271">
                  <c:v>0</c:v>
                </c:pt>
                <c:pt idx="8272">
                  <c:v>0</c:v>
                </c:pt>
                <c:pt idx="8273">
                  <c:v>0</c:v>
                </c:pt>
                <c:pt idx="8274">
                  <c:v>0</c:v>
                </c:pt>
                <c:pt idx="8275">
                  <c:v>0</c:v>
                </c:pt>
                <c:pt idx="8276">
                  <c:v>0</c:v>
                </c:pt>
                <c:pt idx="8277">
                  <c:v>0</c:v>
                </c:pt>
                <c:pt idx="8278">
                  <c:v>0</c:v>
                </c:pt>
                <c:pt idx="8279">
                  <c:v>0</c:v>
                </c:pt>
                <c:pt idx="8280">
                  <c:v>0</c:v>
                </c:pt>
                <c:pt idx="8281">
                  <c:v>0</c:v>
                </c:pt>
                <c:pt idx="8282">
                  <c:v>0</c:v>
                </c:pt>
                <c:pt idx="8283">
                  <c:v>0</c:v>
                </c:pt>
                <c:pt idx="8284">
                  <c:v>0</c:v>
                </c:pt>
                <c:pt idx="8285">
                  <c:v>0</c:v>
                </c:pt>
                <c:pt idx="8286">
                  <c:v>0</c:v>
                </c:pt>
                <c:pt idx="8287">
                  <c:v>0</c:v>
                </c:pt>
                <c:pt idx="8288">
                  <c:v>0</c:v>
                </c:pt>
                <c:pt idx="8289">
                  <c:v>0</c:v>
                </c:pt>
                <c:pt idx="8290">
                  <c:v>0</c:v>
                </c:pt>
                <c:pt idx="8291">
                  <c:v>0</c:v>
                </c:pt>
                <c:pt idx="8292">
                  <c:v>0</c:v>
                </c:pt>
                <c:pt idx="8293">
                  <c:v>0</c:v>
                </c:pt>
                <c:pt idx="8294">
                  <c:v>0</c:v>
                </c:pt>
                <c:pt idx="8295">
                  <c:v>0</c:v>
                </c:pt>
                <c:pt idx="8296">
                  <c:v>0</c:v>
                </c:pt>
                <c:pt idx="8297">
                  <c:v>0</c:v>
                </c:pt>
                <c:pt idx="8298">
                  <c:v>0</c:v>
                </c:pt>
                <c:pt idx="8299">
                  <c:v>0</c:v>
                </c:pt>
                <c:pt idx="8300">
                  <c:v>0</c:v>
                </c:pt>
                <c:pt idx="8301">
                  <c:v>0</c:v>
                </c:pt>
                <c:pt idx="8302">
                  <c:v>0</c:v>
                </c:pt>
                <c:pt idx="8303">
                  <c:v>0</c:v>
                </c:pt>
                <c:pt idx="8304">
                  <c:v>0</c:v>
                </c:pt>
                <c:pt idx="8305">
                  <c:v>0</c:v>
                </c:pt>
                <c:pt idx="8306">
                  <c:v>0</c:v>
                </c:pt>
                <c:pt idx="8307">
                  <c:v>0</c:v>
                </c:pt>
                <c:pt idx="8308">
                  <c:v>0</c:v>
                </c:pt>
                <c:pt idx="8309">
                  <c:v>0</c:v>
                </c:pt>
                <c:pt idx="8310">
                  <c:v>0</c:v>
                </c:pt>
                <c:pt idx="8311">
                  <c:v>0</c:v>
                </c:pt>
                <c:pt idx="8312">
                  <c:v>0</c:v>
                </c:pt>
                <c:pt idx="8313">
                  <c:v>0</c:v>
                </c:pt>
                <c:pt idx="8314">
                  <c:v>0</c:v>
                </c:pt>
                <c:pt idx="8315">
                  <c:v>0</c:v>
                </c:pt>
                <c:pt idx="8316">
                  <c:v>0</c:v>
                </c:pt>
                <c:pt idx="8317">
                  <c:v>0</c:v>
                </c:pt>
                <c:pt idx="8318">
                  <c:v>0</c:v>
                </c:pt>
                <c:pt idx="8319">
                  <c:v>0</c:v>
                </c:pt>
                <c:pt idx="8320">
                  <c:v>0</c:v>
                </c:pt>
                <c:pt idx="8321">
                  <c:v>0</c:v>
                </c:pt>
                <c:pt idx="8322">
                  <c:v>0</c:v>
                </c:pt>
                <c:pt idx="8323">
                  <c:v>0</c:v>
                </c:pt>
                <c:pt idx="8324">
                  <c:v>0</c:v>
                </c:pt>
                <c:pt idx="8325">
                  <c:v>0</c:v>
                </c:pt>
                <c:pt idx="8326">
                  <c:v>0</c:v>
                </c:pt>
                <c:pt idx="8327">
                  <c:v>0</c:v>
                </c:pt>
                <c:pt idx="8328">
                  <c:v>0</c:v>
                </c:pt>
                <c:pt idx="8329">
                  <c:v>0</c:v>
                </c:pt>
                <c:pt idx="8330">
                  <c:v>0</c:v>
                </c:pt>
                <c:pt idx="8331">
                  <c:v>0</c:v>
                </c:pt>
                <c:pt idx="8332">
                  <c:v>0</c:v>
                </c:pt>
                <c:pt idx="8333">
                  <c:v>0</c:v>
                </c:pt>
                <c:pt idx="8334">
                  <c:v>0</c:v>
                </c:pt>
                <c:pt idx="8335">
                  <c:v>0</c:v>
                </c:pt>
                <c:pt idx="8336">
                  <c:v>0</c:v>
                </c:pt>
                <c:pt idx="8337">
                  <c:v>0</c:v>
                </c:pt>
                <c:pt idx="8338">
                  <c:v>0</c:v>
                </c:pt>
                <c:pt idx="8339">
                  <c:v>0</c:v>
                </c:pt>
                <c:pt idx="8340">
                  <c:v>0</c:v>
                </c:pt>
                <c:pt idx="8341">
                  <c:v>0</c:v>
                </c:pt>
                <c:pt idx="8342">
                  <c:v>0</c:v>
                </c:pt>
                <c:pt idx="8343">
                  <c:v>0</c:v>
                </c:pt>
                <c:pt idx="8344">
                  <c:v>0</c:v>
                </c:pt>
                <c:pt idx="8345">
                  <c:v>0</c:v>
                </c:pt>
                <c:pt idx="8346">
                  <c:v>0</c:v>
                </c:pt>
                <c:pt idx="8347">
                  <c:v>0</c:v>
                </c:pt>
                <c:pt idx="8348">
                  <c:v>0</c:v>
                </c:pt>
                <c:pt idx="8349">
                  <c:v>0</c:v>
                </c:pt>
                <c:pt idx="8350">
                  <c:v>0</c:v>
                </c:pt>
                <c:pt idx="8351">
                  <c:v>0</c:v>
                </c:pt>
                <c:pt idx="8352">
                  <c:v>0</c:v>
                </c:pt>
                <c:pt idx="8353">
                  <c:v>0</c:v>
                </c:pt>
                <c:pt idx="8354">
                  <c:v>0</c:v>
                </c:pt>
                <c:pt idx="8355">
                  <c:v>0</c:v>
                </c:pt>
                <c:pt idx="8356">
                  <c:v>0</c:v>
                </c:pt>
                <c:pt idx="8357">
                  <c:v>0</c:v>
                </c:pt>
                <c:pt idx="8358">
                  <c:v>0</c:v>
                </c:pt>
                <c:pt idx="8359">
                  <c:v>0</c:v>
                </c:pt>
                <c:pt idx="8360">
                  <c:v>0</c:v>
                </c:pt>
                <c:pt idx="8361">
                  <c:v>0</c:v>
                </c:pt>
                <c:pt idx="8362">
                  <c:v>0</c:v>
                </c:pt>
                <c:pt idx="8363">
                  <c:v>0</c:v>
                </c:pt>
                <c:pt idx="8364">
                  <c:v>0</c:v>
                </c:pt>
                <c:pt idx="8365">
                  <c:v>0</c:v>
                </c:pt>
                <c:pt idx="8366">
                  <c:v>0</c:v>
                </c:pt>
                <c:pt idx="8367">
                  <c:v>0</c:v>
                </c:pt>
                <c:pt idx="8368">
                  <c:v>0</c:v>
                </c:pt>
                <c:pt idx="8369">
                  <c:v>0</c:v>
                </c:pt>
                <c:pt idx="8370">
                  <c:v>0</c:v>
                </c:pt>
                <c:pt idx="8371">
                  <c:v>0</c:v>
                </c:pt>
                <c:pt idx="8372">
                  <c:v>0</c:v>
                </c:pt>
                <c:pt idx="8373">
                  <c:v>0</c:v>
                </c:pt>
                <c:pt idx="8374">
                  <c:v>0</c:v>
                </c:pt>
                <c:pt idx="8375">
                  <c:v>0</c:v>
                </c:pt>
                <c:pt idx="8376">
                  <c:v>0</c:v>
                </c:pt>
                <c:pt idx="8377">
                  <c:v>0</c:v>
                </c:pt>
                <c:pt idx="8378">
                  <c:v>0</c:v>
                </c:pt>
                <c:pt idx="8379">
                  <c:v>0</c:v>
                </c:pt>
                <c:pt idx="8380">
                  <c:v>0</c:v>
                </c:pt>
                <c:pt idx="8381">
                  <c:v>0</c:v>
                </c:pt>
                <c:pt idx="8382">
                  <c:v>0</c:v>
                </c:pt>
                <c:pt idx="8383">
                  <c:v>0</c:v>
                </c:pt>
                <c:pt idx="8384">
                  <c:v>0</c:v>
                </c:pt>
                <c:pt idx="8385">
                  <c:v>0</c:v>
                </c:pt>
                <c:pt idx="8386">
                  <c:v>0</c:v>
                </c:pt>
                <c:pt idx="8387">
                  <c:v>0</c:v>
                </c:pt>
                <c:pt idx="8388">
                  <c:v>0</c:v>
                </c:pt>
                <c:pt idx="8389">
                  <c:v>0</c:v>
                </c:pt>
                <c:pt idx="8390">
                  <c:v>0</c:v>
                </c:pt>
                <c:pt idx="8391">
                  <c:v>0</c:v>
                </c:pt>
                <c:pt idx="8392">
                  <c:v>0</c:v>
                </c:pt>
                <c:pt idx="8393">
                  <c:v>0</c:v>
                </c:pt>
                <c:pt idx="8394">
                  <c:v>0</c:v>
                </c:pt>
                <c:pt idx="8395">
                  <c:v>0</c:v>
                </c:pt>
                <c:pt idx="8396">
                  <c:v>0</c:v>
                </c:pt>
                <c:pt idx="8397">
                  <c:v>0</c:v>
                </c:pt>
                <c:pt idx="8398">
                  <c:v>0</c:v>
                </c:pt>
                <c:pt idx="8399">
                  <c:v>0</c:v>
                </c:pt>
                <c:pt idx="8400">
                  <c:v>0</c:v>
                </c:pt>
                <c:pt idx="8401">
                  <c:v>0</c:v>
                </c:pt>
                <c:pt idx="8402">
                  <c:v>0</c:v>
                </c:pt>
                <c:pt idx="8403">
                  <c:v>0</c:v>
                </c:pt>
                <c:pt idx="8404">
                  <c:v>0</c:v>
                </c:pt>
                <c:pt idx="8405">
                  <c:v>0</c:v>
                </c:pt>
                <c:pt idx="8406">
                  <c:v>0</c:v>
                </c:pt>
                <c:pt idx="8407">
                  <c:v>0</c:v>
                </c:pt>
                <c:pt idx="8408">
                  <c:v>0</c:v>
                </c:pt>
                <c:pt idx="8409">
                  <c:v>0</c:v>
                </c:pt>
                <c:pt idx="8410">
                  <c:v>0</c:v>
                </c:pt>
                <c:pt idx="8411">
                  <c:v>0</c:v>
                </c:pt>
                <c:pt idx="8412">
                  <c:v>0</c:v>
                </c:pt>
                <c:pt idx="8413">
                  <c:v>0</c:v>
                </c:pt>
                <c:pt idx="8414">
                  <c:v>0</c:v>
                </c:pt>
                <c:pt idx="8415">
                  <c:v>0</c:v>
                </c:pt>
                <c:pt idx="8416">
                  <c:v>0</c:v>
                </c:pt>
                <c:pt idx="8417">
                  <c:v>0</c:v>
                </c:pt>
                <c:pt idx="8418">
                  <c:v>0</c:v>
                </c:pt>
                <c:pt idx="8419">
                  <c:v>0</c:v>
                </c:pt>
                <c:pt idx="8420">
                  <c:v>0</c:v>
                </c:pt>
                <c:pt idx="8421">
                  <c:v>0</c:v>
                </c:pt>
                <c:pt idx="8422">
                  <c:v>0</c:v>
                </c:pt>
                <c:pt idx="8423">
                  <c:v>0</c:v>
                </c:pt>
                <c:pt idx="8424">
                  <c:v>0</c:v>
                </c:pt>
                <c:pt idx="8425">
                  <c:v>0</c:v>
                </c:pt>
                <c:pt idx="8426">
                  <c:v>0</c:v>
                </c:pt>
                <c:pt idx="8427">
                  <c:v>0</c:v>
                </c:pt>
                <c:pt idx="8428">
                  <c:v>0</c:v>
                </c:pt>
                <c:pt idx="8429">
                  <c:v>0</c:v>
                </c:pt>
                <c:pt idx="8430">
                  <c:v>0</c:v>
                </c:pt>
                <c:pt idx="8431">
                  <c:v>0</c:v>
                </c:pt>
                <c:pt idx="8432">
                  <c:v>0</c:v>
                </c:pt>
                <c:pt idx="8433">
                  <c:v>0</c:v>
                </c:pt>
                <c:pt idx="8434">
                  <c:v>0</c:v>
                </c:pt>
                <c:pt idx="8435">
                  <c:v>0</c:v>
                </c:pt>
                <c:pt idx="8436">
                  <c:v>0</c:v>
                </c:pt>
                <c:pt idx="8437">
                  <c:v>0</c:v>
                </c:pt>
                <c:pt idx="8438">
                  <c:v>0</c:v>
                </c:pt>
                <c:pt idx="8439">
                  <c:v>0</c:v>
                </c:pt>
                <c:pt idx="8440">
                  <c:v>0</c:v>
                </c:pt>
                <c:pt idx="8441">
                  <c:v>0</c:v>
                </c:pt>
                <c:pt idx="8442">
                  <c:v>0</c:v>
                </c:pt>
                <c:pt idx="8443">
                  <c:v>0</c:v>
                </c:pt>
                <c:pt idx="8444">
                  <c:v>0</c:v>
                </c:pt>
                <c:pt idx="8445">
                  <c:v>0</c:v>
                </c:pt>
                <c:pt idx="8446">
                  <c:v>0</c:v>
                </c:pt>
                <c:pt idx="8447">
                  <c:v>0</c:v>
                </c:pt>
                <c:pt idx="8448">
                  <c:v>0</c:v>
                </c:pt>
                <c:pt idx="8449">
                  <c:v>0</c:v>
                </c:pt>
                <c:pt idx="8450">
                  <c:v>0</c:v>
                </c:pt>
                <c:pt idx="8451">
                  <c:v>0</c:v>
                </c:pt>
                <c:pt idx="8452">
                  <c:v>0</c:v>
                </c:pt>
                <c:pt idx="8453">
                  <c:v>0</c:v>
                </c:pt>
                <c:pt idx="8454">
                  <c:v>0</c:v>
                </c:pt>
                <c:pt idx="8455">
                  <c:v>0</c:v>
                </c:pt>
                <c:pt idx="8456">
                  <c:v>0</c:v>
                </c:pt>
                <c:pt idx="8457">
                  <c:v>0</c:v>
                </c:pt>
                <c:pt idx="8458">
                  <c:v>0</c:v>
                </c:pt>
                <c:pt idx="8459">
                  <c:v>0</c:v>
                </c:pt>
                <c:pt idx="8460">
                  <c:v>0</c:v>
                </c:pt>
                <c:pt idx="8461">
                  <c:v>0</c:v>
                </c:pt>
                <c:pt idx="8462">
                  <c:v>0</c:v>
                </c:pt>
                <c:pt idx="8463">
                  <c:v>0</c:v>
                </c:pt>
                <c:pt idx="8464">
                  <c:v>0</c:v>
                </c:pt>
                <c:pt idx="8465">
                  <c:v>0</c:v>
                </c:pt>
                <c:pt idx="8466">
                  <c:v>0</c:v>
                </c:pt>
                <c:pt idx="8467">
                  <c:v>0</c:v>
                </c:pt>
                <c:pt idx="8468">
                  <c:v>0</c:v>
                </c:pt>
                <c:pt idx="8469">
                  <c:v>0</c:v>
                </c:pt>
                <c:pt idx="8470">
                  <c:v>0</c:v>
                </c:pt>
                <c:pt idx="8471">
                  <c:v>0</c:v>
                </c:pt>
                <c:pt idx="8472">
                  <c:v>0</c:v>
                </c:pt>
                <c:pt idx="8473">
                  <c:v>0</c:v>
                </c:pt>
                <c:pt idx="8474">
                  <c:v>0</c:v>
                </c:pt>
                <c:pt idx="8475">
                  <c:v>0</c:v>
                </c:pt>
                <c:pt idx="8476">
                  <c:v>0</c:v>
                </c:pt>
                <c:pt idx="8477">
                  <c:v>0</c:v>
                </c:pt>
                <c:pt idx="8478">
                  <c:v>0</c:v>
                </c:pt>
                <c:pt idx="8479">
                  <c:v>0</c:v>
                </c:pt>
                <c:pt idx="8480">
                  <c:v>0</c:v>
                </c:pt>
                <c:pt idx="8481">
                  <c:v>0</c:v>
                </c:pt>
                <c:pt idx="8482">
                  <c:v>0</c:v>
                </c:pt>
                <c:pt idx="8483">
                  <c:v>0</c:v>
                </c:pt>
                <c:pt idx="8484">
                  <c:v>0</c:v>
                </c:pt>
                <c:pt idx="8485">
                  <c:v>0</c:v>
                </c:pt>
                <c:pt idx="8486">
                  <c:v>0</c:v>
                </c:pt>
                <c:pt idx="8487">
                  <c:v>0</c:v>
                </c:pt>
                <c:pt idx="8488">
                  <c:v>0</c:v>
                </c:pt>
                <c:pt idx="8489">
                  <c:v>0</c:v>
                </c:pt>
                <c:pt idx="8490">
                  <c:v>0</c:v>
                </c:pt>
                <c:pt idx="8491">
                  <c:v>0</c:v>
                </c:pt>
                <c:pt idx="8492">
                  <c:v>0</c:v>
                </c:pt>
                <c:pt idx="8493">
                  <c:v>0</c:v>
                </c:pt>
                <c:pt idx="8494">
                  <c:v>0</c:v>
                </c:pt>
                <c:pt idx="8495">
                  <c:v>0</c:v>
                </c:pt>
                <c:pt idx="8496">
                  <c:v>0</c:v>
                </c:pt>
                <c:pt idx="8497">
                  <c:v>0</c:v>
                </c:pt>
                <c:pt idx="8498">
                  <c:v>0</c:v>
                </c:pt>
                <c:pt idx="8499">
                  <c:v>0</c:v>
                </c:pt>
                <c:pt idx="8500">
                  <c:v>0</c:v>
                </c:pt>
                <c:pt idx="8501">
                  <c:v>0</c:v>
                </c:pt>
                <c:pt idx="8502">
                  <c:v>0</c:v>
                </c:pt>
                <c:pt idx="8503">
                  <c:v>0</c:v>
                </c:pt>
                <c:pt idx="8504">
                  <c:v>0</c:v>
                </c:pt>
                <c:pt idx="8505">
                  <c:v>0</c:v>
                </c:pt>
                <c:pt idx="8506">
                  <c:v>0</c:v>
                </c:pt>
                <c:pt idx="8507">
                  <c:v>0</c:v>
                </c:pt>
                <c:pt idx="8508">
                  <c:v>0</c:v>
                </c:pt>
                <c:pt idx="8509">
                  <c:v>0</c:v>
                </c:pt>
                <c:pt idx="8510">
                  <c:v>0</c:v>
                </c:pt>
                <c:pt idx="8511">
                  <c:v>0</c:v>
                </c:pt>
                <c:pt idx="8512">
                  <c:v>0</c:v>
                </c:pt>
                <c:pt idx="8513">
                  <c:v>0</c:v>
                </c:pt>
                <c:pt idx="8514">
                  <c:v>0</c:v>
                </c:pt>
                <c:pt idx="8515">
                  <c:v>0</c:v>
                </c:pt>
                <c:pt idx="8516">
                  <c:v>0</c:v>
                </c:pt>
                <c:pt idx="8517">
                  <c:v>0</c:v>
                </c:pt>
                <c:pt idx="8518">
                  <c:v>0</c:v>
                </c:pt>
                <c:pt idx="8519">
                  <c:v>0</c:v>
                </c:pt>
                <c:pt idx="8520">
                  <c:v>0</c:v>
                </c:pt>
                <c:pt idx="8521">
                  <c:v>0</c:v>
                </c:pt>
                <c:pt idx="8522">
                  <c:v>0</c:v>
                </c:pt>
                <c:pt idx="8523">
                  <c:v>0</c:v>
                </c:pt>
                <c:pt idx="8524">
                  <c:v>0</c:v>
                </c:pt>
                <c:pt idx="8525">
                  <c:v>0</c:v>
                </c:pt>
                <c:pt idx="8526">
                  <c:v>0</c:v>
                </c:pt>
                <c:pt idx="8527">
                  <c:v>0</c:v>
                </c:pt>
                <c:pt idx="8528">
                  <c:v>0</c:v>
                </c:pt>
                <c:pt idx="8529">
                  <c:v>0</c:v>
                </c:pt>
                <c:pt idx="8530">
                  <c:v>0</c:v>
                </c:pt>
                <c:pt idx="8531">
                  <c:v>0</c:v>
                </c:pt>
                <c:pt idx="8532">
                  <c:v>0</c:v>
                </c:pt>
                <c:pt idx="8533">
                  <c:v>0</c:v>
                </c:pt>
                <c:pt idx="8534">
                  <c:v>0</c:v>
                </c:pt>
                <c:pt idx="8535">
                  <c:v>0</c:v>
                </c:pt>
                <c:pt idx="8536">
                  <c:v>0</c:v>
                </c:pt>
                <c:pt idx="8537">
                  <c:v>0</c:v>
                </c:pt>
                <c:pt idx="8538">
                  <c:v>0</c:v>
                </c:pt>
                <c:pt idx="8539">
                  <c:v>0</c:v>
                </c:pt>
                <c:pt idx="8540">
                  <c:v>0</c:v>
                </c:pt>
                <c:pt idx="8541">
                  <c:v>0</c:v>
                </c:pt>
                <c:pt idx="8542">
                  <c:v>0</c:v>
                </c:pt>
                <c:pt idx="8543">
                  <c:v>0</c:v>
                </c:pt>
                <c:pt idx="8544">
                  <c:v>0</c:v>
                </c:pt>
                <c:pt idx="8545">
                  <c:v>0</c:v>
                </c:pt>
                <c:pt idx="8546">
                  <c:v>0</c:v>
                </c:pt>
                <c:pt idx="8547">
                  <c:v>0</c:v>
                </c:pt>
                <c:pt idx="8548">
                  <c:v>0</c:v>
                </c:pt>
                <c:pt idx="8549">
                  <c:v>0</c:v>
                </c:pt>
                <c:pt idx="8550">
                  <c:v>0</c:v>
                </c:pt>
                <c:pt idx="8551">
                  <c:v>0</c:v>
                </c:pt>
                <c:pt idx="8552">
                  <c:v>0</c:v>
                </c:pt>
                <c:pt idx="8553">
                  <c:v>0</c:v>
                </c:pt>
                <c:pt idx="8554">
                  <c:v>0</c:v>
                </c:pt>
                <c:pt idx="8555">
                  <c:v>0</c:v>
                </c:pt>
                <c:pt idx="8556">
                  <c:v>0</c:v>
                </c:pt>
                <c:pt idx="8557">
                  <c:v>0</c:v>
                </c:pt>
                <c:pt idx="8558">
                  <c:v>0</c:v>
                </c:pt>
                <c:pt idx="8559">
                  <c:v>0</c:v>
                </c:pt>
                <c:pt idx="8560">
                  <c:v>0</c:v>
                </c:pt>
                <c:pt idx="8561">
                  <c:v>0</c:v>
                </c:pt>
                <c:pt idx="8562">
                  <c:v>0</c:v>
                </c:pt>
                <c:pt idx="8563">
                  <c:v>0</c:v>
                </c:pt>
                <c:pt idx="8564">
                  <c:v>0</c:v>
                </c:pt>
                <c:pt idx="8565">
                  <c:v>0</c:v>
                </c:pt>
                <c:pt idx="8566">
                  <c:v>0</c:v>
                </c:pt>
                <c:pt idx="8567">
                  <c:v>0</c:v>
                </c:pt>
                <c:pt idx="8568">
                  <c:v>0</c:v>
                </c:pt>
                <c:pt idx="8569">
                  <c:v>0</c:v>
                </c:pt>
                <c:pt idx="8570">
                  <c:v>0</c:v>
                </c:pt>
                <c:pt idx="8571">
                  <c:v>0</c:v>
                </c:pt>
                <c:pt idx="8572">
                  <c:v>0</c:v>
                </c:pt>
                <c:pt idx="8573">
                  <c:v>0</c:v>
                </c:pt>
                <c:pt idx="8574">
                  <c:v>0</c:v>
                </c:pt>
                <c:pt idx="8575">
                  <c:v>0</c:v>
                </c:pt>
                <c:pt idx="8576">
                  <c:v>0</c:v>
                </c:pt>
                <c:pt idx="8577">
                  <c:v>0</c:v>
                </c:pt>
                <c:pt idx="8578">
                  <c:v>0</c:v>
                </c:pt>
                <c:pt idx="8579">
                  <c:v>0</c:v>
                </c:pt>
                <c:pt idx="8580">
                  <c:v>0</c:v>
                </c:pt>
                <c:pt idx="8581">
                  <c:v>0</c:v>
                </c:pt>
                <c:pt idx="8582">
                  <c:v>0</c:v>
                </c:pt>
                <c:pt idx="8583">
                  <c:v>0</c:v>
                </c:pt>
                <c:pt idx="8584">
                  <c:v>0</c:v>
                </c:pt>
                <c:pt idx="8585">
                  <c:v>0</c:v>
                </c:pt>
                <c:pt idx="8586">
                  <c:v>0</c:v>
                </c:pt>
                <c:pt idx="8587">
                  <c:v>0</c:v>
                </c:pt>
                <c:pt idx="8588">
                  <c:v>0</c:v>
                </c:pt>
                <c:pt idx="8589">
                  <c:v>0</c:v>
                </c:pt>
                <c:pt idx="8590">
                  <c:v>0</c:v>
                </c:pt>
                <c:pt idx="8591">
                  <c:v>0</c:v>
                </c:pt>
                <c:pt idx="8592">
                  <c:v>0</c:v>
                </c:pt>
                <c:pt idx="8593">
                  <c:v>0</c:v>
                </c:pt>
                <c:pt idx="8594">
                  <c:v>0</c:v>
                </c:pt>
                <c:pt idx="8595">
                  <c:v>0</c:v>
                </c:pt>
                <c:pt idx="8596">
                  <c:v>0</c:v>
                </c:pt>
                <c:pt idx="8597">
                  <c:v>0</c:v>
                </c:pt>
                <c:pt idx="8598">
                  <c:v>0</c:v>
                </c:pt>
                <c:pt idx="8599">
                  <c:v>0</c:v>
                </c:pt>
                <c:pt idx="8600">
                  <c:v>0</c:v>
                </c:pt>
                <c:pt idx="8601">
                  <c:v>0</c:v>
                </c:pt>
                <c:pt idx="8602">
                  <c:v>0</c:v>
                </c:pt>
                <c:pt idx="8603">
                  <c:v>0</c:v>
                </c:pt>
                <c:pt idx="8604">
                  <c:v>0</c:v>
                </c:pt>
                <c:pt idx="8605">
                  <c:v>0</c:v>
                </c:pt>
                <c:pt idx="8606">
                  <c:v>0</c:v>
                </c:pt>
                <c:pt idx="8607">
                  <c:v>0</c:v>
                </c:pt>
                <c:pt idx="8608">
                  <c:v>0</c:v>
                </c:pt>
                <c:pt idx="8609">
                  <c:v>0</c:v>
                </c:pt>
                <c:pt idx="8610">
                  <c:v>0</c:v>
                </c:pt>
                <c:pt idx="8611">
                  <c:v>0</c:v>
                </c:pt>
                <c:pt idx="8612">
                  <c:v>0</c:v>
                </c:pt>
                <c:pt idx="8613">
                  <c:v>0</c:v>
                </c:pt>
                <c:pt idx="8614">
                  <c:v>0</c:v>
                </c:pt>
                <c:pt idx="8615">
                  <c:v>0</c:v>
                </c:pt>
                <c:pt idx="8616">
                  <c:v>0</c:v>
                </c:pt>
                <c:pt idx="8617">
                  <c:v>0</c:v>
                </c:pt>
                <c:pt idx="8618">
                  <c:v>0</c:v>
                </c:pt>
                <c:pt idx="8619">
                  <c:v>0</c:v>
                </c:pt>
                <c:pt idx="8620">
                  <c:v>0</c:v>
                </c:pt>
                <c:pt idx="8621">
                  <c:v>0</c:v>
                </c:pt>
                <c:pt idx="8622">
                  <c:v>0</c:v>
                </c:pt>
                <c:pt idx="8623">
                  <c:v>0</c:v>
                </c:pt>
                <c:pt idx="8624">
                  <c:v>0</c:v>
                </c:pt>
                <c:pt idx="8625">
                  <c:v>0</c:v>
                </c:pt>
                <c:pt idx="8626">
                  <c:v>0</c:v>
                </c:pt>
                <c:pt idx="8627">
                  <c:v>0</c:v>
                </c:pt>
                <c:pt idx="8628">
                  <c:v>0</c:v>
                </c:pt>
                <c:pt idx="8629">
                  <c:v>0</c:v>
                </c:pt>
                <c:pt idx="8630">
                  <c:v>0</c:v>
                </c:pt>
                <c:pt idx="8631">
                  <c:v>0</c:v>
                </c:pt>
                <c:pt idx="8632">
                  <c:v>0</c:v>
                </c:pt>
                <c:pt idx="8633">
                  <c:v>0</c:v>
                </c:pt>
                <c:pt idx="8634">
                  <c:v>0</c:v>
                </c:pt>
                <c:pt idx="8635">
                  <c:v>0</c:v>
                </c:pt>
                <c:pt idx="8636">
                  <c:v>0</c:v>
                </c:pt>
                <c:pt idx="8637">
                  <c:v>0</c:v>
                </c:pt>
                <c:pt idx="8638">
                  <c:v>0</c:v>
                </c:pt>
                <c:pt idx="8639">
                  <c:v>0</c:v>
                </c:pt>
                <c:pt idx="8640">
                  <c:v>0</c:v>
                </c:pt>
                <c:pt idx="8641">
                  <c:v>0</c:v>
                </c:pt>
                <c:pt idx="8642">
                  <c:v>0</c:v>
                </c:pt>
                <c:pt idx="8643">
                  <c:v>0</c:v>
                </c:pt>
                <c:pt idx="8644">
                  <c:v>0</c:v>
                </c:pt>
                <c:pt idx="8645">
                  <c:v>0</c:v>
                </c:pt>
                <c:pt idx="8646">
                  <c:v>0</c:v>
                </c:pt>
                <c:pt idx="8647">
                  <c:v>0</c:v>
                </c:pt>
                <c:pt idx="8648">
                  <c:v>0</c:v>
                </c:pt>
                <c:pt idx="8649">
                  <c:v>0</c:v>
                </c:pt>
                <c:pt idx="8650">
                  <c:v>0</c:v>
                </c:pt>
                <c:pt idx="8651">
                  <c:v>0</c:v>
                </c:pt>
                <c:pt idx="8652">
                  <c:v>0</c:v>
                </c:pt>
                <c:pt idx="8653">
                  <c:v>0</c:v>
                </c:pt>
                <c:pt idx="8654">
                  <c:v>0</c:v>
                </c:pt>
                <c:pt idx="8655">
                  <c:v>0</c:v>
                </c:pt>
                <c:pt idx="8656">
                  <c:v>0</c:v>
                </c:pt>
                <c:pt idx="8657">
                  <c:v>0</c:v>
                </c:pt>
                <c:pt idx="8658">
                  <c:v>0</c:v>
                </c:pt>
                <c:pt idx="8659">
                  <c:v>0</c:v>
                </c:pt>
                <c:pt idx="8660">
                  <c:v>0</c:v>
                </c:pt>
                <c:pt idx="8661">
                  <c:v>0</c:v>
                </c:pt>
                <c:pt idx="8662">
                  <c:v>0</c:v>
                </c:pt>
                <c:pt idx="8663">
                  <c:v>0</c:v>
                </c:pt>
                <c:pt idx="8664">
                  <c:v>0</c:v>
                </c:pt>
                <c:pt idx="8665">
                  <c:v>0</c:v>
                </c:pt>
                <c:pt idx="8666">
                  <c:v>0</c:v>
                </c:pt>
                <c:pt idx="8667">
                  <c:v>0</c:v>
                </c:pt>
                <c:pt idx="8668">
                  <c:v>0</c:v>
                </c:pt>
                <c:pt idx="8669">
                  <c:v>0</c:v>
                </c:pt>
                <c:pt idx="8670">
                  <c:v>0</c:v>
                </c:pt>
                <c:pt idx="8671">
                  <c:v>0</c:v>
                </c:pt>
                <c:pt idx="8672">
                  <c:v>0</c:v>
                </c:pt>
                <c:pt idx="8673">
                  <c:v>0</c:v>
                </c:pt>
                <c:pt idx="8674">
                  <c:v>0</c:v>
                </c:pt>
                <c:pt idx="8675">
                  <c:v>0</c:v>
                </c:pt>
                <c:pt idx="8676">
                  <c:v>0</c:v>
                </c:pt>
                <c:pt idx="8677">
                  <c:v>0</c:v>
                </c:pt>
                <c:pt idx="8678">
                  <c:v>0</c:v>
                </c:pt>
                <c:pt idx="8679">
                  <c:v>0</c:v>
                </c:pt>
                <c:pt idx="8680">
                  <c:v>0</c:v>
                </c:pt>
                <c:pt idx="8681">
                  <c:v>0</c:v>
                </c:pt>
                <c:pt idx="8682">
                  <c:v>0</c:v>
                </c:pt>
                <c:pt idx="8683">
                  <c:v>0</c:v>
                </c:pt>
                <c:pt idx="8684">
                  <c:v>0</c:v>
                </c:pt>
                <c:pt idx="8685">
                  <c:v>0</c:v>
                </c:pt>
                <c:pt idx="8686">
                  <c:v>0</c:v>
                </c:pt>
                <c:pt idx="8687">
                  <c:v>0</c:v>
                </c:pt>
                <c:pt idx="8688">
                  <c:v>0</c:v>
                </c:pt>
                <c:pt idx="8689">
                  <c:v>0</c:v>
                </c:pt>
                <c:pt idx="8690">
                  <c:v>0</c:v>
                </c:pt>
                <c:pt idx="8691">
                  <c:v>0</c:v>
                </c:pt>
                <c:pt idx="8692">
                  <c:v>0</c:v>
                </c:pt>
                <c:pt idx="8693">
                  <c:v>0</c:v>
                </c:pt>
                <c:pt idx="8694">
                  <c:v>0</c:v>
                </c:pt>
                <c:pt idx="8695">
                  <c:v>0</c:v>
                </c:pt>
                <c:pt idx="8696">
                  <c:v>0</c:v>
                </c:pt>
                <c:pt idx="8697">
                  <c:v>0</c:v>
                </c:pt>
                <c:pt idx="8698">
                  <c:v>0</c:v>
                </c:pt>
                <c:pt idx="8699">
                  <c:v>0</c:v>
                </c:pt>
                <c:pt idx="8700">
                  <c:v>0</c:v>
                </c:pt>
                <c:pt idx="8701">
                  <c:v>0</c:v>
                </c:pt>
                <c:pt idx="8702">
                  <c:v>0</c:v>
                </c:pt>
                <c:pt idx="8703">
                  <c:v>0</c:v>
                </c:pt>
                <c:pt idx="8704">
                  <c:v>0</c:v>
                </c:pt>
                <c:pt idx="8705">
                  <c:v>0</c:v>
                </c:pt>
                <c:pt idx="8706">
                  <c:v>0</c:v>
                </c:pt>
                <c:pt idx="8707">
                  <c:v>0</c:v>
                </c:pt>
                <c:pt idx="8708">
                  <c:v>0</c:v>
                </c:pt>
                <c:pt idx="8709">
                  <c:v>0</c:v>
                </c:pt>
                <c:pt idx="8710">
                  <c:v>0</c:v>
                </c:pt>
                <c:pt idx="8711">
                  <c:v>0</c:v>
                </c:pt>
                <c:pt idx="8712">
                  <c:v>0</c:v>
                </c:pt>
                <c:pt idx="8713">
                  <c:v>0</c:v>
                </c:pt>
                <c:pt idx="8714">
                  <c:v>0</c:v>
                </c:pt>
                <c:pt idx="8715">
                  <c:v>0</c:v>
                </c:pt>
                <c:pt idx="8716">
                  <c:v>0</c:v>
                </c:pt>
                <c:pt idx="8717">
                  <c:v>0</c:v>
                </c:pt>
                <c:pt idx="8718">
                  <c:v>0</c:v>
                </c:pt>
                <c:pt idx="8719">
                  <c:v>0</c:v>
                </c:pt>
                <c:pt idx="8720">
                  <c:v>0</c:v>
                </c:pt>
                <c:pt idx="8721">
                  <c:v>0</c:v>
                </c:pt>
                <c:pt idx="8722">
                  <c:v>0</c:v>
                </c:pt>
                <c:pt idx="8723">
                  <c:v>0</c:v>
                </c:pt>
                <c:pt idx="8724">
                  <c:v>0</c:v>
                </c:pt>
                <c:pt idx="8725">
                  <c:v>0</c:v>
                </c:pt>
                <c:pt idx="8726">
                  <c:v>0</c:v>
                </c:pt>
                <c:pt idx="8727">
                  <c:v>0</c:v>
                </c:pt>
                <c:pt idx="8728">
                  <c:v>0</c:v>
                </c:pt>
                <c:pt idx="8729">
                  <c:v>0</c:v>
                </c:pt>
                <c:pt idx="8730">
                  <c:v>0</c:v>
                </c:pt>
                <c:pt idx="8731">
                  <c:v>0</c:v>
                </c:pt>
                <c:pt idx="8732">
                  <c:v>0</c:v>
                </c:pt>
                <c:pt idx="8733">
                  <c:v>0</c:v>
                </c:pt>
                <c:pt idx="8734">
                  <c:v>0</c:v>
                </c:pt>
                <c:pt idx="8735">
                  <c:v>0</c:v>
                </c:pt>
                <c:pt idx="8736">
                  <c:v>0</c:v>
                </c:pt>
                <c:pt idx="8737">
                  <c:v>0</c:v>
                </c:pt>
                <c:pt idx="8738">
                  <c:v>0</c:v>
                </c:pt>
                <c:pt idx="8739">
                  <c:v>0</c:v>
                </c:pt>
                <c:pt idx="8740">
                  <c:v>0</c:v>
                </c:pt>
                <c:pt idx="8741">
                  <c:v>0</c:v>
                </c:pt>
                <c:pt idx="8742">
                  <c:v>0</c:v>
                </c:pt>
                <c:pt idx="8743">
                  <c:v>0</c:v>
                </c:pt>
                <c:pt idx="8744">
                  <c:v>0</c:v>
                </c:pt>
                <c:pt idx="8745">
                  <c:v>0</c:v>
                </c:pt>
                <c:pt idx="8746">
                  <c:v>0</c:v>
                </c:pt>
                <c:pt idx="8747">
                  <c:v>0</c:v>
                </c:pt>
                <c:pt idx="8748">
                  <c:v>0</c:v>
                </c:pt>
                <c:pt idx="8749">
                  <c:v>0</c:v>
                </c:pt>
                <c:pt idx="8750">
                  <c:v>0</c:v>
                </c:pt>
                <c:pt idx="8751">
                  <c:v>0</c:v>
                </c:pt>
                <c:pt idx="8752">
                  <c:v>0</c:v>
                </c:pt>
                <c:pt idx="8753">
                  <c:v>0</c:v>
                </c:pt>
                <c:pt idx="8754">
                  <c:v>0</c:v>
                </c:pt>
                <c:pt idx="8755">
                  <c:v>0</c:v>
                </c:pt>
                <c:pt idx="8756">
                  <c:v>0</c:v>
                </c:pt>
                <c:pt idx="8757">
                  <c:v>0</c:v>
                </c:pt>
                <c:pt idx="8758">
                  <c:v>0</c:v>
                </c:pt>
                <c:pt idx="8759">
                  <c:v>0</c:v>
                </c:pt>
                <c:pt idx="8760">
                  <c:v>0</c:v>
                </c:pt>
              </c:numCache>
            </c:numRef>
          </c:val>
          <c:smooth val="0"/>
          <c:extLst>
            <c:ext xmlns:c16="http://schemas.microsoft.com/office/drawing/2014/chart" uri="{C3380CC4-5D6E-409C-BE32-E72D297353CC}">
              <c16:uniqueId val="{00000001-22EE-45F4-888D-DD26CCDAE1CB}"/>
            </c:ext>
          </c:extLst>
        </c:ser>
        <c:dLbls>
          <c:showLegendKey val="0"/>
          <c:showVal val="0"/>
          <c:showCatName val="0"/>
          <c:showSerName val="0"/>
          <c:showPercent val="0"/>
          <c:showBubbleSize val="0"/>
        </c:dLbls>
        <c:smooth val="0"/>
        <c:axId val="31367168"/>
        <c:axId val="31368704"/>
      </c:lineChart>
      <c:catAx>
        <c:axId val="31367168"/>
        <c:scaling>
          <c:orientation val="minMax"/>
        </c:scaling>
        <c:delete val="0"/>
        <c:axPos val="b"/>
        <c:numFmt formatCode="General" sourceLinked="1"/>
        <c:majorTickMark val="in"/>
        <c:minorTickMark val="none"/>
        <c:tickLblPos val="nextTo"/>
        <c:spPr>
          <a:ln>
            <a:solidFill>
              <a:schemeClr val="bg1">
                <a:lumMod val="65000"/>
              </a:schemeClr>
            </a:solidFill>
          </a:ln>
        </c:spPr>
        <c:crossAx val="31368704"/>
        <c:crosses val="autoZero"/>
        <c:auto val="1"/>
        <c:lblAlgn val="ctr"/>
        <c:lblOffset val="100"/>
        <c:tickLblSkip val="1000"/>
        <c:tickMarkSkip val="1000"/>
        <c:noMultiLvlLbl val="0"/>
      </c:catAx>
      <c:valAx>
        <c:axId val="31368704"/>
        <c:scaling>
          <c:orientation val="minMax"/>
          <c:max val="1500"/>
        </c:scaling>
        <c:delete val="0"/>
        <c:axPos val="l"/>
        <c:majorGridlines>
          <c:spPr>
            <a:ln>
              <a:solidFill>
                <a:schemeClr val="bg1">
                  <a:lumMod val="75000"/>
                </a:schemeClr>
              </a:solidFill>
            </a:ln>
          </c:spPr>
        </c:majorGridlines>
        <c:title>
          <c:tx>
            <c:rich>
              <a:bodyPr rot="0" vert="horz"/>
              <a:lstStyle/>
              <a:p>
                <a:pPr>
                  <a:defRPr sz="1400"/>
                </a:pPr>
                <a:r>
                  <a:rPr lang="da-DK" sz="1400" dirty="0"/>
                  <a:t>DKK/MWh</a:t>
                </a:r>
              </a:p>
            </c:rich>
          </c:tx>
          <c:layout>
            <c:manualLayout>
              <c:xMode val="edge"/>
              <c:yMode val="edge"/>
              <c:x val="9.6773503197542677E-3"/>
              <c:y val="7.0540040894553027E-2"/>
            </c:manualLayout>
          </c:layout>
          <c:overlay val="0"/>
        </c:title>
        <c:numFmt formatCode="#,##0" sourceLinked="0"/>
        <c:majorTickMark val="out"/>
        <c:minorTickMark val="in"/>
        <c:tickLblPos val="nextTo"/>
        <c:crossAx val="31367168"/>
        <c:crosses val="autoZero"/>
        <c:crossBetween val="between"/>
        <c:majorUnit val="500"/>
        <c:minorUnit val="250"/>
      </c:valAx>
      <c:spPr>
        <a:noFill/>
        <a:ln w="25400">
          <a:noFill/>
        </a:ln>
      </c:spPr>
    </c:plotArea>
    <c:legend>
      <c:legendPos val="b"/>
      <c:layout>
        <c:manualLayout>
          <c:xMode val="edge"/>
          <c:yMode val="edge"/>
          <c:x val="4.6626249107069341E-2"/>
          <c:y val="0.77985012556295985"/>
          <c:w val="0.92023772535710591"/>
          <c:h val="0.16927908623906304"/>
        </c:manualLayout>
      </c:layout>
      <c:overlay val="0"/>
      <c:spPr>
        <a:solidFill>
          <a:schemeClr val="bg1"/>
        </a:solidFill>
        <a:ln w="22225">
          <a:noFill/>
        </a:ln>
      </c:spPr>
    </c:legend>
    <c:plotVisOnly val="1"/>
    <c:dispBlanksAs val="gap"/>
    <c:showDLblsOverMax val="0"/>
  </c:chart>
  <c:spPr>
    <a:ln>
      <a:noFill/>
    </a:ln>
  </c:spPr>
  <c:txPr>
    <a:bodyPr/>
    <a:lstStyle/>
    <a:p>
      <a:pPr>
        <a:defRPr sz="1600"/>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49F28D-8083-431D-9DFD-942FBB4DA1DE}"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lang="en-GB"/>
        </a:p>
      </dgm:t>
    </dgm:pt>
    <dgm:pt modelId="{50292D98-F5D5-452B-8C07-5BEFC0E23D7C}">
      <dgm:prSet custT="1"/>
      <dgm:spPr/>
      <dgm:t>
        <a:bodyPr/>
        <a:lstStyle/>
        <a:p>
          <a:r>
            <a:rPr lang="en-US" sz="1400" b="1" dirty="0"/>
            <a:t>Socially acceptable</a:t>
          </a:r>
          <a:endParaRPr lang="en-GB" sz="1400" dirty="0"/>
        </a:p>
      </dgm:t>
    </dgm:pt>
    <dgm:pt modelId="{633FE7F4-6BC3-445A-905B-785D274C9DB4}" type="parTrans" cxnId="{3C328C35-3E66-48E9-B2B2-E02ED5DEE0F8}">
      <dgm:prSet/>
      <dgm:spPr/>
      <dgm:t>
        <a:bodyPr/>
        <a:lstStyle/>
        <a:p>
          <a:endParaRPr lang="en-GB"/>
        </a:p>
      </dgm:t>
    </dgm:pt>
    <dgm:pt modelId="{09AC8823-9794-4CAE-BAD8-9F25547B1AEC}" type="sibTrans" cxnId="{3C328C35-3E66-48E9-B2B2-E02ED5DEE0F8}">
      <dgm:prSet/>
      <dgm:spPr/>
      <dgm:t>
        <a:bodyPr/>
        <a:lstStyle/>
        <a:p>
          <a:endParaRPr lang="en-GB"/>
        </a:p>
      </dgm:t>
    </dgm:pt>
    <dgm:pt modelId="{F5002645-D88D-491A-935C-378BEB679098}">
      <dgm:prSet custT="1"/>
      <dgm:spPr/>
      <dgm:t>
        <a:bodyPr/>
        <a:lstStyle/>
        <a:p>
          <a:r>
            <a:rPr lang="en-US" sz="1400" b="1" dirty="0"/>
            <a:t>Grid balancing &amp; flexibility, </a:t>
          </a:r>
          <a:r>
            <a:rPr lang="en-US" sz="1400" b="1" dirty="0" err="1"/>
            <a:t>SoS</a:t>
          </a:r>
          <a:r>
            <a:rPr lang="en-US" sz="1400" b="1" dirty="0"/>
            <a:t> </a:t>
          </a:r>
          <a:endParaRPr lang="en-GB" sz="1400" dirty="0"/>
        </a:p>
      </dgm:t>
    </dgm:pt>
    <dgm:pt modelId="{5C724708-7BE8-4D5F-8A53-62EE9B7E6914}" type="parTrans" cxnId="{38B457CA-C2F4-4F7E-91CF-1346F1D577F1}">
      <dgm:prSet/>
      <dgm:spPr/>
      <dgm:t>
        <a:bodyPr/>
        <a:lstStyle/>
        <a:p>
          <a:endParaRPr lang="en-GB"/>
        </a:p>
      </dgm:t>
    </dgm:pt>
    <dgm:pt modelId="{CF40D8CF-8644-4825-A62F-CF55B549E0D8}" type="sibTrans" cxnId="{38B457CA-C2F4-4F7E-91CF-1346F1D577F1}">
      <dgm:prSet/>
      <dgm:spPr/>
      <dgm:t>
        <a:bodyPr/>
        <a:lstStyle/>
        <a:p>
          <a:endParaRPr lang="en-GB"/>
        </a:p>
      </dgm:t>
    </dgm:pt>
    <dgm:pt modelId="{C0721E84-8588-4F71-A7FD-95C95E139FEF}">
      <dgm:prSet custT="1"/>
      <dgm:spPr/>
      <dgm:t>
        <a:bodyPr/>
        <a:lstStyle/>
        <a:p>
          <a:r>
            <a:rPr lang="en-US" sz="1400" b="1" dirty="0"/>
            <a:t>Delivers affordable energy </a:t>
          </a:r>
          <a:endParaRPr lang="en-GB" sz="1400" dirty="0"/>
        </a:p>
      </dgm:t>
    </dgm:pt>
    <dgm:pt modelId="{ACF956A2-D14C-4526-B05D-E632371C8F0E}" type="parTrans" cxnId="{2789E217-007A-4CDE-A3C6-7D638F450B57}">
      <dgm:prSet/>
      <dgm:spPr/>
      <dgm:t>
        <a:bodyPr/>
        <a:lstStyle/>
        <a:p>
          <a:endParaRPr lang="en-GB"/>
        </a:p>
      </dgm:t>
    </dgm:pt>
    <dgm:pt modelId="{A16B6C0E-C337-4C32-BAB6-32B3CF83906E}" type="sibTrans" cxnId="{2789E217-007A-4CDE-A3C6-7D638F450B57}">
      <dgm:prSet/>
      <dgm:spPr/>
      <dgm:t>
        <a:bodyPr/>
        <a:lstStyle/>
        <a:p>
          <a:endParaRPr lang="en-GB"/>
        </a:p>
      </dgm:t>
    </dgm:pt>
    <dgm:pt modelId="{55FF0B09-9DBB-48B3-B56B-81D3698408E9}">
      <dgm:prSet custT="1"/>
      <dgm:spPr/>
      <dgm:t>
        <a:bodyPr/>
        <a:lstStyle/>
        <a:p>
          <a:r>
            <a:rPr lang="en-US" sz="1400" b="1" dirty="0"/>
            <a:t>Delivers fast emission reductions</a:t>
          </a:r>
          <a:endParaRPr lang="en-GB" sz="1400" b="1" dirty="0"/>
        </a:p>
      </dgm:t>
    </dgm:pt>
    <dgm:pt modelId="{8059CB3F-23CA-428D-89E0-446010819911}" type="parTrans" cxnId="{FC6AEC71-5A81-4AE3-BBC6-B78AE887750D}">
      <dgm:prSet/>
      <dgm:spPr/>
      <dgm:t>
        <a:bodyPr/>
        <a:lstStyle/>
        <a:p>
          <a:endParaRPr lang="en-GB"/>
        </a:p>
      </dgm:t>
    </dgm:pt>
    <dgm:pt modelId="{1F659C95-6489-4222-9625-301D76C469C1}" type="sibTrans" cxnId="{FC6AEC71-5A81-4AE3-BBC6-B78AE887750D}">
      <dgm:prSet/>
      <dgm:spPr/>
      <dgm:t>
        <a:bodyPr/>
        <a:lstStyle/>
        <a:p>
          <a:endParaRPr lang="en-GB"/>
        </a:p>
      </dgm:t>
    </dgm:pt>
    <dgm:pt modelId="{A45CD095-0EB1-4893-B1C2-AE00099200DB}">
      <dgm:prSet custT="1"/>
      <dgm:spPr/>
      <dgm:t>
        <a:bodyPr/>
        <a:lstStyle/>
        <a:p>
          <a:r>
            <a:rPr lang="en-US" sz="1400" b="1" dirty="0"/>
            <a:t>Reliable energy supplier</a:t>
          </a:r>
          <a:endParaRPr lang="en-GB" sz="1400" dirty="0"/>
        </a:p>
      </dgm:t>
    </dgm:pt>
    <dgm:pt modelId="{35427FCC-7882-4DCB-A44C-8707FA621E8B}" type="parTrans" cxnId="{A3E48A3A-DE4E-44C1-9906-F6AD59DC0D86}">
      <dgm:prSet/>
      <dgm:spPr/>
      <dgm:t>
        <a:bodyPr/>
        <a:lstStyle/>
        <a:p>
          <a:endParaRPr lang="en-GB"/>
        </a:p>
      </dgm:t>
    </dgm:pt>
    <dgm:pt modelId="{D2794BAF-A9ED-421C-BEAE-9DC144C09909}" type="sibTrans" cxnId="{A3E48A3A-DE4E-44C1-9906-F6AD59DC0D86}">
      <dgm:prSet/>
      <dgm:spPr/>
      <dgm:t>
        <a:bodyPr/>
        <a:lstStyle/>
        <a:p>
          <a:endParaRPr lang="en-GB"/>
        </a:p>
      </dgm:t>
    </dgm:pt>
    <dgm:pt modelId="{0E984AA5-48AF-40D0-8B09-57CA7CD2972E}" type="pres">
      <dgm:prSet presAssocID="{6049F28D-8083-431D-9DFD-942FBB4DA1DE}" presName="arrowDiagram" presStyleCnt="0">
        <dgm:presLayoutVars>
          <dgm:chMax val="5"/>
          <dgm:dir/>
          <dgm:resizeHandles val="exact"/>
        </dgm:presLayoutVars>
      </dgm:prSet>
      <dgm:spPr/>
    </dgm:pt>
    <dgm:pt modelId="{D500D363-D9A2-43A1-B66F-A7CCE3C57237}" type="pres">
      <dgm:prSet presAssocID="{6049F28D-8083-431D-9DFD-942FBB4DA1DE}" presName="arrow" presStyleLbl="bgShp" presStyleIdx="0" presStyleCnt="1"/>
      <dgm:spPr/>
    </dgm:pt>
    <dgm:pt modelId="{4D859ECA-B137-4560-AD71-3B23E3E89737}" type="pres">
      <dgm:prSet presAssocID="{6049F28D-8083-431D-9DFD-942FBB4DA1DE}" presName="arrowDiagram5" presStyleCnt="0"/>
      <dgm:spPr/>
    </dgm:pt>
    <dgm:pt modelId="{02AD3522-C6F7-4BA0-8B4C-8A1EB84AF2F5}" type="pres">
      <dgm:prSet presAssocID="{50292D98-F5D5-452B-8C07-5BEFC0E23D7C}" presName="bullet5a" presStyleLbl="node1" presStyleIdx="0" presStyleCnt="5"/>
      <dgm:spPr/>
    </dgm:pt>
    <dgm:pt modelId="{1D59DF07-E565-4036-B3C1-3A5640CFC406}" type="pres">
      <dgm:prSet presAssocID="{50292D98-F5D5-452B-8C07-5BEFC0E23D7C}" presName="textBox5a" presStyleLbl="revTx" presStyleIdx="0" presStyleCnt="5" custScaleX="110046">
        <dgm:presLayoutVars>
          <dgm:bulletEnabled val="1"/>
        </dgm:presLayoutVars>
      </dgm:prSet>
      <dgm:spPr/>
    </dgm:pt>
    <dgm:pt modelId="{ED3D2B37-6173-4343-A88E-FEA934D439D1}" type="pres">
      <dgm:prSet presAssocID="{A45CD095-0EB1-4893-B1C2-AE00099200DB}" presName="bullet5b" presStyleLbl="node1" presStyleIdx="1" presStyleCnt="5"/>
      <dgm:spPr/>
    </dgm:pt>
    <dgm:pt modelId="{22CE4149-758A-4F11-AE1A-2CB1C0909197}" type="pres">
      <dgm:prSet presAssocID="{A45CD095-0EB1-4893-B1C2-AE00099200DB}" presName="textBox5b" presStyleLbl="revTx" presStyleIdx="1" presStyleCnt="5">
        <dgm:presLayoutVars>
          <dgm:bulletEnabled val="1"/>
        </dgm:presLayoutVars>
      </dgm:prSet>
      <dgm:spPr/>
    </dgm:pt>
    <dgm:pt modelId="{F9BFB045-9502-4B0F-BD28-4894BCD1234F}" type="pres">
      <dgm:prSet presAssocID="{F5002645-D88D-491A-935C-378BEB679098}" presName="bullet5c" presStyleLbl="node1" presStyleIdx="2" presStyleCnt="5"/>
      <dgm:spPr/>
    </dgm:pt>
    <dgm:pt modelId="{D2219AF1-0472-4A37-84D8-CDC673A12B25}" type="pres">
      <dgm:prSet presAssocID="{F5002645-D88D-491A-935C-378BEB679098}" presName="textBox5c" presStyleLbl="revTx" presStyleIdx="2" presStyleCnt="5">
        <dgm:presLayoutVars>
          <dgm:bulletEnabled val="1"/>
        </dgm:presLayoutVars>
      </dgm:prSet>
      <dgm:spPr/>
    </dgm:pt>
    <dgm:pt modelId="{BFD32D44-7A6D-42CC-A4A9-599E76D9CAEC}" type="pres">
      <dgm:prSet presAssocID="{C0721E84-8588-4F71-A7FD-95C95E139FEF}" presName="bullet5d" presStyleLbl="node1" presStyleIdx="3" presStyleCnt="5"/>
      <dgm:spPr/>
    </dgm:pt>
    <dgm:pt modelId="{3E4F715A-C736-4862-9140-CD8E13554B9C}" type="pres">
      <dgm:prSet presAssocID="{C0721E84-8588-4F71-A7FD-95C95E139FEF}" presName="textBox5d" presStyleLbl="revTx" presStyleIdx="3" presStyleCnt="5">
        <dgm:presLayoutVars>
          <dgm:bulletEnabled val="1"/>
        </dgm:presLayoutVars>
      </dgm:prSet>
      <dgm:spPr/>
    </dgm:pt>
    <dgm:pt modelId="{2D92A1D2-A524-4070-AB90-0AEFE3C42A0F}" type="pres">
      <dgm:prSet presAssocID="{55FF0B09-9DBB-48B3-B56B-81D3698408E9}" presName="bullet5e" presStyleLbl="node1" presStyleIdx="4" presStyleCnt="5"/>
      <dgm:spPr/>
    </dgm:pt>
    <dgm:pt modelId="{D3F2CFA5-B98E-410A-A7B2-2CAED721B7FD}" type="pres">
      <dgm:prSet presAssocID="{55FF0B09-9DBB-48B3-B56B-81D3698408E9}" presName="textBox5e" presStyleLbl="revTx" presStyleIdx="4" presStyleCnt="5">
        <dgm:presLayoutVars>
          <dgm:bulletEnabled val="1"/>
        </dgm:presLayoutVars>
      </dgm:prSet>
      <dgm:spPr/>
    </dgm:pt>
  </dgm:ptLst>
  <dgm:cxnLst>
    <dgm:cxn modelId="{DB980210-05E1-401A-B309-60C706048AD5}" type="presOf" srcId="{6049F28D-8083-431D-9DFD-942FBB4DA1DE}" destId="{0E984AA5-48AF-40D0-8B09-57CA7CD2972E}" srcOrd="0" destOrd="0" presId="urn:microsoft.com/office/officeart/2005/8/layout/arrow2"/>
    <dgm:cxn modelId="{2789E217-007A-4CDE-A3C6-7D638F450B57}" srcId="{6049F28D-8083-431D-9DFD-942FBB4DA1DE}" destId="{C0721E84-8588-4F71-A7FD-95C95E139FEF}" srcOrd="3" destOrd="0" parTransId="{ACF956A2-D14C-4526-B05D-E632371C8F0E}" sibTransId="{A16B6C0E-C337-4C32-BAB6-32B3CF83906E}"/>
    <dgm:cxn modelId="{B8250C2C-000F-4F9A-9653-1C2EE8B24A9E}" type="presOf" srcId="{50292D98-F5D5-452B-8C07-5BEFC0E23D7C}" destId="{1D59DF07-E565-4036-B3C1-3A5640CFC406}" srcOrd="0" destOrd="0" presId="urn:microsoft.com/office/officeart/2005/8/layout/arrow2"/>
    <dgm:cxn modelId="{9418A32C-B2F9-41E0-94FB-ED5D1EEACC83}" type="presOf" srcId="{55FF0B09-9DBB-48B3-B56B-81D3698408E9}" destId="{D3F2CFA5-B98E-410A-A7B2-2CAED721B7FD}" srcOrd="0" destOrd="0" presId="urn:microsoft.com/office/officeart/2005/8/layout/arrow2"/>
    <dgm:cxn modelId="{3C328C35-3E66-48E9-B2B2-E02ED5DEE0F8}" srcId="{6049F28D-8083-431D-9DFD-942FBB4DA1DE}" destId="{50292D98-F5D5-452B-8C07-5BEFC0E23D7C}" srcOrd="0" destOrd="0" parTransId="{633FE7F4-6BC3-445A-905B-785D274C9DB4}" sibTransId="{09AC8823-9794-4CAE-BAD8-9F25547B1AEC}"/>
    <dgm:cxn modelId="{A3E48A3A-DE4E-44C1-9906-F6AD59DC0D86}" srcId="{6049F28D-8083-431D-9DFD-942FBB4DA1DE}" destId="{A45CD095-0EB1-4893-B1C2-AE00099200DB}" srcOrd="1" destOrd="0" parTransId="{35427FCC-7882-4DCB-A44C-8707FA621E8B}" sibTransId="{D2794BAF-A9ED-421C-BEAE-9DC144C09909}"/>
    <dgm:cxn modelId="{FC6AEC71-5A81-4AE3-BBC6-B78AE887750D}" srcId="{6049F28D-8083-431D-9DFD-942FBB4DA1DE}" destId="{55FF0B09-9DBB-48B3-B56B-81D3698408E9}" srcOrd="4" destOrd="0" parTransId="{8059CB3F-23CA-428D-89E0-446010819911}" sibTransId="{1F659C95-6489-4222-9625-301D76C469C1}"/>
    <dgm:cxn modelId="{1C04345A-6FE4-4C25-AC46-32B60A96F5D1}" type="presOf" srcId="{C0721E84-8588-4F71-A7FD-95C95E139FEF}" destId="{3E4F715A-C736-4862-9140-CD8E13554B9C}" srcOrd="0" destOrd="0" presId="urn:microsoft.com/office/officeart/2005/8/layout/arrow2"/>
    <dgm:cxn modelId="{38B457CA-C2F4-4F7E-91CF-1346F1D577F1}" srcId="{6049F28D-8083-431D-9DFD-942FBB4DA1DE}" destId="{F5002645-D88D-491A-935C-378BEB679098}" srcOrd="2" destOrd="0" parTransId="{5C724708-7BE8-4D5F-8A53-62EE9B7E6914}" sibTransId="{CF40D8CF-8644-4825-A62F-CF55B549E0D8}"/>
    <dgm:cxn modelId="{D6FCDCD1-FFBD-48FC-9F24-B8B6516212C8}" type="presOf" srcId="{F5002645-D88D-491A-935C-378BEB679098}" destId="{D2219AF1-0472-4A37-84D8-CDC673A12B25}" srcOrd="0" destOrd="0" presId="urn:microsoft.com/office/officeart/2005/8/layout/arrow2"/>
    <dgm:cxn modelId="{3892ECD2-74E1-41A6-BC76-C5E3C6A60AFC}" type="presOf" srcId="{A45CD095-0EB1-4893-B1C2-AE00099200DB}" destId="{22CE4149-758A-4F11-AE1A-2CB1C0909197}" srcOrd="0" destOrd="0" presId="urn:microsoft.com/office/officeart/2005/8/layout/arrow2"/>
    <dgm:cxn modelId="{EE568A02-5E93-4273-A5AA-0DE2BE481F40}" type="presParOf" srcId="{0E984AA5-48AF-40D0-8B09-57CA7CD2972E}" destId="{D500D363-D9A2-43A1-B66F-A7CCE3C57237}" srcOrd="0" destOrd="0" presId="urn:microsoft.com/office/officeart/2005/8/layout/arrow2"/>
    <dgm:cxn modelId="{F25E6EFA-8E68-4543-A545-69A96D674C06}" type="presParOf" srcId="{0E984AA5-48AF-40D0-8B09-57CA7CD2972E}" destId="{4D859ECA-B137-4560-AD71-3B23E3E89737}" srcOrd="1" destOrd="0" presId="urn:microsoft.com/office/officeart/2005/8/layout/arrow2"/>
    <dgm:cxn modelId="{4F60A034-9333-406B-A223-38925BF334D6}" type="presParOf" srcId="{4D859ECA-B137-4560-AD71-3B23E3E89737}" destId="{02AD3522-C6F7-4BA0-8B4C-8A1EB84AF2F5}" srcOrd="0" destOrd="0" presId="urn:microsoft.com/office/officeart/2005/8/layout/arrow2"/>
    <dgm:cxn modelId="{F51B2BAA-CC99-4463-BA5F-E73F44998AE8}" type="presParOf" srcId="{4D859ECA-B137-4560-AD71-3B23E3E89737}" destId="{1D59DF07-E565-4036-B3C1-3A5640CFC406}" srcOrd="1" destOrd="0" presId="urn:microsoft.com/office/officeart/2005/8/layout/arrow2"/>
    <dgm:cxn modelId="{F81D8C5F-A9EE-4184-BB5A-2BDA4F471B3F}" type="presParOf" srcId="{4D859ECA-B137-4560-AD71-3B23E3E89737}" destId="{ED3D2B37-6173-4343-A88E-FEA934D439D1}" srcOrd="2" destOrd="0" presId="urn:microsoft.com/office/officeart/2005/8/layout/arrow2"/>
    <dgm:cxn modelId="{EF5925D9-6490-4B42-A16D-CFE01FD6CEFB}" type="presParOf" srcId="{4D859ECA-B137-4560-AD71-3B23E3E89737}" destId="{22CE4149-758A-4F11-AE1A-2CB1C0909197}" srcOrd="3" destOrd="0" presId="urn:microsoft.com/office/officeart/2005/8/layout/arrow2"/>
    <dgm:cxn modelId="{51505CBC-385D-4A7A-8BF2-44F3ECB37F01}" type="presParOf" srcId="{4D859ECA-B137-4560-AD71-3B23E3E89737}" destId="{F9BFB045-9502-4B0F-BD28-4894BCD1234F}" srcOrd="4" destOrd="0" presId="urn:microsoft.com/office/officeart/2005/8/layout/arrow2"/>
    <dgm:cxn modelId="{7056076E-856D-4B39-BDAF-5754D6DB034B}" type="presParOf" srcId="{4D859ECA-B137-4560-AD71-3B23E3E89737}" destId="{D2219AF1-0472-4A37-84D8-CDC673A12B25}" srcOrd="5" destOrd="0" presId="urn:microsoft.com/office/officeart/2005/8/layout/arrow2"/>
    <dgm:cxn modelId="{402CBA8B-A254-4D45-B912-7B66575B3EEE}" type="presParOf" srcId="{4D859ECA-B137-4560-AD71-3B23E3E89737}" destId="{BFD32D44-7A6D-42CC-A4A9-599E76D9CAEC}" srcOrd="6" destOrd="0" presId="urn:microsoft.com/office/officeart/2005/8/layout/arrow2"/>
    <dgm:cxn modelId="{BA147284-448A-4EB8-A1F5-DBC71BC8438E}" type="presParOf" srcId="{4D859ECA-B137-4560-AD71-3B23E3E89737}" destId="{3E4F715A-C736-4862-9140-CD8E13554B9C}" srcOrd="7" destOrd="0" presId="urn:microsoft.com/office/officeart/2005/8/layout/arrow2"/>
    <dgm:cxn modelId="{B57BDAD8-03BD-46FD-A441-BF169C10B641}" type="presParOf" srcId="{4D859ECA-B137-4560-AD71-3B23E3E89737}" destId="{2D92A1D2-A524-4070-AB90-0AEFE3C42A0F}" srcOrd="8" destOrd="0" presId="urn:microsoft.com/office/officeart/2005/8/layout/arrow2"/>
    <dgm:cxn modelId="{8A08DCFE-4AAE-4BE9-85DF-366FF93EEF9D}" type="presParOf" srcId="{4D859ECA-B137-4560-AD71-3B23E3E89737}" destId="{D3F2CFA5-B98E-410A-A7B2-2CAED721B7FD}" srcOrd="9"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049F28D-8083-431D-9DFD-942FBB4DA1DE}"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lang="en-GB"/>
        </a:p>
      </dgm:t>
    </dgm:pt>
    <dgm:pt modelId="{C0721E84-8588-4F71-A7FD-95C95E139FEF}">
      <dgm:prSet custT="1"/>
      <dgm:spPr/>
      <dgm:t>
        <a:bodyPr/>
        <a:lstStyle/>
        <a:p>
          <a:r>
            <a:rPr lang="en-US" sz="1400" b="1" dirty="0"/>
            <a:t>Higher efficiency with sector coupling</a:t>
          </a:r>
          <a:endParaRPr lang="en-GB" sz="1400" dirty="0"/>
        </a:p>
      </dgm:t>
    </dgm:pt>
    <dgm:pt modelId="{ACF956A2-D14C-4526-B05D-E632371C8F0E}" type="parTrans" cxnId="{2789E217-007A-4CDE-A3C6-7D638F450B57}">
      <dgm:prSet/>
      <dgm:spPr/>
      <dgm:t>
        <a:bodyPr/>
        <a:lstStyle/>
        <a:p>
          <a:endParaRPr lang="en-GB"/>
        </a:p>
      </dgm:t>
    </dgm:pt>
    <dgm:pt modelId="{A16B6C0E-C337-4C32-BAB6-32B3CF83906E}" type="sibTrans" cxnId="{2789E217-007A-4CDE-A3C6-7D638F450B57}">
      <dgm:prSet/>
      <dgm:spPr/>
      <dgm:t>
        <a:bodyPr/>
        <a:lstStyle/>
        <a:p>
          <a:endParaRPr lang="en-GB"/>
        </a:p>
      </dgm:t>
    </dgm:pt>
    <dgm:pt modelId="{507EB2AF-2127-4D4B-9A03-6FCC2BE73FCE}">
      <dgm:prSet custT="1"/>
      <dgm:spPr/>
      <dgm:t>
        <a:bodyPr/>
        <a:lstStyle/>
        <a:p>
          <a:pPr algn="l"/>
          <a:r>
            <a:rPr lang="en-US" sz="1400" b="1" dirty="0"/>
            <a:t>Large cost savings v new </a:t>
          </a:r>
          <a:r>
            <a:rPr lang="en-US" sz="1400" b="1" dirty="0" err="1"/>
            <a:t>elec</a:t>
          </a:r>
          <a:r>
            <a:rPr lang="en-US" sz="1400" b="1" dirty="0"/>
            <a:t> networks</a:t>
          </a:r>
          <a:endParaRPr lang="en-GB" sz="1400" b="1" dirty="0"/>
        </a:p>
      </dgm:t>
    </dgm:pt>
    <dgm:pt modelId="{86570D00-5C68-46BB-87F2-93BDD4F467C7}" type="parTrans" cxnId="{E6BA4426-940E-4E7C-B136-C61973F8E634}">
      <dgm:prSet/>
      <dgm:spPr/>
      <dgm:t>
        <a:bodyPr/>
        <a:lstStyle/>
        <a:p>
          <a:endParaRPr lang="en-GB"/>
        </a:p>
      </dgm:t>
    </dgm:pt>
    <dgm:pt modelId="{65CC9DE7-DB88-4ADD-B700-F8D459A24435}" type="sibTrans" cxnId="{E6BA4426-940E-4E7C-B136-C61973F8E634}">
      <dgm:prSet/>
      <dgm:spPr/>
      <dgm:t>
        <a:bodyPr/>
        <a:lstStyle/>
        <a:p>
          <a:endParaRPr lang="en-GB"/>
        </a:p>
      </dgm:t>
    </dgm:pt>
    <dgm:pt modelId="{830F5216-1308-4541-AA01-E0DC834F9DA6}">
      <dgm:prSet custT="1"/>
      <dgm:spPr/>
      <dgm:t>
        <a:bodyPr/>
        <a:lstStyle/>
        <a:p>
          <a:r>
            <a:rPr lang="en-US" sz="1400" b="1" dirty="0"/>
            <a:t>Enables transition from </a:t>
          </a:r>
          <a:r>
            <a:rPr lang="en-US" sz="1400" b="1" dirty="0" err="1"/>
            <a:t>nat</a:t>
          </a:r>
          <a:r>
            <a:rPr lang="en-US" sz="1400" b="1" dirty="0"/>
            <a:t> gas to  renew/decarb gases</a:t>
          </a:r>
          <a:endParaRPr lang="en-GB" sz="800" b="1" dirty="0"/>
        </a:p>
      </dgm:t>
    </dgm:pt>
    <dgm:pt modelId="{0AC929BD-C121-4FA4-87A9-E23E86B8D61B}" type="parTrans" cxnId="{3E5575D9-3621-439F-8EA1-9BE5004E0E66}">
      <dgm:prSet/>
      <dgm:spPr/>
      <dgm:t>
        <a:bodyPr/>
        <a:lstStyle/>
        <a:p>
          <a:endParaRPr lang="en-GB"/>
        </a:p>
      </dgm:t>
    </dgm:pt>
    <dgm:pt modelId="{0546007D-BF3D-4794-98F3-34AE857A135F}" type="sibTrans" cxnId="{3E5575D9-3621-439F-8EA1-9BE5004E0E66}">
      <dgm:prSet/>
      <dgm:spPr/>
      <dgm:t>
        <a:bodyPr/>
        <a:lstStyle/>
        <a:p>
          <a:endParaRPr lang="en-GB"/>
        </a:p>
      </dgm:t>
    </dgm:pt>
    <dgm:pt modelId="{B7BF2A90-289A-43D8-A5C2-B096A9513C48}">
      <dgm:prSet custT="1"/>
      <dgm:spPr/>
      <dgm:t>
        <a:bodyPr/>
        <a:lstStyle/>
        <a:p>
          <a:pPr algn="l"/>
          <a:r>
            <a:rPr lang="en-US" sz="1400" b="1" dirty="0"/>
            <a:t>Sector integration - </a:t>
          </a:r>
          <a:r>
            <a:rPr lang="en-US" sz="1400" b="1" dirty="0" err="1"/>
            <a:t>optimise</a:t>
          </a:r>
          <a:r>
            <a:rPr lang="en-US" sz="1400" b="1" dirty="0"/>
            <a:t> local resources </a:t>
          </a:r>
          <a:endParaRPr lang="en-GB" sz="1400" dirty="0"/>
        </a:p>
      </dgm:t>
    </dgm:pt>
    <dgm:pt modelId="{EB6F5C15-3A29-4B9C-8910-FC31ED903FA1}" type="parTrans" cxnId="{30C0C2F8-2C96-4138-85A4-7472C9BAA34D}">
      <dgm:prSet/>
      <dgm:spPr/>
      <dgm:t>
        <a:bodyPr/>
        <a:lstStyle/>
        <a:p>
          <a:endParaRPr lang="en-GB"/>
        </a:p>
      </dgm:t>
    </dgm:pt>
    <dgm:pt modelId="{61456440-7BDD-429B-AED4-A74F28FE6C80}" type="sibTrans" cxnId="{30C0C2F8-2C96-4138-85A4-7472C9BAA34D}">
      <dgm:prSet/>
      <dgm:spPr/>
      <dgm:t>
        <a:bodyPr/>
        <a:lstStyle/>
        <a:p>
          <a:endParaRPr lang="en-GB"/>
        </a:p>
      </dgm:t>
    </dgm:pt>
    <dgm:pt modelId="{99D50AB3-19A5-4DF0-8393-F912F5AB4B77}">
      <dgm:prSet custT="1"/>
      <dgm:spPr/>
      <dgm:t>
        <a:bodyPr/>
        <a:lstStyle/>
        <a:p>
          <a:r>
            <a:rPr lang="en-US" sz="1400" b="1" dirty="0"/>
            <a:t>Increased renewable energy storage</a:t>
          </a:r>
          <a:endParaRPr lang="en-GB" sz="1400" dirty="0"/>
        </a:p>
      </dgm:t>
    </dgm:pt>
    <dgm:pt modelId="{1D013352-DB59-4907-BD25-48BAC1E5C9D9}" type="parTrans" cxnId="{3BF259CE-38A5-4098-B753-C1300E33B9B0}">
      <dgm:prSet/>
      <dgm:spPr/>
      <dgm:t>
        <a:bodyPr/>
        <a:lstStyle/>
        <a:p>
          <a:endParaRPr lang="en-GB"/>
        </a:p>
      </dgm:t>
    </dgm:pt>
    <dgm:pt modelId="{13252FE4-C56B-4CA5-9A6D-663A0D0BEC0C}" type="sibTrans" cxnId="{3BF259CE-38A5-4098-B753-C1300E33B9B0}">
      <dgm:prSet/>
      <dgm:spPr/>
      <dgm:t>
        <a:bodyPr/>
        <a:lstStyle/>
        <a:p>
          <a:endParaRPr lang="en-GB"/>
        </a:p>
      </dgm:t>
    </dgm:pt>
    <dgm:pt modelId="{0E984AA5-48AF-40D0-8B09-57CA7CD2972E}" type="pres">
      <dgm:prSet presAssocID="{6049F28D-8083-431D-9DFD-942FBB4DA1DE}" presName="arrowDiagram" presStyleCnt="0">
        <dgm:presLayoutVars>
          <dgm:chMax val="5"/>
          <dgm:dir/>
          <dgm:resizeHandles val="exact"/>
        </dgm:presLayoutVars>
      </dgm:prSet>
      <dgm:spPr/>
    </dgm:pt>
    <dgm:pt modelId="{D500D363-D9A2-43A1-B66F-A7CCE3C57237}" type="pres">
      <dgm:prSet presAssocID="{6049F28D-8083-431D-9DFD-942FBB4DA1DE}" presName="arrow" presStyleLbl="bgShp" presStyleIdx="0" presStyleCnt="1"/>
      <dgm:spPr/>
    </dgm:pt>
    <dgm:pt modelId="{B020C863-553B-4D15-AF19-FA832F1BA30C}" type="pres">
      <dgm:prSet presAssocID="{6049F28D-8083-431D-9DFD-942FBB4DA1DE}" presName="arrowDiagram5" presStyleCnt="0"/>
      <dgm:spPr/>
    </dgm:pt>
    <dgm:pt modelId="{99116A13-BA14-445F-8B69-F957E50903F0}" type="pres">
      <dgm:prSet presAssocID="{C0721E84-8588-4F71-A7FD-95C95E139FEF}" presName="bullet5a" presStyleLbl="node1" presStyleIdx="0" presStyleCnt="5"/>
      <dgm:spPr/>
    </dgm:pt>
    <dgm:pt modelId="{84A9DF66-1038-4C24-8B68-5B5DC9B695A1}" type="pres">
      <dgm:prSet presAssocID="{C0721E84-8588-4F71-A7FD-95C95E139FEF}" presName="textBox5a" presStyleLbl="revTx" presStyleIdx="0" presStyleCnt="5" custScaleX="114669">
        <dgm:presLayoutVars>
          <dgm:bulletEnabled val="1"/>
        </dgm:presLayoutVars>
      </dgm:prSet>
      <dgm:spPr/>
    </dgm:pt>
    <dgm:pt modelId="{FBFBFE4E-04BB-4B15-8F66-9D21983FAA1B}" type="pres">
      <dgm:prSet presAssocID="{99D50AB3-19A5-4DF0-8393-F912F5AB4B77}" presName="bullet5b" presStyleLbl="node1" presStyleIdx="1" presStyleCnt="5"/>
      <dgm:spPr/>
    </dgm:pt>
    <dgm:pt modelId="{7FC8E9F2-A183-49A7-90D0-AFD646520BB9}" type="pres">
      <dgm:prSet presAssocID="{99D50AB3-19A5-4DF0-8393-F912F5AB4B77}" presName="textBox5b" presStyleLbl="revTx" presStyleIdx="1" presStyleCnt="5">
        <dgm:presLayoutVars>
          <dgm:bulletEnabled val="1"/>
        </dgm:presLayoutVars>
      </dgm:prSet>
      <dgm:spPr/>
    </dgm:pt>
    <dgm:pt modelId="{D76F6919-7F28-469C-8086-03D31D2473BE}" type="pres">
      <dgm:prSet presAssocID="{507EB2AF-2127-4D4B-9A03-6FCC2BE73FCE}" presName="bullet5c" presStyleLbl="node1" presStyleIdx="2" presStyleCnt="5"/>
      <dgm:spPr/>
    </dgm:pt>
    <dgm:pt modelId="{1908B599-4E2D-4750-8F72-4CC220540921}" type="pres">
      <dgm:prSet presAssocID="{507EB2AF-2127-4D4B-9A03-6FCC2BE73FCE}" presName="textBox5c" presStyleLbl="revTx" presStyleIdx="2" presStyleCnt="5">
        <dgm:presLayoutVars>
          <dgm:bulletEnabled val="1"/>
        </dgm:presLayoutVars>
      </dgm:prSet>
      <dgm:spPr/>
    </dgm:pt>
    <dgm:pt modelId="{5ABC2377-9B61-4A7E-A19E-118417FC961B}" type="pres">
      <dgm:prSet presAssocID="{B7BF2A90-289A-43D8-A5C2-B096A9513C48}" presName="bullet5d" presStyleLbl="node1" presStyleIdx="3" presStyleCnt="5"/>
      <dgm:spPr/>
    </dgm:pt>
    <dgm:pt modelId="{36E11E3B-9697-4B26-A63E-F0CF55A78846}" type="pres">
      <dgm:prSet presAssocID="{B7BF2A90-289A-43D8-A5C2-B096A9513C48}" presName="textBox5d" presStyleLbl="revTx" presStyleIdx="3" presStyleCnt="5">
        <dgm:presLayoutVars>
          <dgm:bulletEnabled val="1"/>
        </dgm:presLayoutVars>
      </dgm:prSet>
      <dgm:spPr/>
    </dgm:pt>
    <dgm:pt modelId="{F41C3621-08C6-456A-AE87-DE85C52BF864}" type="pres">
      <dgm:prSet presAssocID="{830F5216-1308-4541-AA01-E0DC834F9DA6}" presName="bullet5e" presStyleLbl="node1" presStyleIdx="4" presStyleCnt="5"/>
      <dgm:spPr/>
    </dgm:pt>
    <dgm:pt modelId="{60CDCFD4-906D-4501-BDA8-F2C2A35B634D}" type="pres">
      <dgm:prSet presAssocID="{830F5216-1308-4541-AA01-E0DC834F9DA6}" presName="textBox5e" presStyleLbl="revTx" presStyleIdx="4" presStyleCnt="5" custScaleX="137956" custScaleY="69117" custLinFactNeighborX="19352" custLinFactNeighborY="-9816">
        <dgm:presLayoutVars>
          <dgm:bulletEnabled val="1"/>
        </dgm:presLayoutVars>
      </dgm:prSet>
      <dgm:spPr/>
    </dgm:pt>
  </dgm:ptLst>
  <dgm:cxnLst>
    <dgm:cxn modelId="{DB980210-05E1-401A-B309-60C706048AD5}" type="presOf" srcId="{6049F28D-8083-431D-9DFD-942FBB4DA1DE}" destId="{0E984AA5-48AF-40D0-8B09-57CA7CD2972E}" srcOrd="0" destOrd="0" presId="urn:microsoft.com/office/officeart/2005/8/layout/arrow2"/>
    <dgm:cxn modelId="{2789E217-007A-4CDE-A3C6-7D638F450B57}" srcId="{6049F28D-8083-431D-9DFD-942FBB4DA1DE}" destId="{C0721E84-8588-4F71-A7FD-95C95E139FEF}" srcOrd="0" destOrd="0" parTransId="{ACF956A2-D14C-4526-B05D-E632371C8F0E}" sibTransId="{A16B6C0E-C337-4C32-BAB6-32B3CF83906E}"/>
    <dgm:cxn modelId="{D1513823-B1B7-4CAA-8B71-2CD47EA88C33}" type="presOf" srcId="{507EB2AF-2127-4D4B-9A03-6FCC2BE73FCE}" destId="{1908B599-4E2D-4750-8F72-4CC220540921}" srcOrd="0" destOrd="0" presId="urn:microsoft.com/office/officeart/2005/8/layout/arrow2"/>
    <dgm:cxn modelId="{E6BA4426-940E-4E7C-B136-C61973F8E634}" srcId="{6049F28D-8083-431D-9DFD-942FBB4DA1DE}" destId="{507EB2AF-2127-4D4B-9A03-6FCC2BE73FCE}" srcOrd="2" destOrd="0" parTransId="{86570D00-5C68-46BB-87F2-93BDD4F467C7}" sibTransId="{65CC9DE7-DB88-4ADD-B700-F8D459A24435}"/>
    <dgm:cxn modelId="{75E07138-1A4C-4EDA-9DC3-334055638757}" type="presOf" srcId="{99D50AB3-19A5-4DF0-8393-F912F5AB4B77}" destId="{7FC8E9F2-A183-49A7-90D0-AFD646520BB9}" srcOrd="0" destOrd="0" presId="urn:microsoft.com/office/officeart/2005/8/layout/arrow2"/>
    <dgm:cxn modelId="{0D631C50-6838-46EE-9E6C-79056C0DBE86}" type="presOf" srcId="{C0721E84-8588-4F71-A7FD-95C95E139FEF}" destId="{84A9DF66-1038-4C24-8B68-5B5DC9B695A1}" srcOrd="0" destOrd="0" presId="urn:microsoft.com/office/officeart/2005/8/layout/arrow2"/>
    <dgm:cxn modelId="{ACB68CC0-0EF6-46FA-A5AB-0B911D819F4C}" type="presOf" srcId="{B7BF2A90-289A-43D8-A5C2-B096A9513C48}" destId="{36E11E3B-9697-4B26-A63E-F0CF55A78846}" srcOrd="0" destOrd="0" presId="urn:microsoft.com/office/officeart/2005/8/layout/arrow2"/>
    <dgm:cxn modelId="{3BF259CE-38A5-4098-B753-C1300E33B9B0}" srcId="{6049F28D-8083-431D-9DFD-942FBB4DA1DE}" destId="{99D50AB3-19A5-4DF0-8393-F912F5AB4B77}" srcOrd="1" destOrd="0" parTransId="{1D013352-DB59-4907-BD25-48BAC1E5C9D9}" sibTransId="{13252FE4-C56B-4CA5-9A6D-663A0D0BEC0C}"/>
    <dgm:cxn modelId="{3E5575D9-3621-439F-8EA1-9BE5004E0E66}" srcId="{6049F28D-8083-431D-9DFD-942FBB4DA1DE}" destId="{830F5216-1308-4541-AA01-E0DC834F9DA6}" srcOrd="4" destOrd="0" parTransId="{0AC929BD-C121-4FA4-87A9-E23E86B8D61B}" sibTransId="{0546007D-BF3D-4794-98F3-34AE857A135F}"/>
    <dgm:cxn modelId="{793AE3DA-8E8C-49CC-A94A-142B8478C021}" type="presOf" srcId="{830F5216-1308-4541-AA01-E0DC834F9DA6}" destId="{60CDCFD4-906D-4501-BDA8-F2C2A35B634D}" srcOrd="0" destOrd="0" presId="urn:microsoft.com/office/officeart/2005/8/layout/arrow2"/>
    <dgm:cxn modelId="{30C0C2F8-2C96-4138-85A4-7472C9BAA34D}" srcId="{6049F28D-8083-431D-9DFD-942FBB4DA1DE}" destId="{B7BF2A90-289A-43D8-A5C2-B096A9513C48}" srcOrd="3" destOrd="0" parTransId="{EB6F5C15-3A29-4B9C-8910-FC31ED903FA1}" sibTransId="{61456440-7BDD-429B-AED4-A74F28FE6C80}"/>
    <dgm:cxn modelId="{EE568A02-5E93-4273-A5AA-0DE2BE481F40}" type="presParOf" srcId="{0E984AA5-48AF-40D0-8B09-57CA7CD2972E}" destId="{D500D363-D9A2-43A1-B66F-A7CCE3C57237}" srcOrd="0" destOrd="0" presId="urn:microsoft.com/office/officeart/2005/8/layout/arrow2"/>
    <dgm:cxn modelId="{6A599A44-E266-4D32-917F-300AA3F29B07}" type="presParOf" srcId="{0E984AA5-48AF-40D0-8B09-57CA7CD2972E}" destId="{B020C863-553B-4D15-AF19-FA832F1BA30C}" srcOrd="1" destOrd="0" presId="urn:microsoft.com/office/officeart/2005/8/layout/arrow2"/>
    <dgm:cxn modelId="{2566B5EA-F99E-464F-9592-CFC22D5B3506}" type="presParOf" srcId="{B020C863-553B-4D15-AF19-FA832F1BA30C}" destId="{99116A13-BA14-445F-8B69-F957E50903F0}" srcOrd="0" destOrd="0" presId="urn:microsoft.com/office/officeart/2005/8/layout/arrow2"/>
    <dgm:cxn modelId="{0E97E89C-C9B6-4C5E-8A9D-EBD837C4CF0B}" type="presParOf" srcId="{B020C863-553B-4D15-AF19-FA832F1BA30C}" destId="{84A9DF66-1038-4C24-8B68-5B5DC9B695A1}" srcOrd="1" destOrd="0" presId="urn:microsoft.com/office/officeart/2005/8/layout/arrow2"/>
    <dgm:cxn modelId="{F58052FC-5C7C-471A-A3DC-36C7F66E71D8}" type="presParOf" srcId="{B020C863-553B-4D15-AF19-FA832F1BA30C}" destId="{FBFBFE4E-04BB-4B15-8F66-9D21983FAA1B}" srcOrd="2" destOrd="0" presId="urn:microsoft.com/office/officeart/2005/8/layout/arrow2"/>
    <dgm:cxn modelId="{BDF162A5-42AD-48DE-BAC4-B8878064036F}" type="presParOf" srcId="{B020C863-553B-4D15-AF19-FA832F1BA30C}" destId="{7FC8E9F2-A183-49A7-90D0-AFD646520BB9}" srcOrd="3" destOrd="0" presId="urn:microsoft.com/office/officeart/2005/8/layout/arrow2"/>
    <dgm:cxn modelId="{ACCF0BA2-9435-4CB0-8D45-3FA38E52AA7F}" type="presParOf" srcId="{B020C863-553B-4D15-AF19-FA832F1BA30C}" destId="{D76F6919-7F28-469C-8086-03D31D2473BE}" srcOrd="4" destOrd="0" presId="urn:microsoft.com/office/officeart/2005/8/layout/arrow2"/>
    <dgm:cxn modelId="{F228F536-6F0B-48F2-A9D9-563A4AD77DE6}" type="presParOf" srcId="{B020C863-553B-4D15-AF19-FA832F1BA30C}" destId="{1908B599-4E2D-4750-8F72-4CC220540921}" srcOrd="5" destOrd="0" presId="urn:microsoft.com/office/officeart/2005/8/layout/arrow2"/>
    <dgm:cxn modelId="{B86F430A-69F7-426D-81D8-00A514816474}" type="presParOf" srcId="{B020C863-553B-4D15-AF19-FA832F1BA30C}" destId="{5ABC2377-9B61-4A7E-A19E-118417FC961B}" srcOrd="6" destOrd="0" presId="urn:microsoft.com/office/officeart/2005/8/layout/arrow2"/>
    <dgm:cxn modelId="{41549A5F-4B0B-4863-9287-D0F1905EF4C1}" type="presParOf" srcId="{B020C863-553B-4D15-AF19-FA832F1BA30C}" destId="{36E11E3B-9697-4B26-A63E-F0CF55A78846}" srcOrd="7" destOrd="0" presId="urn:microsoft.com/office/officeart/2005/8/layout/arrow2"/>
    <dgm:cxn modelId="{121ADC53-E459-4AFE-8EE7-D1C1A677D4B2}" type="presParOf" srcId="{B020C863-553B-4D15-AF19-FA832F1BA30C}" destId="{F41C3621-08C6-456A-AE87-DE85C52BF864}" srcOrd="8" destOrd="0" presId="urn:microsoft.com/office/officeart/2005/8/layout/arrow2"/>
    <dgm:cxn modelId="{517F150C-3713-4461-A88B-B51BF3C16752}" type="presParOf" srcId="{B020C863-553B-4D15-AF19-FA832F1BA30C}" destId="{60CDCFD4-906D-4501-BDA8-F2C2A35B634D}" srcOrd="9" destOrd="0" presId="urn:microsoft.com/office/officeart/2005/8/layout/arrow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00D363-D9A2-43A1-B66F-A7CCE3C57237}">
      <dsp:nvSpPr>
        <dsp:cNvPr id="0" name=""/>
        <dsp:cNvSpPr/>
      </dsp:nvSpPr>
      <dsp:spPr>
        <a:xfrm>
          <a:off x="7043" y="0"/>
          <a:ext cx="6134550" cy="3834094"/>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2AD3522-C6F7-4BA0-8B4C-8A1EB84AF2F5}">
      <dsp:nvSpPr>
        <dsp:cNvPr id="0" name=""/>
        <dsp:cNvSpPr/>
      </dsp:nvSpPr>
      <dsp:spPr>
        <a:xfrm>
          <a:off x="611296" y="2851032"/>
          <a:ext cx="141094" cy="14109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D59DF07-E565-4036-B3C1-3A5640CFC406}">
      <dsp:nvSpPr>
        <dsp:cNvPr id="0" name=""/>
        <dsp:cNvSpPr/>
      </dsp:nvSpPr>
      <dsp:spPr>
        <a:xfrm>
          <a:off x="641477" y="2921579"/>
          <a:ext cx="884358" cy="9125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4763" tIns="0" rIns="0" bIns="0" numCol="1" spcCol="1270" anchor="t" anchorCtr="0">
          <a:noAutofit/>
        </a:bodyPr>
        <a:lstStyle/>
        <a:p>
          <a:pPr marL="0" lvl="0" indent="0" algn="l" defTabSz="622300">
            <a:lnSpc>
              <a:spcPct val="90000"/>
            </a:lnSpc>
            <a:spcBef>
              <a:spcPct val="0"/>
            </a:spcBef>
            <a:spcAft>
              <a:spcPct val="35000"/>
            </a:spcAft>
            <a:buNone/>
          </a:pPr>
          <a:r>
            <a:rPr lang="en-US" sz="1400" b="1" kern="1200" dirty="0"/>
            <a:t>Socially acceptable</a:t>
          </a:r>
          <a:endParaRPr lang="en-GB" sz="1400" kern="1200" dirty="0"/>
        </a:p>
      </dsp:txBody>
      <dsp:txXfrm>
        <a:off x="641477" y="2921579"/>
        <a:ext cx="884358" cy="912514"/>
      </dsp:txXfrm>
    </dsp:sp>
    <dsp:sp modelId="{ED3D2B37-6173-4343-A88E-FEA934D439D1}">
      <dsp:nvSpPr>
        <dsp:cNvPr id="0" name=""/>
        <dsp:cNvSpPr/>
      </dsp:nvSpPr>
      <dsp:spPr>
        <a:xfrm>
          <a:off x="1375048" y="2117186"/>
          <a:ext cx="220843" cy="2208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2CE4149-758A-4F11-AE1A-2CB1C0909197}">
      <dsp:nvSpPr>
        <dsp:cNvPr id="0" name=""/>
        <dsp:cNvSpPr/>
      </dsp:nvSpPr>
      <dsp:spPr>
        <a:xfrm>
          <a:off x="1485469" y="2227608"/>
          <a:ext cx="1018335" cy="16064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7021" tIns="0" rIns="0" bIns="0" numCol="1" spcCol="1270" anchor="t" anchorCtr="0">
          <a:noAutofit/>
        </a:bodyPr>
        <a:lstStyle/>
        <a:p>
          <a:pPr marL="0" lvl="0" indent="0" algn="l" defTabSz="622300">
            <a:lnSpc>
              <a:spcPct val="90000"/>
            </a:lnSpc>
            <a:spcBef>
              <a:spcPct val="0"/>
            </a:spcBef>
            <a:spcAft>
              <a:spcPct val="35000"/>
            </a:spcAft>
            <a:buNone/>
          </a:pPr>
          <a:r>
            <a:rPr lang="en-US" sz="1400" b="1" kern="1200" dirty="0"/>
            <a:t>Reliable energy supplier</a:t>
          </a:r>
          <a:endParaRPr lang="en-GB" sz="1400" kern="1200" dirty="0"/>
        </a:p>
      </dsp:txBody>
      <dsp:txXfrm>
        <a:off x="1485469" y="2227608"/>
        <a:ext cx="1018335" cy="1606485"/>
      </dsp:txXfrm>
    </dsp:sp>
    <dsp:sp modelId="{F9BFB045-9502-4B0F-BD28-4894BCD1234F}">
      <dsp:nvSpPr>
        <dsp:cNvPr id="0" name=""/>
        <dsp:cNvSpPr/>
      </dsp:nvSpPr>
      <dsp:spPr>
        <a:xfrm>
          <a:off x="2356576" y="1532103"/>
          <a:ext cx="294458" cy="29445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2219AF1-0472-4A37-84D8-CDC673A12B25}">
      <dsp:nvSpPr>
        <dsp:cNvPr id="0" name=""/>
        <dsp:cNvSpPr/>
      </dsp:nvSpPr>
      <dsp:spPr>
        <a:xfrm>
          <a:off x="2503805" y="1679333"/>
          <a:ext cx="1183968" cy="2154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027" tIns="0" rIns="0" bIns="0" numCol="1" spcCol="1270" anchor="t" anchorCtr="0">
          <a:noAutofit/>
        </a:bodyPr>
        <a:lstStyle/>
        <a:p>
          <a:pPr marL="0" lvl="0" indent="0" algn="l" defTabSz="622300">
            <a:lnSpc>
              <a:spcPct val="90000"/>
            </a:lnSpc>
            <a:spcBef>
              <a:spcPct val="0"/>
            </a:spcBef>
            <a:spcAft>
              <a:spcPct val="35000"/>
            </a:spcAft>
            <a:buNone/>
          </a:pPr>
          <a:r>
            <a:rPr lang="en-US" sz="1400" b="1" kern="1200" dirty="0"/>
            <a:t>Grid balancing &amp; flexibility, </a:t>
          </a:r>
          <a:r>
            <a:rPr lang="en-US" sz="1400" b="1" kern="1200" dirty="0" err="1"/>
            <a:t>SoS</a:t>
          </a:r>
          <a:r>
            <a:rPr lang="en-US" sz="1400" b="1" kern="1200" dirty="0"/>
            <a:t> </a:t>
          </a:r>
          <a:endParaRPr lang="en-GB" sz="1400" kern="1200" dirty="0"/>
        </a:p>
      </dsp:txBody>
      <dsp:txXfrm>
        <a:off x="2503805" y="1679333"/>
        <a:ext cx="1183968" cy="2154760"/>
      </dsp:txXfrm>
    </dsp:sp>
    <dsp:sp modelId="{BFD32D44-7A6D-42CC-A4A9-599E76D9CAEC}">
      <dsp:nvSpPr>
        <dsp:cNvPr id="0" name=""/>
        <dsp:cNvSpPr/>
      </dsp:nvSpPr>
      <dsp:spPr>
        <a:xfrm>
          <a:off x="3497602" y="1075079"/>
          <a:ext cx="380342" cy="38034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4F715A-C736-4862-9140-CD8E13554B9C}">
      <dsp:nvSpPr>
        <dsp:cNvPr id="0" name=""/>
        <dsp:cNvSpPr/>
      </dsp:nvSpPr>
      <dsp:spPr>
        <a:xfrm>
          <a:off x="3687773" y="1265251"/>
          <a:ext cx="1226910" cy="25688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1535" tIns="0" rIns="0" bIns="0" numCol="1" spcCol="1270" anchor="t" anchorCtr="0">
          <a:noAutofit/>
        </a:bodyPr>
        <a:lstStyle/>
        <a:p>
          <a:pPr marL="0" lvl="0" indent="0" algn="l" defTabSz="622300">
            <a:lnSpc>
              <a:spcPct val="90000"/>
            </a:lnSpc>
            <a:spcBef>
              <a:spcPct val="0"/>
            </a:spcBef>
            <a:spcAft>
              <a:spcPct val="35000"/>
            </a:spcAft>
            <a:buNone/>
          </a:pPr>
          <a:r>
            <a:rPr lang="en-US" sz="1400" b="1" kern="1200" dirty="0"/>
            <a:t>Delivers affordable energy </a:t>
          </a:r>
          <a:endParaRPr lang="en-GB" sz="1400" kern="1200" dirty="0"/>
        </a:p>
      </dsp:txBody>
      <dsp:txXfrm>
        <a:off x="3687773" y="1265251"/>
        <a:ext cx="1226910" cy="2568842"/>
      </dsp:txXfrm>
    </dsp:sp>
    <dsp:sp modelId="{2D92A1D2-A524-4070-AB90-0AEFE3C42A0F}">
      <dsp:nvSpPr>
        <dsp:cNvPr id="0" name=""/>
        <dsp:cNvSpPr/>
      </dsp:nvSpPr>
      <dsp:spPr>
        <a:xfrm>
          <a:off x="4672368" y="769886"/>
          <a:ext cx="484629" cy="48462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3F2CFA5-B98E-410A-A7B2-2CAED721B7FD}">
      <dsp:nvSpPr>
        <dsp:cNvPr id="0" name=""/>
        <dsp:cNvSpPr/>
      </dsp:nvSpPr>
      <dsp:spPr>
        <a:xfrm>
          <a:off x="4914683" y="1012200"/>
          <a:ext cx="1226910" cy="28218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6795" tIns="0" rIns="0" bIns="0" numCol="1" spcCol="1270" anchor="t" anchorCtr="0">
          <a:noAutofit/>
        </a:bodyPr>
        <a:lstStyle/>
        <a:p>
          <a:pPr marL="0" lvl="0" indent="0" algn="l" defTabSz="622300">
            <a:lnSpc>
              <a:spcPct val="90000"/>
            </a:lnSpc>
            <a:spcBef>
              <a:spcPct val="0"/>
            </a:spcBef>
            <a:spcAft>
              <a:spcPct val="35000"/>
            </a:spcAft>
            <a:buNone/>
          </a:pPr>
          <a:r>
            <a:rPr lang="en-US" sz="1400" b="1" kern="1200" dirty="0"/>
            <a:t>Delivers fast emission reductions</a:t>
          </a:r>
          <a:endParaRPr lang="en-GB" sz="1400" b="1" kern="1200" dirty="0"/>
        </a:p>
      </dsp:txBody>
      <dsp:txXfrm>
        <a:off x="4914683" y="1012200"/>
        <a:ext cx="1226910" cy="28218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00D363-D9A2-43A1-B66F-A7CCE3C57237}">
      <dsp:nvSpPr>
        <dsp:cNvPr id="0" name=""/>
        <dsp:cNvSpPr/>
      </dsp:nvSpPr>
      <dsp:spPr>
        <a:xfrm>
          <a:off x="1151406" y="0"/>
          <a:ext cx="6300180" cy="3937613"/>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116A13-BA14-445F-8B69-F957E50903F0}">
      <dsp:nvSpPr>
        <dsp:cNvPr id="0" name=""/>
        <dsp:cNvSpPr/>
      </dsp:nvSpPr>
      <dsp:spPr>
        <a:xfrm>
          <a:off x="1771974" y="2928009"/>
          <a:ext cx="144904" cy="14490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4A9DF66-1038-4C24-8B68-5B5DC9B695A1}">
      <dsp:nvSpPr>
        <dsp:cNvPr id="0" name=""/>
        <dsp:cNvSpPr/>
      </dsp:nvSpPr>
      <dsp:spPr>
        <a:xfrm>
          <a:off x="1783892" y="3000461"/>
          <a:ext cx="946390" cy="9371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782" tIns="0" rIns="0" bIns="0" numCol="1" spcCol="1270" anchor="t" anchorCtr="0">
          <a:noAutofit/>
        </a:bodyPr>
        <a:lstStyle/>
        <a:p>
          <a:pPr marL="0" lvl="0" indent="0" algn="l" defTabSz="622300">
            <a:lnSpc>
              <a:spcPct val="90000"/>
            </a:lnSpc>
            <a:spcBef>
              <a:spcPct val="0"/>
            </a:spcBef>
            <a:spcAft>
              <a:spcPct val="35000"/>
            </a:spcAft>
            <a:buNone/>
          </a:pPr>
          <a:r>
            <a:rPr lang="en-US" sz="1400" b="1" kern="1200" dirty="0"/>
            <a:t>Higher efficiency with sector coupling</a:t>
          </a:r>
          <a:endParaRPr lang="en-GB" sz="1400" kern="1200" dirty="0"/>
        </a:p>
      </dsp:txBody>
      <dsp:txXfrm>
        <a:off x="1783892" y="3000461"/>
        <a:ext cx="946390" cy="937151"/>
      </dsp:txXfrm>
    </dsp:sp>
    <dsp:sp modelId="{FBFBFE4E-04BB-4B15-8F66-9D21983FAA1B}">
      <dsp:nvSpPr>
        <dsp:cNvPr id="0" name=""/>
        <dsp:cNvSpPr/>
      </dsp:nvSpPr>
      <dsp:spPr>
        <a:xfrm>
          <a:off x="2556346" y="2174349"/>
          <a:ext cx="226806" cy="22680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FC8E9F2-A183-49A7-90D0-AFD646520BB9}">
      <dsp:nvSpPr>
        <dsp:cNvPr id="0" name=""/>
        <dsp:cNvSpPr/>
      </dsp:nvSpPr>
      <dsp:spPr>
        <a:xfrm>
          <a:off x="2669749" y="2287753"/>
          <a:ext cx="1045830" cy="16498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0180" tIns="0" rIns="0" bIns="0" numCol="1" spcCol="1270" anchor="t" anchorCtr="0">
          <a:noAutofit/>
        </a:bodyPr>
        <a:lstStyle/>
        <a:p>
          <a:pPr marL="0" lvl="0" indent="0" algn="l" defTabSz="622300">
            <a:lnSpc>
              <a:spcPct val="90000"/>
            </a:lnSpc>
            <a:spcBef>
              <a:spcPct val="0"/>
            </a:spcBef>
            <a:spcAft>
              <a:spcPct val="35000"/>
            </a:spcAft>
            <a:buNone/>
          </a:pPr>
          <a:r>
            <a:rPr lang="en-US" sz="1400" b="1" kern="1200" dirty="0"/>
            <a:t>Increased renewable energy storage</a:t>
          </a:r>
          <a:endParaRPr lang="en-GB" sz="1400" kern="1200" dirty="0"/>
        </a:p>
      </dsp:txBody>
      <dsp:txXfrm>
        <a:off x="2669749" y="2287753"/>
        <a:ext cx="1045830" cy="1649859"/>
      </dsp:txXfrm>
    </dsp:sp>
    <dsp:sp modelId="{D76F6919-7F28-469C-8086-03D31D2473BE}">
      <dsp:nvSpPr>
        <dsp:cNvPr id="0" name=""/>
        <dsp:cNvSpPr/>
      </dsp:nvSpPr>
      <dsp:spPr>
        <a:xfrm>
          <a:off x="3564375" y="1573470"/>
          <a:ext cx="302408" cy="30240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08B599-4E2D-4750-8F72-4CC220540921}">
      <dsp:nvSpPr>
        <dsp:cNvPr id="0" name=""/>
        <dsp:cNvSpPr/>
      </dsp:nvSpPr>
      <dsp:spPr>
        <a:xfrm>
          <a:off x="3715579" y="1724674"/>
          <a:ext cx="1215934" cy="22129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0240" tIns="0" rIns="0" bIns="0" numCol="1" spcCol="1270" anchor="t" anchorCtr="0">
          <a:noAutofit/>
        </a:bodyPr>
        <a:lstStyle/>
        <a:p>
          <a:pPr marL="0" lvl="0" indent="0" algn="l" defTabSz="622300">
            <a:lnSpc>
              <a:spcPct val="90000"/>
            </a:lnSpc>
            <a:spcBef>
              <a:spcPct val="0"/>
            </a:spcBef>
            <a:spcAft>
              <a:spcPct val="35000"/>
            </a:spcAft>
            <a:buNone/>
          </a:pPr>
          <a:r>
            <a:rPr lang="en-US" sz="1400" b="1" kern="1200" dirty="0"/>
            <a:t>Large cost savings v new </a:t>
          </a:r>
          <a:r>
            <a:rPr lang="en-US" sz="1400" b="1" kern="1200" dirty="0" err="1"/>
            <a:t>elec</a:t>
          </a:r>
          <a:r>
            <a:rPr lang="en-US" sz="1400" b="1" kern="1200" dirty="0"/>
            <a:t> networks</a:t>
          </a:r>
          <a:endParaRPr lang="en-GB" sz="1400" b="1" kern="1200" dirty="0"/>
        </a:p>
      </dsp:txBody>
      <dsp:txXfrm>
        <a:off x="3715579" y="1724674"/>
        <a:ext cx="1215934" cy="2212938"/>
      </dsp:txXfrm>
    </dsp:sp>
    <dsp:sp modelId="{5ABC2377-9B61-4A7E-A19E-118417FC961B}">
      <dsp:nvSpPr>
        <dsp:cNvPr id="0" name=""/>
        <dsp:cNvSpPr/>
      </dsp:nvSpPr>
      <dsp:spPr>
        <a:xfrm>
          <a:off x="4736209" y="1104106"/>
          <a:ext cx="390611" cy="390611"/>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E11E3B-9697-4B26-A63E-F0CF55A78846}">
      <dsp:nvSpPr>
        <dsp:cNvPr id="0" name=""/>
        <dsp:cNvSpPr/>
      </dsp:nvSpPr>
      <dsp:spPr>
        <a:xfrm>
          <a:off x="4931514" y="1299412"/>
          <a:ext cx="1260036" cy="2638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6977" tIns="0" rIns="0" bIns="0" numCol="1" spcCol="1270" anchor="t" anchorCtr="0">
          <a:noAutofit/>
        </a:bodyPr>
        <a:lstStyle/>
        <a:p>
          <a:pPr marL="0" lvl="0" indent="0" algn="l" defTabSz="622300">
            <a:lnSpc>
              <a:spcPct val="90000"/>
            </a:lnSpc>
            <a:spcBef>
              <a:spcPct val="0"/>
            </a:spcBef>
            <a:spcAft>
              <a:spcPct val="35000"/>
            </a:spcAft>
            <a:buNone/>
          </a:pPr>
          <a:r>
            <a:rPr lang="en-US" sz="1400" b="1" kern="1200" dirty="0"/>
            <a:t>Sector integration - </a:t>
          </a:r>
          <a:r>
            <a:rPr lang="en-US" sz="1400" b="1" kern="1200" dirty="0" err="1"/>
            <a:t>optimise</a:t>
          </a:r>
          <a:r>
            <a:rPr lang="en-US" sz="1400" b="1" kern="1200" dirty="0"/>
            <a:t> local resources </a:t>
          </a:r>
          <a:endParaRPr lang="en-GB" sz="1400" kern="1200" dirty="0"/>
        </a:p>
      </dsp:txBody>
      <dsp:txXfrm>
        <a:off x="4931514" y="1299412"/>
        <a:ext cx="1260036" cy="2638200"/>
      </dsp:txXfrm>
    </dsp:sp>
    <dsp:sp modelId="{F41C3621-08C6-456A-AE87-DE85C52BF864}">
      <dsp:nvSpPr>
        <dsp:cNvPr id="0" name=""/>
        <dsp:cNvSpPr/>
      </dsp:nvSpPr>
      <dsp:spPr>
        <a:xfrm>
          <a:off x="5942693" y="790672"/>
          <a:ext cx="497714" cy="49771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CDCFD4-906D-4501-BDA8-F2C2A35B634D}">
      <dsp:nvSpPr>
        <dsp:cNvPr id="0" name=""/>
        <dsp:cNvSpPr/>
      </dsp:nvSpPr>
      <dsp:spPr>
        <a:xfrm>
          <a:off x="6196263" y="1202561"/>
          <a:ext cx="1738295" cy="20030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3728" tIns="0" rIns="0" bIns="0" numCol="1" spcCol="1270" anchor="t" anchorCtr="0">
          <a:noAutofit/>
        </a:bodyPr>
        <a:lstStyle/>
        <a:p>
          <a:pPr marL="0" lvl="0" indent="0" algn="l" defTabSz="622300">
            <a:lnSpc>
              <a:spcPct val="90000"/>
            </a:lnSpc>
            <a:spcBef>
              <a:spcPct val="0"/>
            </a:spcBef>
            <a:spcAft>
              <a:spcPct val="35000"/>
            </a:spcAft>
            <a:buNone/>
          </a:pPr>
          <a:r>
            <a:rPr lang="en-US" sz="1400" b="1" kern="1200" dirty="0"/>
            <a:t>Enables transition from </a:t>
          </a:r>
          <a:r>
            <a:rPr lang="en-US" sz="1400" b="1" kern="1200" dirty="0" err="1"/>
            <a:t>nat</a:t>
          </a:r>
          <a:r>
            <a:rPr lang="en-US" sz="1400" b="1" kern="1200" dirty="0"/>
            <a:t> gas to  renew/decarb gases</a:t>
          </a:r>
          <a:endParaRPr lang="en-GB" sz="800" b="1" kern="1200" dirty="0"/>
        </a:p>
      </dsp:txBody>
      <dsp:txXfrm>
        <a:off x="6196263" y="1202561"/>
        <a:ext cx="1738295" cy="2003068"/>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1.emf"/></Relationships>
</file>

<file path=ppt/drawings/drawing1.xml><?xml version="1.0" encoding="utf-8"?>
<c:userShapes xmlns:c="http://schemas.openxmlformats.org/drawingml/2006/chart">
  <cdr:relSizeAnchor xmlns:cdr="http://schemas.openxmlformats.org/drawingml/2006/chartDrawing">
    <cdr:from>
      <cdr:x>0.22973</cdr:x>
      <cdr:y>0.8292</cdr:y>
    </cdr:from>
    <cdr:to>
      <cdr:x>0.63778</cdr:x>
      <cdr:y>0.88722</cdr:y>
    </cdr:to>
    <cdr:sp macro="" textlink="">
      <cdr:nvSpPr>
        <cdr:cNvPr id="2" name="Tekstboks 1"/>
        <cdr:cNvSpPr txBox="1"/>
      </cdr:nvSpPr>
      <cdr:spPr>
        <a:xfrm xmlns:a="http://schemas.openxmlformats.org/drawingml/2006/main">
          <a:off x="1824883" y="3519196"/>
          <a:ext cx="3241382" cy="246221"/>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lIns="36000" tIns="0" rIns="0" bIns="0" rtlCol="0">
          <a:spAutoFit/>
        </a:bodyPr>
        <a:lstStyle xmlns:a="http://schemas.openxmlformats.org/drawingml/2006/main"/>
        <a:p xmlns:a="http://schemas.openxmlformats.org/drawingml/2006/main">
          <a:r>
            <a:rPr lang="da-DK" sz="1600" dirty="0"/>
            <a:t>GCA m/PtX </a:t>
          </a:r>
          <a:r>
            <a:rPr lang="da-DK" sz="1200" dirty="0"/>
            <a:t>(</a:t>
          </a:r>
          <a:r>
            <a:rPr lang="da-DK" sz="1200" dirty="0" err="1"/>
            <a:t>elektrolysis</a:t>
          </a:r>
          <a:r>
            <a:rPr lang="da-DK" sz="1200" dirty="0"/>
            <a:t> tipping </a:t>
          </a:r>
          <a:r>
            <a:rPr lang="da-DK" sz="1200" dirty="0" err="1"/>
            <a:t>price</a:t>
          </a:r>
          <a:r>
            <a:rPr lang="da-DK" sz="1200" dirty="0"/>
            <a:t> 50€/MWh)</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2" y="5"/>
            <a:ext cx="2944813" cy="495300"/>
          </a:xfrm>
          <a:prstGeom prst="rect">
            <a:avLst/>
          </a:prstGeom>
          <a:noFill/>
          <a:ln w="9525">
            <a:noFill/>
            <a:miter lim="800000"/>
            <a:headEnd/>
            <a:tailEnd/>
          </a:ln>
          <a:effectLst/>
        </p:spPr>
        <p:txBody>
          <a:bodyPr vert="horz" wrap="square" lIns="92192" tIns="46097" rIns="92192" bIns="46097" numCol="1" anchor="t" anchorCtr="0" compatLnSpc="1">
            <a:prstTxWarp prst="textNoShape">
              <a:avLst/>
            </a:prstTxWarp>
          </a:bodyPr>
          <a:lstStyle>
            <a:lvl1pPr defTabSz="921942" eaLnBrk="1" hangingPunct="1">
              <a:defRPr sz="1200">
                <a:latin typeface="Times New Roman" pitchFamily="18" charset="0"/>
              </a:defRPr>
            </a:lvl1pPr>
          </a:lstStyle>
          <a:p>
            <a:pPr>
              <a:defRPr/>
            </a:pPr>
            <a:endParaRPr lang="de-DE"/>
          </a:p>
        </p:txBody>
      </p:sp>
      <p:sp>
        <p:nvSpPr>
          <p:cNvPr id="19459" name="Rectangle 3"/>
          <p:cNvSpPr>
            <a:spLocks noGrp="1" noChangeArrowheads="1"/>
          </p:cNvSpPr>
          <p:nvPr>
            <p:ph type="dt" sz="quarter" idx="1"/>
          </p:nvPr>
        </p:nvSpPr>
        <p:spPr bwMode="auto">
          <a:xfrm>
            <a:off x="3852864" y="5"/>
            <a:ext cx="2944811" cy="495300"/>
          </a:xfrm>
          <a:prstGeom prst="rect">
            <a:avLst/>
          </a:prstGeom>
          <a:noFill/>
          <a:ln w="9525">
            <a:noFill/>
            <a:miter lim="800000"/>
            <a:headEnd/>
            <a:tailEnd/>
          </a:ln>
          <a:effectLst/>
        </p:spPr>
        <p:txBody>
          <a:bodyPr vert="horz" wrap="square" lIns="92192" tIns="46097" rIns="92192" bIns="46097" numCol="1" anchor="t" anchorCtr="0" compatLnSpc="1">
            <a:prstTxWarp prst="textNoShape">
              <a:avLst/>
            </a:prstTxWarp>
          </a:bodyPr>
          <a:lstStyle>
            <a:lvl1pPr algn="r" defTabSz="921942" eaLnBrk="1" hangingPunct="1">
              <a:defRPr sz="1200">
                <a:latin typeface="Times New Roman" pitchFamily="18" charset="0"/>
              </a:defRPr>
            </a:lvl1pPr>
          </a:lstStyle>
          <a:p>
            <a:pPr>
              <a:defRPr/>
            </a:pPr>
            <a:endParaRPr lang="de-DE"/>
          </a:p>
        </p:txBody>
      </p:sp>
      <p:sp>
        <p:nvSpPr>
          <p:cNvPr id="19460" name="Rectangle 4"/>
          <p:cNvSpPr>
            <a:spLocks noGrp="1" noChangeArrowheads="1"/>
          </p:cNvSpPr>
          <p:nvPr>
            <p:ph type="ftr" sz="quarter" idx="2"/>
          </p:nvPr>
        </p:nvSpPr>
        <p:spPr bwMode="auto">
          <a:xfrm>
            <a:off x="2" y="9431342"/>
            <a:ext cx="2944813" cy="495300"/>
          </a:xfrm>
          <a:prstGeom prst="rect">
            <a:avLst/>
          </a:prstGeom>
          <a:noFill/>
          <a:ln w="9525">
            <a:noFill/>
            <a:miter lim="800000"/>
            <a:headEnd/>
            <a:tailEnd/>
          </a:ln>
          <a:effectLst/>
        </p:spPr>
        <p:txBody>
          <a:bodyPr vert="horz" wrap="square" lIns="92192" tIns="46097" rIns="92192" bIns="46097" numCol="1" anchor="b" anchorCtr="0" compatLnSpc="1">
            <a:prstTxWarp prst="textNoShape">
              <a:avLst/>
            </a:prstTxWarp>
          </a:bodyPr>
          <a:lstStyle>
            <a:lvl1pPr defTabSz="921942" eaLnBrk="1" hangingPunct="1">
              <a:defRPr sz="1200">
                <a:latin typeface="Times New Roman" pitchFamily="18" charset="0"/>
              </a:defRPr>
            </a:lvl1pPr>
          </a:lstStyle>
          <a:p>
            <a:pPr>
              <a:defRPr/>
            </a:pPr>
            <a:endParaRPr lang="de-DE"/>
          </a:p>
        </p:txBody>
      </p:sp>
      <p:sp>
        <p:nvSpPr>
          <p:cNvPr id="19461" name="Rectangle 5"/>
          <p:cNvSpPr>
            <a:spLocks noGrp="1" noChangeArrowheads="1"/>
          </p:cNvSpPr>
          <p:nvPr>
            <p:ph type="sldNum" sz="quarter" idx="3"/>
          </p:nvPr>
        </p:nvSpPr>
        <p:spPr bwMode="auto">
          <a:xfrm>
            <a:off x="3852864" y="9431342"/>
            <a:ext cx="2944811" cy="495300"/>
          </a:xfrm>
          <a:prstGeom prst="rect">
            <a:avLst/>
          </a:prstGeom>
          <a:noFill/>
          <a:ln w="9525">
            <a:noFill/>
            <a:miter lim="800000"/>
            <a:headEnd/>
            <a:tailEnd/>
          </a:ln>
          <a:effectLst/>
        </p:spPr>
        <p:txBody>
          <a:bodyPr vert="horz" wrap="square" lIns="92192" tIns="46097" rIns="92192" bIns="46097" numCol="1" anchor="b" anchorCtr="0" compatLnSpc="1">
            <a:prstTxWarp prst="textNoShape">
              <a:avLst/>
            </a:prstTxWarp>
          </a:bodyPr>
          <a:lstStyle>
            <a:lvl1pPr algn="r" defTabSz="921942" eaLnBrk="1" hangingPunct="1">
              <a:defRPr sz="1200">
                <a:latin typeface="Times New Roman" pitchFamily="18" charset="0"/>
              </a:defRPr>
            </a:lvl1pPr>
          </a:lstStyle>
          <a:p>
            <a:pPr>
              <a:defRPr/>
            </a:pPr>
            <a:fld id="{B0CA330A-F0FF-432B-AA5C-ECBEAE469D1F}" type="slidenum">
              <a:rPr lang="de-DE"/>
              <a:pPr>
                <a:defRPr/>
              </a:pPr>
              <a:t>‹#›</a:t>
            </a:fld>
            <a:endParaRPr lang="de-DE"/>
          </a:p>
        </p:txBody>
      </p:sp>
    </p:spTree>
    <p:extLst>
      <p:ext uri="{BB962C8B-B14F-4D97-AF65-F5344CB8AC3E}">
        <p14:creationId xmlns:p14="http://schemas.microsoft.com/office/powerpoint/2010/main" val="1112744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082" name="Rectangle 2"/>
          <p:cNvSpPr>
            <a:spLocks noGrp="1" noChangeArrowheads="1"/>
          </p:cNvSpPr>
          <p:nvPr>
            <p:ph type="hdr" sz="quarter"/>
          </p:nvPr>
        </p:nvSpPr>
        <p:spPr bwMode="auto">
          <a:xfrm>
            <a:off x="2" y="2"/>
            <a:ext cx="2971801" cy="533400"/>
          </a:xfrm>
          <a:prstGeom prst="rect">
            <a:avLst/>
          </a:prstGeom>
          <a:noFill/>
          <a:ln w="9525">
            <a:noFill/>
            <a:miter lim="800000"/>
            <a:headEnd/>
            <a:tailEnd/>
          </a:ln>
          <a:effectLst/>
        </p:spPr>
        <p:txBody>
          <a:bodyPr vert="horz" wrap="square" lIns="92034" tIns="46017" rIns="92034" bIns="46017" numCol="1" anchor="t" anchorCtr="0" compatLnSpc="1">
            <a:prstTxWarp prst="textNoShape">
              <a:avLst/>
            </a:prstTxWarp>
          </a:bodyPr>
          <a:lstStyle>
            <a:lvl1pPr eaLnBrk="1" hangingPunct="1">
              <a:defRPr sz="1200">
                <a:latin typeface="Times New Roman" pitchFamily="18" charset="0"/>
              </a:defRPr>
            </a:lvl1pPr>
          </a:lstStyle>
          <a:p>
            <a:pPr>
              <a:defRPr/>
            </a:pPr>
            <a:endParaRPr lang="de-DE"/>
          </a:p>
        </p:txBody>
      </p:sp>
      <p:sp>
        <p:nvSpPr>
          <p:cNvPr id="46083" name="Rectangle 3"/>
          <p:cNvSpPr>
            <a:spLocks noGrp="1" noChangeArrowheads="1"/>
          </p:cNvSpPr>
          <p:nvPr>
            <p:ph type="dt" idx="1"/>
          </p:nvPr>
        </p:nvSpPr>
        <p:spPr bwMode="auto">
          <a:xfrm>
            <a:off x="3886199" y="2"/>
            <a:ext cx="2895600" cy="533400"/>
          </a:xfrm>
          <a:prstGeom prst="rect">
            <a:avLst/>
          </a:prstGeom>
          <a:noFill/>
          <a:ln w="9525">
            <a:noFill/>
            <a:miter lim="800000"/>
            <a:headEnd/>
            <a:tailEnd/>
          </a:ln>
          <a:effectLst/>
        </p:spPr>
        <p:txBody>
          <a:bodyPr vert="horz" wrap="square" lIns="92034" tIns="46017" rIns="92034" bIns="46017" numCol="1" anchor="t" anchorCtr="0" compatLnSpc="1">
            <a:prstTxWarp prst="textNoShape">
              <a:avLst/>
            </a:prstTxWarp>
          </a:bodyPr>
          <a:lstStyle>
            <a:lvl1pPr algn="r" eaLnBrk="1" hangingPunct="1">
              <a:defRPr sz="1200">
                <a:latin typeface="Times New Roman" pitchFamily="18" charset="0"/>
              </a:defRPr>
            </a:lvl1pPr>
          </a:lstStyle>
          <a:p>
            <a:pPr>
              <a:defRPr/>
            </a:pPr>
            <a:endParaRPr lang="de-DE"/>
          </a:p>
        </p:txBody>
      </p:sp>
      <p:sp>
        <p:nvSpPr>
          <p:cNvPr id="4100" name="Rectangle 4"/>
          <p:cNvSpPr>
            <a:spLocks noGrp="1" noRot="1" noChangeAspect="1" noChangeArrowheads="1" noTextEdit="1"/>
          </p:cNvSpPr>
          <p:nvPr>
            <p:ph type="sldImg" idx="2"/>
          </p:nvPr>
        </p:nvSpPr>
        <p:spPr bwMode="auto">
          <a:xfrm>
            <a:off x="71438" y="762000"/>
            <a:ext cx="6637337" cy="3733800"/>
          </a:xfrm>
          <a:prstGeom prst="rect">
            <a:avLst/>
          </a:prstGeom>
          <a:noFill/>
          <a:ln w="9525">
            <a:solidFill>
              <a:srgbClr val="000000"/>
            </a:solidFill>
            <a:miter lim="800000"/>
            <a:headEnd/>
            <a:tailEnd/>
          </a:ln>
        </p:spPr>
      </p:sp>
      <p:sp>
        <p:nvSpPr>
          <p:cNvPr id="46085" name="Rectangle 5"/>
          <p:cNvSpPr>
            <a:spLocks noGrp="1" noChangeArrowheads="1"/>
          </p:cNvSpPr>
          <p:nvPr>
            <p:ph type="body" sz="quarter" idx="3"/>
          </p:nvPr>
        </p:nvSpPr>
        <p:spPr bwMode="auto">
          <a:xfrm>
            <a:off x="914403" y="4724402"/>
            <a:ext cx="4952999" cy="4495801"/>
          </a:xfrm>
          <a:prstGeom prst="rect">
            <a:avLst/>
          </a:prstGeom>
          <a:noFill/>
          <a:ln w="9525">
            <a:noFill/>
            <a:miter lim="800000"/>
            <a:headEnd/>
            <a:tailEnd/>
          </a:ln>
          <a:effectLst/>
        </p:spPr>
        <p:txBody>
          <a:bodyPr vert="horz" wrap="square" lIns="92034" tIns="46017" rIns="92034" bIns="46017" numCol="1" anchor="t" anchorCtr="0" compatLnSpc="1">
            <a:prstTxWarp prst="textNoShape">
              <a:avLst/>
            </a:prstTxWarp>
          </a:bodyPr>
          <a:lstStyle/>
          <a:p>
            <a:pPr lvl="0"/>
            <a:r>
              <a:rPr lang="de-DE" noProof="0"/>
              <a:t>Klicken Sie, um die Formate des Vorlagentextes zu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6086" name="Rectangle 6"/>
          <p:cNvSpPr>
            <a:spLocks noGrp="1" noChangeArrowheads="1"/>
          </p:cNvSpPr>
          <p:nvPr>
            <p:ph type="ftr" sz="quarter" idx="4"/>
          </p:nvPr>
        </p:nvSpPr>
        <p:spPr bwMode="auto">
          <a:xfrm>
            <a:off x="2" y="9450388"/>
            <a:ext cx="2971801" cy="455610"/>
          </a:xfrm>
          <a:prstGeom prst="rect">
            <a:avLst/>
          </a:prstGeom>
          <a:noFill/>
          <a:ln w="9525">
            <a:noFill/>
            <a:miter lim="800000"/>
            <a:headEnd/>
            <a:tailEnd/>
          </a:ln>
          <a:effectLst/>
        </p:spPr>
        <p:txBody>
          <a:bodyPr vert="horz" wrap="square" lIns="92034" tIns="46017" rIns="92034" bIns="46017" numCol="1" anchor="b" anchorCtr="0" compatLnSpc="1">
            <a:prstTxWarp prst="textNoShape">
              <a:avLst/>
            </a:prstTxWarp>
          </a:bodyPr>
          <a:lstStyle>
            <a:lvl1pPr eaLnBrk="1" hangingPunct="1">
              <a:defRPr sz="1200">
                <a:latin typeface="Times New Roman" pitchFamily="18" charset="0"/>
              </a:defRPr>
            </a:lvl1pPr>
          </a:lstStyle>
          <a:p>
            <a:pPr>
              <a:defRPr/>
            </a:pPr>
            <a:endParaRPr lang="de-DE"/>
          </a:p>
        </p:txBody>
      </p:sp>
      <p:sp>
        <p:nvSpPr>
          <p:cNvPr id="46087" name="Rectangle 7"/>
          <p:cNvSpPr>
            <a:spLocks noGrp="1" noChangeArrowheads="1"/>
          </p:cNvSpPr>
          <p:nvPr>
            <p:ph type="sldNum" sz="quarter" idx="5"/>
          </p:nvPr>
        </p:nvSpPr>
        <p:spPr bwMode="auto">
          <a:xfrm>
            <a:off x="3886199" y="9450388"/>
            <a:ext cx="2895600" cy="455610"/>
          </a:xfrm>
          <a:prstGeom prst="rect">
            <a:avLst/>
          </a:prstGeom>
          <a:noFill/>
          <a:ln w="9525">
            <a:noFill/>
            <a:miter lim="800000"/>
            <a:headEnd/>
            <a:tailEnd/>
          </a:ln>
          <a:effectLst/>
        </p:spPr>
        <p:txBody>
          <a:bodyPr vert="horz" wrap="square" lIns="92034" tIns="46017" rIns="92034" bIns="46017" numCol="1" anchor="b" anchorCtr="0" compatLnSpc="1">
            <a:prstTxWarp prst="textNoShape">
              <a:avLst/>
            </a:prstTxWarp>
          </a:bodyPr>
          <a:lstStyle>
            <a:lvl1pPr algn="r" eaLnBrk="1" hangingPunct="1">
              <a:defRPr sz="1200">
                <a:latin typeface="Times New Roman" pitchFamily="18" charset="0"/>
              </a:defRPr>
            </a:lvl1pPr>
          </a:lstStyle>
          <a:p>
            <a:pPr>
              <a:defRPr/>
            </a:pPr>
            <a:fld id="{D5A7BADA-97D2-4395-9851-02451DD6FFAB}" type="slidenum">
              <a:rPr lang="de-DE"/>
              <a:pPr>
                <a:defRPr/>
              </a:pPr>
              <a:t>‹#›</a:t>
            </a:fld>
            <a:endParaRPr lang="de-DE"/>
          </a:p>
        </p:txBody>
      </p:sp>
    </p:spTree>
    <p:extLst>
      <p:ext uri="{BB962C8B-B14F-4D97-AF65-F5344CB8AC3E}">
        <p14:creationId xmlns:p14="http://schemas.microsoft.com/office/powerpoint/2010/main" val="16036870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canmail.trustwave.com/?c=6600&amp;d=kOja3KuldbVxLUUUETr2vbQrQyB__3rJ2vcUcLK5zQ&amp;s=328&amp;u=http://www.ervia.ie/decarbonising-domestic-he/KPMG-Irish-Gas-Pathways-Report.pdf"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166688"/>
            <a:ext cx="7167563" cy="4032250"/>
          </a:xfrm>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7176FD7-4139-8242-BBF6-8B89F6FB0326}" type="slidenum">
              <a:rPr lang="en-US" smtClean="0"/>
              <a:t>1</a:t>
            </a:fld>
            <a:endParaRPr lang="en-US"/>
          </a:p>
        </p:txBody>
      </p:sp>
    </p:spTree>
    <p:extLst>
      <p:ext uri="{BB962C8B-B14F-4D97-AF65-F5344CB8AC3E}">
        <p14:creationId xmlns:p14="http://schemas.microsoft.com/office/powerpoint/2010/main" val="4299964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166688"/>
            <a:ext cx="7167563" cy="4032250"/>
          </a:xfrm>
        </p:spPr>
      </p:sp>
      <p:sp>
        <p:nvSpPr>
          <p:cNvPr id="3" name="Notes Placeholder 2"/>
          <p:cNvSpPr>
            <a:spLocks noGrp="1"/>
          </p:cNvSpPr>
          <p:nvPr>
            <p:ph type="body" idx="1"/>
          </p:nvPr>
        </p:nvSpPr>
        <p:spPr/>
        <p:txBody>
          <a:bodyPr/>
          <a:lstStyle/>
          <a:p>
            <a:pPr marL="0" indent="0">
              <a:buFontTx/>
              <a:buNone/>
            </a:pPr>
            <a:r>
              <a:rPr lang="en-US" sz="1200" b="1" dirty="0">
                <a:solidFill>
                  <a:schemeClr val="tx1"/>
                </a:solidFill>
              </a:rPr>
              <a:t>Text on slide</a:t>
            </a:r>
            <a:endParaRPr lang="en-GB" sz="1200" b="1" dirty="0">
              <a:solidFill>
                <a:schemeClr val="tx1"/>
              </a:solidFill>
            </a:endParaRPr>
          </a:p>
          <a:p>
            <a:pPr marL="0" indent="0">
              <a:buFontTx/>
              <a:buNone/>
            </a:pPr>
            <a:endParaRPr lang="en-US" sz="1200" dirty="0">
              <a:solidFill>
                <a:schemeClr val="tx1"/>
              </a:solidFill>
            </a:endParaRPr>
          </a:p>
          <a:p>
            <a:pPr marL="0" indent="0">
              <a:buFontTx/>
              <a:buNone/>
            </a:pPr>
            <a:endParaRPr lang="en-US" sz="1200" dirty="0">
              <a:solidFill>
                <a:schemeClr val="tx1"/>
              </a:solidFill>
            </a:endParaRPr>
          </a:p>
          <a:p>
            <a:pPr marL="0" indent="0">
              <a:buFontTx/>
              <a:buNone/>
            </a:pPr>
            <a:r>
              <a:rPr lang="en-US" sz="1200" dirty="0">
                <a:solidFill>
                  <a:schemeClr val="tx1"/>
                </a:solidFill>
              </a:rPr>
              <a:t>I</a:t>
            </a:r>
            <a:r>
              <a:rPr lang="en-GB" sz="1200" dirty="0">
                <a:solidFill>
                  <a:schemeClr val="tx1"/>
                </a:solidFill>
              </a:rPr>
              <a:t>s asked - the study assumes:</a:t>
            </a:r>
          </a:p>
          <a:p>
            <a:pPr marL="285750" indent="-285750">
              <a:buFontTx/>
              <a:buChar char="-"/>
            </a:pPr>
            <a:r>
              <a:rPr lang="en-GB" sz="1200" dirty="0">
                <a:solidFill>
                  <a:schemeClr val="tx1"/>
                </a:solidFill>
              </a:rPr>
              <a:t>1,170 </a:t>
            </a:r>
            <a:r>
              <a:rPr lang="en-GB" sz="1200" dirty="0" err="1">
                <a:solidFill>
                  <a:schemeClr val="tx1"/>
                </a:solidFill>
              </a:rPr>
              <a:t>TWh</a:t>
            </a:r>
            <a:r>
              <a:rPr lang="en-GB" sz="1200" dirty="0">
                <a:solidFill>
                  <a:schemeClr val="tx1"/>
                </a:solidFill>
              </a:rPr>
              <a:t> renewable methane &amp; 1,710 </a:t>
            </a:r>
            <a:r>
              <a:rPr lang="en-GB" sz="1200" dirty="0" err="1">
                <a:solidFill>
                  <a:schemeClr val="tx1"/>
                </a:solidFill>
              </a:rPr>
              <a:t>TWh</a:t>
            </a:r>
            <a:r>
              <a:rPr lang="en-GB" sz="1200" dirty="0">
                <a:solidFill>
                  <a:schemeClr val="tx1"/>
                </a:solidFill>
              </a:rPr>
              <a:t> hydrogen </a:t>
            </a:r>
          </a:p>
          <a:p>
            <a:pPr marL="285750" indent="-285750">
              <a:buFontTx/>
              <a:buChar char="-"/>
            </a:pPr>
            <a:r>
              <a:rPr lang="en-GB" sz="1200" dirty="0">
                <a:solidFill>
                  <a:schemeClr val="tx1"/>
                </a:solidFill>
              </a:rPr>
              <a:t>270 billion cubic metres of natural gas (energy content). </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76FD7-4139-8242-BBF6-8B89F6FB03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2596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33486" y="6987290"/>
            <a:ext cx="4292835" cy="5716872"/>
          </a:xfrm>
        </p:spPr>
        <p:txBody>
          <a:bodyPr/>
          <a:lstStyle/>
          <a:p>
            <a:pPr marL="0" indent="0">
              <a:spcBef>
                <a:spcPts val="400"/>
              </a:spcBef>
              <a:buFont typeface="Arial" panose="020B0604020202020204" pitchFamily="34" charset="0"/>
              <a:buNone/>
            </a:pPr>
            <a:r>
              <a:rPr lang="en-IE" sz="1000" kern="1200" dirty="0">
                <a:solidFill>
                  <a:schemeClr val="tx1"/>
                </a:solidFill>
                <a:effectLst/>
                <a:latin typeface="Times New Roman" pitchFamily="18" charset="0"/>
                <a:ea typeface="+mn-ea"/>
                <a:cs typeface="+mn-cs"/>
              </a:rPr>
              <a:t>For example, an </a:t>
            </a:r>
            <a:r>
              <a:rPr lang="en-IE" sz="1000" b="1" kern="1200" dirty="0">
                <a:solidFill>
                  <a:schemeClr val="tx1"/>
                </a:solidFill>
                <a:effectLst/>
                <a:latin typeface="Times New Roman" pitchFamily="18" charset="0"/>
                <a:ea typeface="+mn-ea"/>
                <a:cs typeface="+mn-cs"/>
              </a:rPr>
              <a:t>example of sector integration </a:t>
            </a:r>
            <a:r>
              <a:rPr lang="en-IE" sz="1000" kern="1200" dirty="0">
                <a:solidFill>
                  <a:schemeClr val="tx1"/>
                </a:solidFill>
                <a:effectLst/>
                <a:latin typeface="Times New Roman" pitchFamily="18" charset="0"/>
                <a:ea typeface="+mn-ea"/>
                <a:cs typeface="+mn-cs"/>
              </a:rPr>
              <a:t>- the </a:t>
            </a:r>
            <a:r>
              <a:rPr lang="en-IE" sz="1000" b="1" kern="1200" dirty="0">
                <a:solidFill>
                  <a:schemeClr val="tx1"/>
                </a:solidFill>
                <a:effectLst/>
                <a:latin typeface="Times New Roman" pitchFamily="18" charset="0"/>
                <a:ea typeface="+mn-ea"/>
                <a:cs typeface="+mn-cs"/>
              </a:rPr>
              <a:t>Gas Network Ireland 2030 Vision</a:t>
            </a:r>
            <a:r>
              <a:rPr lang="en-IE" sz="1000" b="0" i="0" kern="1200" dirty="0">
                <a:solidFill>
                  <a:schemeClr val="tx1"/>
                </a:solidFill>
                <a:effectLst/>
                <a:latin typeface="Times New Roman" pitchFamily="18" charset="0"/>
                <a:ea typeface="+mn-ea"/>
                <a:cs typeface="+mn-cs"/>
              </a:rPr>
              <a:t> shows:</a:t>
            </a:r>
          </a:p>
          <a:p>
            <a:pPr marL="171450" indent="-171450">
              <a:spcBef>
                <a:spcPts val="400"/>
              </a:spcBef>
              <a:buFont typeface="Arial" panose="020B0604020202020204" pitchFamily="34" charset="0"/>
              <a:buChar char="•"/>
            </a:pPr>
            <a:endParaRPr lang="en-IE" sz="1000" kern="1200" dirty="0">
              <a:solidFill>
                <a:schemeClr val="tx1"/>
              </a:solidFill>
              <a:effectLst/>
              <a:latin typeface="Times New Roman" pitchFamily="18" charset="0"/>
              <a:ea typeface="+mn-ea"/>
              <a:cs typeface="+mn-cs"/>
            </a:endParaRPr>
          </a:p>
          <a:p>
            <a:pPr marL="171450" indent="-171450">
              <a:spcBef>
                <a:spcPts val="400"/>
              </a:spcBef>
              <a:buFont typeface="Arial" panose="020B0604020202020204" pitchFamily="34" charset="0"/>
              <a:buChar char="•"/>
            </a:pPr>
            <a:r>
              <a:rPr lang="en-IE" sz="1000" b="1" kern="1200" dirty="0">
                <a:solidFill>
                  <a:schemeClr val="tx1"/>
                </a:solidFill>
                <a:effectLst/>
                <a:latin typeface="Times New Roman" pitchFamily="18" charset="0"/>
                <a:ea typeface="+mn-ea"/>
                <a:cs typeface="+mn-cs"/>
              </a:rPr>
              <a:t>gas network </a:t>
            </a:r>
            <a:r>
              <a:rPr lang="en-IE" sz="1000" kern="1200" dirty="0">
                <a:solidFill>
                  <a:schemeClr val="tx1"/>
                </a:solidFill>
                <a:effectLst/>
                <a:latin typeface="Times New Roman" pitchFamily="18" charset="0"/>
                <a:ea typeface="+mn-ea"/>
                <a:cs typeface="+mn-cs"/>
              </a:rPr>
              <a:t>can be used to reduce emissions in Ireland by over 17.5 million tonnes of CO</a:t>
            </a:r>
            <a:r>
              <a:rPr lang="en-IE" sz="1000" kern="1200" baseline="-25000" dirty="0">
                <a:solidFill>
                  <a:schemeClr val="tx1"/>
                </a:solidFill>
                <a:effectLst/>
                <a:latin typeface="Times New Roman" pitchFamily="18" charset="0"/>
                <a:ea typeface="+mn-ea"/>
                <a:cs typeface="+mn-cs"/>
              </a:rPr>
              <a:t>2</a:t>
            </a:r>
            <a:r>
              <a:rPr lang="en-IE" sz="1000" kern="1200" dirty="0">
                <a:solidFill>
                  <a:schemeClr val="tx1"/>
                </a:solidFill>
                <a:effectLst/>
                <a:latin typeface="Times New Roman" pitchFamily="18" charset="0"/>
                <a:ea typeface="+mn-ea"/>
                <a:cs typeface="+mn-cs"/>
              </a:rPr>
              <a:t> per annum by 2050 - compared with 2016 levels. </a:t>
            </a:r>
          </a:p>
          <a:p>
            <a:pPr marL="171450" indent="-171450">
              <a:spcBef>
                <a:spcPts val="400"/>
              </a:spcBef>
              <a:buFont typeface="Arial" panose="020B0604020202020204" pitchFamily="34" charset="0"/>
              <a:buChar char="•"/>
            </a:pPr>
            <a:r>
              <a:rPr lang="en-GB" sz="1000" dirty="0"/>
              <a:t>targets 11.5 </a:t>
            </a:r>
            <a:r>
              <a:rPr lang="en-GB" sz="1000" dirty="0" err="1"/>
              <a:t>TWh</a:t>
            </a:r>
            <a:r>
              <a:rPr lang="en-GB" sz="1000" dirty="0"/>
              <a:t> </a:t>
            </a:r>
            <a:r>
              <a:rPr lang="en-GB" sz="1000" b="1" dirty="0"/>
              <a:t>renewable biogas production </a:t>
            </a:r>
            <a:r>
              <a:rPr lang="en-GB" sz="1000" dirty="0"/>
              <a:t>by 2030 (</a:t>
            </a:r>
            <a:r>
              <a:rPr lang="en-GB" sz="1000" b="1" dirty="0"/>
              <a:t>20% of current demand). </a:t>
            </a:r>
            <a:endParaRPr lang="en-IE" sz="1000" b="1" dirty="0"/>
          </a:p>
          <a:p>
            <a:pPr marL="171450" indent="-171450">
              <a:spcBef>
                <a:spcPts val="400"/>
              </a:spcBef>
              <a:buFont typeface="Arial" panose="020B0604020202020204" pitchFamily="34" charset="0"/>
              <a:buChar char="•"/>
            </a:pPr>
            <a:endParaRPr lang="en-IE" sz="1000" kern="1200" dirty="0">
              <a:solidFill>
                <a:schemeClr val="tx1"/>
              </a:solidFill>
              <a:effectLst/>
              <a:latin typeface="Times New Roman" pitchFamily="18" charset="0"/>
              <a:ea typeface="+mn-ea"/>
              <a:cs typeface="+mn-cs"/>
            </a:endParaRPr>
          </a:p>
          <a:p>
            <a:pPr marL="0" indent="0">
              <a:spcBef>
                <a:spcPts val="400"/>
              </a:spcBef>
              <a:buFont typeface="Arial" panose="020B0604020202020204" pitchFamily="34" charset="0"/>
              <a:buNone/>
            </a:pPr>
            <a:r>
              <a:rPr lang="en-IE" sz="1000" kern="1200" dirty="0">
                <a:solidFill>
                  <a:schemeClr val="tx1"/>
                </a:solidFill>
                <a:effectLst/>
                <a:latin typeface="Times New Roman" pitchFamily="18" charset="0"/>
                <a:ea typeface="+mn-ea"/>
                <a:cs typeface="+mn-cs"/>
              </a:rPr>
              <a:t>A </a:t>
            </a:r>
            <a:r>
              <a:rPr lang="en-IE" sz="1000" kern="1200" dirty="0">
                <a:solidFill>
                  <a:schemeClr val="tx1"/>
                </a:solidFill>
                <a:effectLst/>
                <a:latin typeface="Times New Roman" pitchFamily="18" charset="0"/>
                <a:ea typeface="+mn-ea"/>
                <a:cs typeface="+mn-cs"/>
                <a:hlinkClick r:id="rId3">
                  <a:extLst>
                    <a:ext uri="{A12FA001-AC4F-418D-AE19-62706E023703}">
                      <ahyp:hlinkClr xmlns:ahyp="http://schemas.microsoft.com/office/drawing/2018/hyperlinkcolor" val="tx"/>
                    </a:ext>
                  </a:extLst>
                </a:hlinkClick>
              </a:rPr>
              <a:t>KPMG report</a:t>
            </a:r>
            <a:r>
              <a:rPr lang="en-IE" sz="1000" kern="1200" dirty="0">
                <a:solidFill>
                  <a:schemeClr val="tx1"/>
                </a:solidFill>
                <a:effectLst/>
                <a:latin typeface="Times New Roman" pitchFamily="18" charset="0"/>
                <a:ea typeface="+mn-ea"/>
                <a:cs typeface="+mn-cs"/>
              </a:rPr>
              <a:t>, </a:t>
            </a:r>
            <a:r>
              <a:rPr lang="en-GB" sz="1000" dirty="0"/>
              <a:t>commissioned by </a:t>
            </a:r>
            <a:r>
              <a:rPr lang="en-GB" sz="1000" dirty="0" err="1"/>
              <a:t>Ervia</a:t>
            </a:r>
            <a:r>
              <a:rPr lang="en-GB" sz="1000" dirty="0"/>
              <a:t>, parent company of GNI,</a:t>
            </a:r>
            <a:r>
              <a:rPr lang="en-IE" sz="1000" kern="1200" dirty="0">
                <a:solidFill>
                  <a:schemeClr val="tx1"/>
                </a:solidFill>
                <a:effectLst/>
                <a:latin typeface="Times New Roman" pitchFamily="18" charset="0"/>
                <a:ea typeface="+mn-ea"/>
                <a:cs typeface="+mn-cs"/>
              </a:rPr>
              <a:t> has indicated that using renewable gas is the most cost-effective way of decarbonising the heating of the 1 million homes located close to the existing gas network. There are currently approximately 688,000 houses connected to the gas network in Ireland, with plans in place to bring this figure to 1 million.</a:t>
            </a:r>
          </a:p>
          <a:p>
            <a:pPr marL="628650" marR="0" lvl="1" indent="-171450" algn="l" defTabSz="914400" rtl="0" eaLnBrk="1" fontAlgn="auto" latinLnBrk="0" hangingPunct="1">
              <a:lnSpc>
                <a:spcPct val="100000"/>
              </a:lnSpc>
              <a:spcBef>
                <a:spcPts val="400"/>
              </a:spcBef>
              <a:buClrTx/>
              <a:buSzTx/>
              <a:buFont typeface="Arial" panose="020B0604020202020204" pitchFamily="34" charset="0"/>
              <a:buChar char="•"/>
              <a:tabLst/>
              <a:defRPr/>
            </a:pPr>
            <a:r>
              <a:rPr lang="en-IE" sz="1000" kern="1200" dirty="0">
                <a:solidFill>
                  <a:schemeClr val="tx1"/>
                </a:solidFill>
                <a:effectLst/>
                <a:latin typeface="Times New Roman" pitchFamily="18" charset="0"/>
                <a:ea typeface="+mn-ea"/>
                <a:cs typeface="+mn-cs"/>
              </a:rPr>
              <a:t>This </a:t>
            </a:r>
            <a:r>
              <a:rPr lang="en-IE" sz="1000" dirty="0"/>
              <a:t>study found that </a:t>
            </a:r>
            <a:r>
              <a:rPr lang="en-IE" sz="1000" b="1" dirty="0"/>
              <a:t>e</a:t>
            </a:r>
            <a:r>
              <a:rPr lang="en-IE" sz="1000" b="1" kern="1200" dirty="0">
                <a:solidFill>
                  <a:schemeClr val="tx1"/>
                </a:solidFill>
                <a:effectLst/>
                <a:latin typeface="Times New Roman" pitchFamily="18" charset="0"/>
                <a:ea typeface="+mn-ea"/>
                <a:cs typeface="+mn-cs"/>
              </a:rPr>
              <a:t>xtending the gas network </a:t>
            </a:r>
            <a:r>
              <a:rPr lang="en-IE" sz="1000" kern="1200" dirty="0">
                <a:solidFill>
                  <a:schemeClr val="tx1"/>
                </a:solidFill>
                <a:effectLst/>
                <a:latin typeface="Times New Roman" pitchFamily="18" charset="0"/>
                <a:ea typeface="+mn-ea"/>
                <a:cs typeface="+mn-cs"/>
              </a:rPr>
              <a:t>to the c. 300,000 homes in close proximity to the existing gas network (‘network infilling’)</a:t>
            </a:r>
            <a:r>
              <a:rPr lang="en-IE" sz="1000" b="1" kern="1200" dirty="0">
                <a:solidFill>
                  <a:schemeClr val="tx1"/>
                </a:solidFill>
                <a:effectLst/>
                <a:latin typeface="Times New Roman" pitchFamily="18" charset="0"/>
                <a:ea typeface="+mn-ea"/>
                <a:cs typeface="+mn-cs"/>
              </a:rPr>
              <a:t> represents a lower cost option than electrification for these homes.</a:t>
            </a:r>
          </a:p>
        </p:txBody>
      </p:sp>
      <p:sp>
        <p:nvSpPr>
          <p:cNvPr id="4" name="Slide Number Placeholder 3"/>
          <p:cNvSpPr>
            <a:spLocks noGrp="1"/>
          </p:cNvSpPr>
          <p:nvPr>
            <p:ph type="sldNum" sz="quarter" idx="10"/>
          </p:nvPr>
        </p:nvSpPr>
        <p:spPr>
          <a:xfrm>
            <a:off x="2641676" y="13814417"/>
            <a:ext cx="2020931" cy="72847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EACF5B-7C0E-AA4B-BE23-2910C8703D0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0863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rtlCol="0"/>
          <a:lstStyle/>
          <a:p>
            <a:r>
              <a:rPr lang="en-GB" dirty="0"/>
              <a:t>Another example of sector coupling – facilitated through the gas infrastructure</a:t>
            </a:r>
          </a:p>
          <a:p>
            <a:endParaRPr lang="en-GB" dirty="0"/>
          </a:p>
          <a:p>
            <a:r>
              <a:rPr lang="en-GB" dirty="0"/>
              <a:t>Denmark is one of the world's leading countries in terms of the green transition. </a:t>
            </a:r>
          </a:p>
          <a:p>
            <a:endParaRPr lang="en-GB" dirty="0"/>
          </a:p>
          <a:p>
            <a:r>
              <a:rPr lang="en-GB" b="1" dirty="0"/>
              <a:t>Text on slide</a:t>
            </a:r>
          </a:p>
          <a:p>
            <a:endParaRPr lang="en-US" b="1" dirty="0"/>
          </a:p>
        </p:txBody>
      </p:sp>
      <p:sp>
        <p:nvSpPr>
          <p:cNvPr id="4" name="Pladsholder til diasnumm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9631040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166688"/>
            <a:ext cx="7167563" cy="4032250"/>
          </a:xfrm>
        </p:spPr>
      </p:sp>
      <p:sp>
        <p:nvSpPr>
          <p:cNvPr id="3" name="Notes Placeholder 2"/>
          <p:cNvSpPr>
            <a:spLocks noGrp="1"/>
          </p:cNvSpPr>
          <p:nvPr>
            <p:ph type="body" idx="1"/>
          </p:nvPr>
        </p:nvSpPr>
        <p:spPr/>
        <p:txBody>
          <a:bodyPr/>
          <a:lstStyle/>
          <a:p>
            <a:pPr defTabSz="1828800">
              <a:defRPr/>
            </a:pPr>
            <a:endParaRPr lang="nl-BE" sz="1400" b="1" dirty="0">
              <a:solidFill>
                <a:schemeClr val="tx1">
                  <a:lumMod val="65000"/>
                  <a:lumOff val="35000"/>
                </a:schemeClr>
              </a:solidFill>
            </a:endParaRPr>
          </a:p>
          <a:p>
            <a:pPr defTabSz="1828800">
              <a:defRPr/>
            </a:pPr>
            <a:r>
              <a:rPr lang="nl-BE" dirty="0">
                <a:solidFill>
                  <a:schemeClr val="tx1">
                    <a:lumMod val="65000"/>
                    <a:lumOff val="35000"/>
                  </a:schemeClr>
                </a:solidFill>
              </a:rPr>
              <a:t>Gas infrastructure is the enabler of innovation to assist emission reductions through:</a:t>
            </a:r>
          </a:p>
          <a:p>
            <a:pPr defTabSz="1828800">
              <a:defRPr/>
            </a:pPr>
            <a:endParaRPr lang="nl-BE" dirty="0">
              <a:solidFill>
                <a:schemeClr val="tx1">
                  <a:lumMod val="65000"/>
                  <a:lumOff val="35000"/>
                </a:schemeClr>
              </a:solidFill>
            </a:endParaRPr>
          </a:p>
          <a:p>
            <a:pPr marL="171450" indent="-171450" defTabSz="1828800">
              <a:buFontTx/>
              <a:buChar char="-"/>
              <a:defRPr/>
            </a:pPr>
            <a:r>
              <a:rPr lang="nl-BE" dirty="0">
                <a:solidFill>
                  <a:schemeClr val="tx1">
                    <a:lumMod val="65000"/>
                    <a:lumOff val="35000"/>
                  </a:schemeClr>
                </a:solidFill>
              </a:rPr>
              <a:t>Transporting and storing renewable and lower carbon gases – biomethane, hydrogen and synthetic methane</a:t>
            </a:r>
          </a:p>
          <a:p>
            <a:pPr marL="171450" indent="-171450" defTabSz="1828800">
              <a:buFontTx/>
              <a:buChar char="-"/>
              <a:defRPr/>
            </a:pPr>
            <a:r>
              <a:rPr lang="nl-BE" dirty="0">
                <a:solidFill>
                  <a:schemeClr val="tx1">
                    <a:lumMod val="65000"/>
                    <a:lumOff val="35000"/>
                  </a:schemeClr>
                </a:solidFill>
              </a:rPr>
              <a:t>Enabling increased energy efficiceny with gas technologies</a:t>
            </a:r>
          </a:p>
          <a:p>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76FD7-4139-8242-BBF6-8B89F6FB0326}" type="slidenum">
              <a:rPr kumimoji="0" lang="en-US" sz="2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5937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8913" y="935038"/>
            <a:ext cx="7753351" cy="4362450"/>
          </a:xfrm>
        </p:spPr>
      </p:sp>
      <p:sp>
        <p:nvSpPr>
          <p:cNvPr id="3" name="Notes Placeholder 2"/>
          <p:cNvSpPr>
            <a:spLocks noGrp="1"/>
          </p:cNvSpPr>
          <p:nvPr>
            <p:ph type="body" idx="1"/>
          </p:nvPr>
        </p:nvSpPr>
        <p:spPr>
          <a:xfrm>
            <a:off x="496533" y="41856790"/>
            <a:ext cx="3972257" cy="40754521"/>
          </a:xfrm>
        </p:spPr>
        <p:txBody>
          <a:bodyPr/>
          <a:lstStyle/>
          <a:p>
            <a:r>
              <a:rPr lang="nl-BE" sz="2800" dirty="0"/>
              <a:t>Marcogaz is developing chart shown on screen</a:t>
            </a:r>
          </a:p>
          <a:p>
            <a:r>
              <a:rPr lang="nl-BE" sz="2800" dirty="0"/>
              <a:t>Chart shows how much H2 can be added to the existing gas infra system</a:t>
            </a:r>
          </a:p>
          <a:p>
            <a:endParaRPr lang="nl-BE" sz="2800" dirty="0"/>
          </a:p>
          <a:p>
            <a:r>
              <a:rPr lang="nl-BE" sz="2800" dirty="0"/>
              <a:t>Green means it is being done at the moment</a:t>
            </a:r>
          </a:p>
          <a:p>
            <a:r>
              <a:rPr lang="nl-BE" sz="2800" dirty="0"/>
              <a:t>Yellow means it is feasible with little effort/cost</a:t>
            </a:r>
          </a:p>
          <a:p>
            <a:r>
              <a:rPr lang="nl-BE" sz="2800" dirty="0"/>
              <a:t>Blue means more R&amp;D is required but there is no evidence that it cannoy be achieved</a:t>
            </a:r>
          </a:p>
          <a:p>
            <a:endParaRPr lang="nl-BE" sz="28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nl-BE" sz="2800" b="1" dirty="0"/>
              <a:t>Text on slide</a:t>
            </a:r>
          </a:p>
          <a:p>
            <a:endParaRPr lang="nl-BE" sz="2800" dirty="0"/>
          </a:p>
          <a:p>
            <a:endParaRPr lang="nl-BE" sz="2800" dirty="0"/>
          </a:p>
          <a:p>
            <a:r>
              <a:rPr lang="nl-BE" sz="2800" b="1" dirty="0"/>
              <a:t>Distribution is 100% ready – key part of supply chain</a:t>
            </a:r>
          </a:p>
          <a:p>
            <a:r>
              <a:rPr lang="nl-BE" sz="2800" dirty="0"/>
              <a:t>Injection H2 needs cross border integration </a:t>
            </a:r>
          </a:p>
          <a:p>
            <a:r>
              <a:rPr lang="nl-BE" sz="2800" dirty="0"/>
              <a:t>Standardisation important</a:t>
            </a:r>
          </a:p>
          <a:p>
            <a:endParaRPr lang="nl-BE" sz="2800" dirty="0"/>
          </a:p>
          <a:p>
            <a:r>
              <a:rPr lang="nl-BE" sz="2800" dirty="0"/>
              <a:t>Why focus on hydrogen?</a:t>
            </a:r>
          </a:p>
          <a:p>
            <a:r>
              <a:rPr lang="nl-BE" sz="2800" dirty="0"/>
              <a:t>- speed</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76FD7-4139-8242-BBF6-8B89F6FB0326}" type="slidenum">
              <a:rPr kumimoji="0" lang="en-US" sz="2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668B7652-B35F-4F06-9922-F1B96BDBD80F}"/>
              </a:ext>
            </a:extLst>
          </p:cNvPr>
          <p:cNvSpPr/>
          <p:nvPr/>
        </p:nvSpPr>
        <p:spPr>
          <a:xfrm>
            <a:off x="598996" y="5593789"/>
            <a:ext cx="3637457" cy="427809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black"/>
                </a:solidFill>
                <a:effectLst/>
                <a:uLnTx/>
                <a:uFillTx/>
                <a:latin typeface="Calibri" panose="020F0502020204030204"/>
                <a:ea typeface="+mn-ea"/>
                <a:cs typeface="+mn-cs"/>
              </a:rPr>
              <a:t>Germany leading devt of H2 and mixing with gas (data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black"/>
                </a:solidFill>
                <a:effectLst/>
                <a:uLnTx/>
                <a:uFillTx/>
                <a:latin typeface="Calibri" panose="020F0502020204030204"/>
                <a:ea typeface="+mn-ea"/>
                <a:cs typeface="+mn-cs"/>
              </a:rPr>
              <a:t>Chart shows ...</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nl-BE" sz="1600" b="0" i="0" u="none" strike="noStrike" kern="1200" cap="none" spc="0" normalizeH="0" baseline="0" noProof="0" dirty="0">
                <a:ln>
                  <a:noFill/>
                </a:ln>
                <a:solidFill>
                  <a:prstClr val="black"/>
                </a:solidFill>
                <a:effectLst/>
                <a:uLnTx/>
                <a:uFillTx/>
                <a:latin typeface="Calibri" panose="020F0502020204030204"/>
                <a:ea typeface="+mn-ea"/>
                <a:cs typeface="+mn-cs"/>
              </a:rPr>
              <a:t>* green line across bottom </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nl-BE" sz="1600" b="0" i="0" u="none" strike="noStrike" kern="1200" cap="none" spc="0" normalizeH="0" baseline="0" noProof="0" dirty="0">
                <a:ln>
                  <a:noFill/>
                </a:ln>
                <a:solidFill>
                  <a:prstClr val="black"/>
                </a:solidFill>
                <a:effectLst/>
                <a:uLnTx/>
                <a:uFillTx/>
                <a:latin typeface="Calibri" panose="020F0502020204030204"/>
                <a:ea typeface="+mn-ea"/>
                <a:cs typeface="+mn-cs"/>
              </a:rPr>
              <a:t>Yellow means solutions are possible </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nl-BE" sz="1600" b="0" i="0" u="none" strike="noStrike" kern="1200" cap="none" spc="0" normalizeH="0" baseline="0" noProof="0" dirty="0">
                <a:ln>
                  <a:noFill/>
                </a:ln>
                <a:solidFill>
                  <a:prstClr val="black"/>
                </a:solidFill>
                <a:effectLst/>
                <a:uLnTx/>
                <a:uFillTx/>
                <a:latin typeface="Calibri" panose="020F0502020204030204"/>
                <a:ea typeface="+mn-ea"/>
                <a:cs typeface="+mn-cs"/>
              </a:rPr>
              <a:t>Blue – research underwa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black"/>
                </a:solidFill>
                <a:effectLst/>
                <a:uLnTx/>
                <a:uFillTx/>
                <a:latin typeface="Calibri" panose="020F0502020204030204"/>
                <a:ea typeface="+mn-ea"/>
                <a:cs typeface="+mn-cs"/>
              </a:rPr>
              <a:t>Since 2013 H2 being used in German gas network at 10%</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black"/>
                </a:solidFill>
                <a:effectLst/>
                <a:uLnTx/>
                <a:uFillTx/>
                <a:latin typeface="Calibri" panose="020F0502020204030204"/>
                <a:ea typeface="+mn-ea"/>
                <a:cs typeface="+mn-cs"/>
              </a:rPr>
              <a:t>Heading towards 20-25% and remove uncertain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1" i="0" u="none" strike="noStrike" kern="1200" cap="none" spc="0" normalizeH="0" baseline="0" noProof="0" dirty="0">
                <a:ln>
                  <a:noFill/>
                </a:ln>
                <a:solidFill>
                  <a:prstClr val="black"/>
                </a:solidFill>
                <a:effectLst/>
                <a:uLnTx/>
                <a:uFillTx/>
                <a:latin typeface="Calibri" panose="020F0502020204030204"/>
                <a:ea typeface="+mn-ea"/>
                <a:cs typeface="+mn-cs"/>
              </a:rPr>
              <a:t>Distribution is 100% ready – key part of supply cha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black"/>
                </a:solidFill>
                <a:effectLst/>
                <a:uLnTx/>
                <a:uFillTx/>
                <a:latin typeface="Calibri" panose="020F0502020204030204"/>
                <a:ea typeface="+mn-ea"/>
                <a:cs typeface="+mn-cs"/>
              </a:rPr>
              <a:t>Injection H2 needs cross border integ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600" b="0" i="0" u="none" strike="noStrike" kern="1200" cap="none" spc="0" normalizeH="0" baseline="0" noProof="0" dirty="0">
                <a:ln>
                  <a:noFill/>
                </a:ln>
                <a:solidFill>
                  <a:prstClr val="black"/>
                </a:solidFill>
                <a:effectLst/>
                <a:uLnTx/>
                <a:uFillTx/>
                <a:latin typeface="Calibri" panose="020F0502020204030204"/>
                <a:ea typeface="+mn-ea"/>
                <a:cs typeface="+mn-cs"/>
              </a:rPr>
              <a:t>Standardisation importan</a:t>
            </a:r>
          </a:p>
        </p:txBody>
      </p:sp>
    </p:spTree>
    <p:extLst>
      <p:ext uri="{BB962C8B-B14F-4D97-AF65-F5344CB8AC3E}">
        <p14:creationId xmlns:p14="http://schemas.microsoft.com/office/powerpoint/2010/main" val="742705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 summary – </a:t>
            </a:r>
          </a:p>
          <a:p>
            <a:endParaRPr lang="en-US" b="1" dirty="0"/>
          </a:p>
          <a:p>
            <a:r>
              <a:rPr lang="en-US" b="1" dirty="0"/>
              <a:t>Text on slide …</a:t>
            </a:r>
          </a:p>
          <a:p>
            <a:endParaRPr lang="en-US" dirty="0"/>
          </a:p>
        </p:txBody>
      </p:sp>
      <p:sp>
        <p:nvSpPr>
          <p:cNvPr id="4" name="Slide Number Placeholder 3"/>
          <p:cNvSpPr>
            <a:spLocks noGrp="1"/>
          </p:cNvSpPr>
          <p:nvPr>
            <p:ph type="sldNum" sz="quarter" idx="5"/>
          </p:nvPr>
        </p:nvSpPr>
        <p:spPr/>
        <p:txBody>
          <a:bodyPr/>
          <a:lstStyle/>
          <a:p>
            <a:pPr>
              <a:defRPr/>
            </a:pPr>
            <a:fld id="{D5A7BADA-97D2-4395-9851-02451DD6FFAB}" type="slidenum">
              <a:rPr lang="de-DE" smtClean="0"/>
              <a:pPr>
                <a:defRPr/>
              </a:pPr>
              <a:t>16</a:t>
            </a:fld>
            <a:endParaRPr lang="de-DE"/>
          </a:p>
        </p:txBody>
      </p:sp>
    </p:spTree>
    <p:extLst>
      <p:ext uri="{BB962C8B-B14F-4D97-AF65-F5344CB8AC3E}">
        <p14:creationId xmlns:p14="http://schemas.microsoft.com/office/powerpoint/2010/main" val="19975822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166688"/>
            <a:ext cx="7167563" cy="4032250"/>
          </a:xfrm>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7176FD7-4139-8242-BBF6-8B89F6FB0326}" type="slidenum">
              <a:rPr lang="en-US" smtClean="0"/>
              <a:t>17</a:t>
            </a:fld>
            <a:endParaRPr lang="en-US"/>
          </a:p>
        </p:txBody>
      </p:sp>
    </p:spTree>
    <p:extLst>
      <p:ext uri="{BB962C8B-B14F-4D97-AF65-F5344CB8AC3E}">
        <p14:creationId xmlns:p14="http://schemas.microsoft.com/office/powerpoint/2010/main" val="13505780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166688"/>
            <a:ext cx="7167563" cy="4032250"/>
          </a:xfrm>
        </p:spPr>
      </p:sp>
      <p:sp>
        <p:nvSpPr>
          <p:cNvPr id="3" name="Notes Placeholder 2"/>
          <p:cNvSpPr>
            <a:spLocks noGrp="1"/>
          </p:cNvSpPr>
          <p:nvPr>
            <p:ph type="body" idx="1"/>
          </p:nvPr>
        </p:nvSpPr>
        <p:spPr/>
        <p:txBody>
          <a:bodyPr/>
          <a:lstStyle/>
          <a:p>
            <a:r>
              <a:rPr lang="en-GB" sz="1400" dirty="0">
                <a:cs typeface="Arial"/>
              </a:rPr>
              <a:t>2015 Paris Agreement: 195 countries agreed to limit global warming to well below 2C (aim for 1.5C) </a:t>
            </a:r>
            <a:r>
              <a:rPr lang="en-GB" sz="1400" dirty="0" err="1">
                <a:cs typeface="Arial"/>
              </a:rPr>
              <a:t>cf</a:t>
            </a:r>
            <a:r>
              <a:rPr lang="en-GB" sz="1400" dirty="0">
                <a:cs typeface="Arial"/>
              </a:rPr>
              <a:t> 1990 temperatures</a:t>
            </a:r>
            <a:br>
              <a:rPr lang="en-GB" sz="1400" dirty="0">
                <a:cs typeface="Arial"/>
              </a:rPr>
            </a:br>
            <a:endParaRPr lang="en-US" sz="1400" dirty="0">
              <a:cs typeface="Arial"/>
            </a:endParaRPr>
          </a:p>
          <a:p>
            <a:r>
              <a:rPr lang="en-AU" sz="1400" dirty="0">
                <a:cs typeface="Arial"/>
              </a:rPr>
              <a:t>To meet Paris target, need net-zero carbon emissions in EU by 2050</a:t>
            </a:r>
          </a:p>
          <a:p>
            <a:endParaRPr lang="en-AU" sz="1400" dirty="0">
              <a:cs typeface="Arial"/>
            </a:endParaRPr>
          </a:p>
          <a:p>
            <a:r>
              <a:rPr lang="en-AU" sz="1400" b="1" dirty="0">
                <a:cs typeface="Arial"/>
              </a:rPr>
              <a:t>Problem</a:t>
            </a:r>
            <a:r>
              <a:rPr lang="en-AU" sz="1400" dirty="0">
                <a:cs typeface="Arial"/>
              </a:rPr>
              <a:t> - energy responsible for 75% GHG emissions (and demand is growing)</a:t>
            </a:r>
          </a:p>
          <a:p>
            <a:endParaRPr lang="en-AU" sz="1400" kern="1200" dirty="0">
              <a:solidFill>
                <a:schemeClr val="tx1"/>
              </a:solidFill>
              <a:effectLst/>
              <a:latin typeface="+mn-lt"/>
              <a:ea typeface="+mn-ea"/>
              <a:cs typeface="Arial"/>
            </a:endParaRPr>
          </a:p>
          <a:p>
            <a:r>
              <a:rPr lang="en-US" sz="1400" b="1" dirty="0"/>
              <a:t>Solution</a:t>
            </a:r>
            <a:r>
              <a:rPr lang="en-US" sz="1400" dirty="0"/>
              <a:t> - mix of decarbonised gas and electricity </a:t>
            </a:r>
          </a:p>
          <a:p>
            <a:pPr defTabSz="1828800">
              <a:defRPr/>
            </a:pPr>
            <a:endParaRPr lang="en-AU" sz="1400" b="1" dirty="0">
              <a:cs typeface="Arial"/>
            </a:endParaRPr>
          </a:p>
          <a:p>
            <a:pPr defTabSz="1828800">
              <a:defRPr/>
            </a:pPr>
            <a:r>
              <a:rPr lang="en-AU" sz="1400" dirty="0">
                <a:cs typeface="Arial"/>
              </a:rPr>
              <a:t>But decarbonisation </a:t>
            </a:r>
            <a:r>
              <a:rPr lang="en-AU" sz="1400" b="1" dirty="0">
                <a:cs typeface="Arial"/>
              </a:rPr>
              <a:t>can not be achieved without gases and gas infrastructure</a:t>
            </a:r>
            <a:endParaRPr lang="en-US" sz="1400" b="1" dirty="0"/>
          </a:p>
          <a:p>
            <a:endParaRPr lang="en-US" sz="1400" dirty="0"/>
          </a:p>
          <a:p>
            <a:r>
              <a:rPr lang="en-US" sz="1400" b="1" dirty="0"/>
              <a:t>Gas infrastructure </a:t>
            </a:r>
            <a:r>
              <a:rPr lang="en-US" sz="1400" dirty="0"/>
              <a:t>allows wider delivery of lower carbon gas and ren energy to all sectors</a:t>
            </a:r>
          </a:p>
          <a:p>
            <a:endParaRPr lang="en-US" sz="1400" dirty="0"/>
          </a:p>
          <a:p>
            <a:r>
              <a:rPr lang="en-US" sz="1400" dirty="0"/>
              <a:t>But first who is GIE?</a:t>
            </a:r>
          </a:p>
          <a:p>
            <a:endParaRPr lang="en-US" sz="1400" dirty="0">
              <a:solidFill>
                <a:srgbClr val="FF0000"/>
              </a:solidFill>
              <a:cs typeface="Calibri"/>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76FD7-4139-8242-BBF6-8B89F6FB0326}" type="slidenum">
              <a:rPr kumimoji="0" lang="en-US" sz="2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930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Quick update on EU methane emissions </a:t>
            </a:r>
            <a:r>
              <a:rPr lang="en-US" dirty="0"/>
              <a:t>study – led by GIE ad </a:t>
            </a:r>
            <a:r>
              <a:rPr lang="en-US" dirty="0" err="1"/>
              <a:t>Marcogaz</a:t>
            </a:r>
            <a:endParaRPr lang="en-US" dirty="0"/>
          </a:p>
          <a:p>
            <a:r>
              <a:rPr lang="en-US" dirty="0"/>
              <a:t>Methane is 11% of EU GHG emissions</a:t>
            </a:r>
          </a:p>
          <a:p>
            <a:endParaRPr lang="en-US" dirty="0"/>
          </a:p>
          <a:p>
            <a:r>
              <a:rPr lang="en-US" dirty="0"/>
              <a:t>Gas industry in EU accounts </a:t>
            </a:r>
            <a:r>
              <a:rPr lang="en-US" b="1" dirty="0"/>
              <a:t>for  0.6% methane emissions</a:t>
            </a:r>
          </a:p>
          <a:p>
            <a:endParaRPr lang="en-US" dirty="0"/>
          </a:p>
          <a:p>
            <a:r>
              <a:rPr lang="en-US" dirty="0"/>
              <a:t>R</a:t>
            </a:r>
            <a:r>
              <a:rPr lang="en-GB" dirty="0" err="1"/>
              <a:t>eport</a:t>
            </a:r>
            <a:r>
              <a:rPr lang="en-GB" dirty="0"/>
              <a:t> outlines what is being done to measure, report and reduce emissions.</a:t>
            </a:r>
          </a:p>
          <a:p>
            <a:endParaRPr lang="en-US" dirty="0"/>
          </a:p>
          <a:p>
            <a:r>
              <a:rPr lang="en-US" dirty="0"/>
              <a:t>G</a:t>
            </a:r>
            <a:r>
              <a:rPr lang="en-GB" dirty="0"/>
              <a:t>IE members are committed to reducing all GHG emissions</a:t>
            </a:r>
          </a:p>
          <a:p>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 available online EC Madrid </a:t>
            </a:r>
            <a:r>
              <a:rPr lang="en-US" dirty="0" err="1"/>
              <a:t>foruem</a:t>
            </a:r>
            <a:r>
              <a:rPr lang="en-US" dirty="0"/>
              <a:t> website</a:t>
            </a:r>
          </a:p>
          <a:p>
            <a:endParaRPr lang="en-US" dirty="0"/>
          </a:p>
        </p:txBody>
      </p:sp>
      <p:sp>
        <p:nvSpPr>
          <p:cNvPr id="4" name="Slide Number Placeholder 3"/>
          <p:cNvSpPr>
            <a:spLocks noGrp="1"/>
          </p:cNvSpPr>
          <p:nvPr>
            <p:ph type="sldNum" sz="quarter" idx="5"/>
          </p:nvPr>
        </p:nvSpPr>
        <p:spPr/>
        <p:txBody>
          <a:bodyPr/>
          <a:lstStyle/>
          <a:p>
            <a:pPr>
              <a:defRPr/>
            </a:pPr>
            <a:fld id="{D5A7BADA-97D2-4395-9851-02451DD6FFAB}" type="slidenum">
              <a:rPr lang="de-DE" smtClean="0"/>
              <a:pPr>
                <a:defRPr/>
              </a:pPr>
              <a:t>3</a:t>
            </a:fld>
            <a:endParaRPr lang="de-DE"/>
          </a:p>
        </p:txBody>
      </p:sp>
    </p:spTree>
    <p:extLst>
      <p:ext uri="{BB962C8B-B14F-4D97-AF65-F5344CB8AC3E}">
        <p14:creationId xmlns:p14="http://schemas.microsoft.com/office/powerpoint/2010/main" val="33012549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166688"/>
            <a:ext cx="7167563" cy="4032250"/>
          </a:xfrm>
        </p:spPr>
      </p:sp>
      <p:sp>
        <p:nvSpPr>
          <p:cNvPr id="3" name="Notes Placeholder 2"/>
          <p:cNvSpPr>
            <a:spLocks noGrp="1"/>
          </p:cNvSpPr>
          <p:nvPr>
            <p:ph type="body" idx="1"/>
          </p:nvPr>
        </p:nvSpPr>
        <p:spPr/>
        <p:txBody>
          <a:bodyPr/>
          <a:lstStyle/>
          <a:p>
            <a:pPr marL="355600">
              <a:spcBef>
                <a:spcPct val="0"/>
              </a:spcBef>
              <a:spcAft>
                <a:spcPts val="2000"/>
              </a:spcAft>
              <a:defRPr/>
            </a:pPr>
            <a:endParaRPr lang="en-US" altLang="en-US" sz="1400" b="1" kern="0" dirty="0">
              <a:solidFill>
                <a:prstClr val="black"/>
              </a:solidFill>
              <a:latin typeface="Gill Sans MT" panose="020B0502020104020203" pitchFamily="34" charset="0"/>
              <a:cs typeface="Arial"/>
            </a:endParaRPr>
          </a:p>
          <a:p>
            <a:pPr marL="355600">
              <a:spcBef>
                <a:spcPct val="0"/>
              </a:spcBef>
              <a:spcAft>
                <a:spcPts val="2000"/>
              </a:spcAft>
              <a:defRPr/>
            </a:pPr>
            <a:r>
              <a:rPr lang="en-US" altLang="en-US" sz="1400" b="1" kern="0" dirty="0">
                <a:solidFill>
                  <a:prstClr val="black"/>
                </a:solidFill>
                <a:latin typeface="Gill Sans MT" panose="020B0502020104020203" pitchFamily="34" charset="0"/>
                <a:cs typeface="Arial"/>
              </a:rPr>
              <a:t>GIE …</a:t>
            </a:r>
          </a:p>
          <a:p>
            <a:pPr marL="355600">
              <a:spcBef>
                <a:spcPct val="0"/>
              </a:spcBef>
              <a:spcAft>
                <a:spcPts val="2000"/>
              </a:spcAft>
              <a:defRPr/>
            </a:pPr>
            <a:endParaRPr lang="en-US" altLang="en-US" sz="1400" b="1" kern="0" dirty="0">
              <a:solidFill>
                <a:prstClr val="black"/>
              </a:solidFill>
              <a:latin typeface="Gill Sans MT" panose="020B0502020104020203" pitchFamily="34" charset="0"/>
              <a:cs typeface="Arial"/>
            </a:endParaRPr>
          </a:p>
          <a:p>
            <a:pPr marL="355600">
              <a:spcBef>
                <a:spcPct val="0"/>
              </a:spcBef>
              <a:spcAft>
                <a:spcPts val="2000"/>
              </a:spcAft>
              <a:defRPr/>
            </a:pPr>
            <a:r>
              <a:rPr lang="en-US" altLang="en-US" sz="1400" b="0" kern="0" dirty="0">
                <a:solidFill>
                  <a:prstClr val="black"/>
                </a:solidFill>
                <a:latin typeface="Gill Sans MT" panose="020B0502020104020203" pitchFamily="34" charset="0"/>
                <a:cs typeface="Arial"/>
              </a:rPr>
              <a:t>In summary the gas infrastructure plays a vital role </a:t>
            </a:r>
          </a:p>
          <a:p>
            <a:pPr marL="355600">
              <a:spcBef>
                <a:spcPct val="0"/>
              </a:spcBef>
              <a:spcAft>
                <a:spcPts val="2000"/>
              </a:spcAft>
              <a:defRPr/>
            </a:pPr>
            <a:r>
              <a:rPr lang="en-US" altLang="en-US" sz="1400" b="1" kern="0" dirty="0">
                <a:solidFill>
                  <a:prstClr val="black"/>
                </a:solidFill>
                <a:latin typeface="Gill Sans MT" panose="020B0502020104020203" pitchFamily="34" charset="0"/>
                <a:cs typeface="Arial"/>
              </a:rPr>
              <a:t>Now</a:t>
            </a:r>
          </a:p>
          <a:p>
            <a:pPr marL="355600">
              <a:spcBef>
                <a:spcPct val="0"/>
              </a:spcBef>
              <a:spcAft>
                <a:spcPts val="2000"/>
              </a:spcAft>
              <a:defRPr/>
            </a:pPr>
            <a:r>
              <a:rPr lang="en-US" altLang="en-US" sz="1400" b="1" kern="0" dirty="0">
                <a:solidFill>
                  <a:prstClr val="black"/>
                </a:solidFill>
                <a:latin typeface="Gill Sans MT" panose="020B0502020104020203" pitchFamily="34" charset="0"/>
                <a:cs typeface="Arial"/>
              </a:rPr>
              <a:t>And in the energy transition</a:t>
            </a:r>
          </a:p>
          <a:p>
            <a:endParaRPr lang="en-US" sz="1400" dirty="0"/>
          </a:p>
          <a:p>
            <a:r>
              <a:rPr lang="en-US" sz="1400" dirty="0"/>
              <a:t>GIE is committed to being part of the solution</a:t>
            </a:r>
          </a:p>
          <a:p>
            <a:endParaRPr lang="en-US" sz="1400" dirty="0"/>
          </a:p>
          <a:p>
            <a:r>
              <a:rPr lang="en-US" sz="1400" dirty="0"/>
              <a:t>And in fact </a:t>
            </a:r>
            <a:r>
              <a:rPr lang="en-US" sz="1400" b="1" dirty="0"/>
              <a:t>driving some of the solutions towards lower carbon energy </a:t>
            </a:r>
            <a:r>
              <a:rPr lang="en-US" sz="1400" dirty="0"/>
              <a:t>in EU …</a:t>
            </a:r>
          </a:p>
          <a:p>
            <a:endParaRPr lang="en-US" sz="1400" dirty="0"/>
          </a:p>
          <a:p>
            <a:r>
              <a:rPr lang="en-US" sz="1400" dirty="0"/>
              <a:t>Through the three Is …</a:t>
            </a:r>
            <a:endParaRPr lang="en-GB" sz="1400" dirty="0"/>
          </a:p>
          <a:p>
            <a:pPr marL="355600">
              <a:spcBef>
                <a:spcPct val="0"/>
              </a:spcBef>
              <a:spcAft>
                <a:spcPts val="2000"/>
              </a:spcAft>
              <a:defRPr/>
            </a:pPr>
            <a:endParaRPr lang="en-US" altLang="en-US" sz="1400" b="1" kern="0" dirty="0">
              <a:solidFill>
                <a:prstClr val="black"/>
              </a:solidFill>
              <a:latin typeface="Gill Sans MT" panose="020B0502020104020203" pitchFamily="34" charset="0"/>
              <a:cs typeface="Arial"/>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76FD7-4139-8242-BBF6-8B89F6FB03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43301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166688"/>
            <a:ext cx="7167563" cy="4032250"/>
          </a:xfrm>
        </p:spPr>
      </p:sp>
      <p:sp>
        <p:nvSpPr>
          <p:cNvPr id="3" name="Notes Placeholder 2"/>
          <p:cNvSpPr>
            <a:spLocks noGrp="1"/>
          </p:cNvSpPr>
          <p:nvPr>
            <p:ph type="body" idx="1"/>
          </p:nvPr>
        </p:nvSpPr>
        <p:spPr/>
        <p:txBody>
          <a:bodyPr/>
          <a:lstStyle/>
          <a:p>
            <a:pPr defTabSz="1828800">
              <a:defRPr/>
            </a:pPr>
            <a:r>
              <a:rPr lang="en-US" sz="1400" dirty="0"/>
              <a:t>The gas</a:t>
            </a:r>
            <a:r>
              <a:rPr lang="en-US" sz="1400" i="1" dirty="0"/>
              <a:t> </a:t>
            </a:r>
            <a:r>
              <a:rPr lang="en-US" sz="1400" b="1" i="1" dirty="0"/>
              <a:t>infrastructure</a:t>
            </a:r>
            <a:r>
              <a:rPr lang="en-US" sz="1400" i="1" dirty="0"/>
              <a:t> </a:t>
            </a:r>
            <a:r>
              <a:rPr lang="en-US" sz="1400" dirty="0"/>
              <a:t>guarantees a safe, reliable network to transport decarbonised energy throughout the EU28 for power, heating and transportation,</a:t>
            </a:r>
          </a:p>
          <a:p>
            <a:pPr defTabSz="1828800">
              <a:defRPr/>
            </a:pPr>
            <a:endParaRPr lang="en-US" sz="1400" dirty="0"/>
          </a:p>
          <a:p>
            <a:pPr defTabSz="1828800">
              <a:defRPr/>
            </a:pPr>
            <a:r>
              <a:rPr lang="en-US" sz="1400" dirty="0"/>
              <a:t> </a:t>
            </a:r>
            <a:r>
              <a:rPr lang="en-US" sz="1400" b="1" i="1" dirty="0"/>
              <a:t>integration</a:t>
            </a:r>
            <a:r>
              <a:rPr lang="en-US" sz="1400" b="1" dirty="0"/>
              <a:t> </a:t>
            </a:r>
            <a:r>
              <a:rPr lang="en-US" sz="1400" dirty="0"/>
              <a:t>of</a:t>
            </a:r>
            <a:r>
              <a:rPr lang="en-US" sz="1400" i="1" dirty="0"/>
              <a:t> </a:t>
            </a:r>
            <a:r>
              <a:rPr lang="en-US" sz="1400" dirty="0"/>
              <a:t>all regions of Europe and </a:t>
            </a:r>
          </a:p>
          <a:p>
            <a:pPr defTabSz="1828800">
              <a:defRPr/>
            </a:pPr>
            <a:endParaRPr lang="en-US" sz="1400" b="1" i="1" dirty="0"/>
          </a:p>
          <a:p>
            <a:pPr defTabSz="1828800">
              <a:defRPr/>
            </a:pPr>
            <a:r>
              <a:rPr lang="en-US" sz="1400" b="1" i="1" dirty="0"/>
              <a:t> innovation</a:t>
            </a:r>
            <a:r>
              <a:rPr lang="en-US" sz="1400" i="1" dirty="0"/>
              <a:t> </a:t>
            </a:r>
            <a:r>
              <a:rPr lang="en-US" sz="1400" dirty="0"/>
              <a:t>for cost-effective</a:t>
            </a:r>
            <a:r>
              <a:rPr lang="en-US" sz="1400" i="1" dirty="0"/>
              <a:t> </a:t>
            </a:r>
            <a:r>
              <a:rPr lang="en-US" sz="1400" dirty="0"/>
              <a:t>renewable energy.</a:t>
            </a:r>
          </a:p>
          <a:p>
            <a:pPr defTabSz="1828800">
              <a:defRPr/>
            </a:pPr>
            <a:endParaRPr lang="en-US" sz="1400" dirty="0"/>
          </a:p>
          <a:p>
            <a:pPr defTabSz="1828800">
              <a:defRPr/>
            </a:pPr>
            <a:endParaRPr lang="en-US" sz="14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76FD7-4139-8242-BBF6-8B89F6FB0326}" type="slidenum">
              <a:rPr kumimoji="0" lang="en-US" sz="2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9943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166688"/>
            <a:ext cx="7167563" cy="4032250"/>
          </a:xfrm>
        </p:spPr>
      </p:sp>
      <p:sp>
        <p:nvSpPr>
          <p:cNvPr id="3" name="Notes Placeholder 2"/>
          <p:cNvSpPr>
            <a:spLocks noGrp="1"/>
          </p:cNvSpPr>
          <p:nvPr>
            <p:ph type="body" idx="1"/>
          </p:nvPr>
        </p:nvSpPr>
        <p:spPr/>
        <p:txBody>
          <a:bodyPr/>
          <a:lstStyle/>
          <a:p>
            <a:pPr defTabSz="1828800">
              <a:defRPr/>
            </a:pPr>
            <a:endParaRPr lang="nl-BE" sz="1400" b="1" dirty="0">
              <a:solidFill>
                <a:schemeClr val="tx1">
                  <a:lumMod val="65000"/>
                  <a:lumOff val="35000"/>
                </a:schemeClr>
              </a:solidFill>
            </a:endParaRPr>
          </a:p>
          <a:p>
            <a:pPr defTabSz="1828800">
              <a:defRPr/>
            </a:pPr>
            <a:r>
              <a:rPr lang="nl-BE" dirty="0">
                <a:solidFill>
                  <a:schemeClr val="tx1">
                    <a:lumMod val="65000"/>
                    <a:lumOff val="35000"/>
                  </a:schemeClr>
                </a:solidFill>
              </a:rPr>
              <a:t>Looking at the gas infrastructure, the key benefits are:</a:t>
            </a:r>
          </a:p>
          <a:p>
            <a:pPr defTabSz="1828800">
              <a:defRPr/>
            </a:pPr>
            <a:endParaRPr lang="nl-BE" dirty="0">
              <a:solidFill>
                <a:schemeClr val="tx1">
                  <a:lumMod val="65000"/>
                  <a:lumOff val="35000"/>
                </a:schemeClr>
              </a:solidFill>
            </a:endParaRPr>
          </a:p>
          <a:p>
            <a:pPr defTabSz="1828800">
              <a:defRPr/>
            </a:pPr>
            <a:r>
              <a:rPr lang="nl-BE" dirty="0">
                <a:solidFill>
                  <a:schemeClr val="tx1">
                    <a:lumMod val="65000"/>
                    <a:lumOff val="35000"/>
                  </a:schemeClr>
                </a:solidFill>
              </a:rPr>
              <a:t>The existing network of LNG terminals, stirage facilities and pipleines that provide a reliable, secure and affordable energy supply throughout EU</a:t>
            </a:r>
          </a:p>
          <a:p>
            <a:pPr defTabSz="1828800">
              <a:defRPr/>
            </a:pPr>
            <a:endParaRPr lang="nl-BE" dirty="0">
              <a:solidFill>
                <a:schemeClr val="tx1">
                  <a:lumMod val="65000"/>
                  <a:lumOff val="35000"/>
                </a:schemeClr>
              </a:solidFill>
            </a:endParaRPr>
          </a:p>
          <a:p>
            <a:pPr defTabSz="1828800">
              <a:defRPr/>
            </a:pPr>
            <a:r>
              <a:rPr lang="nl-BE" dirty="0">
                <a:solidFill>
                  <a:schemeClr val="tx1">
                    <a:lumMod val="65000"/>
                    <a:lumOff val="35000"/>
                  </a:schemeClr>
                </a:solidFill>
              </a:rPr>
              <a:t>I will expand on this and also show the results of recent studies looking at cos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76FD7-4139-8242-BBF6-8B89F6FB0326}" type="slidenum">
              <a:rPr kumimoji="0" lang="en-US" sz="2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53489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166688"/>
            <a:ext cx="7167563" cy="4032250"/>
          </a:xfrm>
        </p:spPr>
      </p:sp>
      <p:sp>
        <p:nvSpPr>
          <p:cNvPr id="3" name="Notes Placeholder 2"/>
          <p:cNvSpPr>
            <a:spLocks noGrp="1"/>
          </p:cNvSpPr>
          <p:nvPr>
            <p:ph type="body" idx="1"/>
          </p:nvPr>
        </p:nvSpPr>
        <p:spPr>
          <a:xfrm>
            <a:off x="496533" y="41856790"/>
            <a:ext cx="3972257" cy="36739832"/>
          </a:xfrm>
        </p:spPr>
        <p:txBody>
          <a:bodyPr/>
          <a:lstStyle/>
          <a:p>
            <a:r>
              <a:rPr lang="en-US" sz="1400" dirty="0">
                <a:cs typeface="Calibri"/>
              </a:rPr>
              <a:t>Gas transports 10 x energy than </a:t>
            </a:r>
            <a:r>
              <a:rPr lang="en-US" sz="1400" dirty="0" err="1">
                <a:cs typeface="Calibri"/>
              </a:rPr>
              <a:t>elec</a:t>
            </a:r>
            <a:r>
              <a:rPr lang="en-US" sz="1400" dirty="0">
                <a:cs typeface="Calibri"/>
              </a:rPr>
              <a:t> across EU</a:t>
            </a:r>
          </a:p>
          <a:p>
            <a:endParaRPr lang="en-US" sz="1400" dirty="0"/>
          </a:p>
          <a:p>
            <a:r>
              <a:rPr lang="en-US" sz="1400" dirty="0"/>
              <a:t>Cross-border capacity in gas is 3 x total wind/solar energy produced in 1 year </a:t>
            </a:r>
          </a:p>
          <a:p>
            <a:pPr defTabSz="1828800">
              <a:defRPr/>
            </a:pPr>
            <a:endParaRPr lang="en-US" sz="1400" dirty="0"/>
          </a:p>
          <a:p>
            <a:pPr defTabSz="1828800">
              <a:defRPr/>
            </a:pPr>
            <a:r>
              <a:rPr lang="en-US" sz="1400" dirty="0"/>
              <a:t>Today renewable power is directed at power only – only a small sector</a:t>
            </a:r>
          </a:p>
          <a:p>
            <a:pPr defTabSz="1828800">
              <a:defRPr/>
            </a:pPr>
            <a:endParaRPr lang="en-US" sz="1400" dirty="0"/>
          </a:p>
          <a:p>
            <a:pPr defTabSz="1828800">
              <a:defRPr/>
            </a:pPr>
            <a:r>
              <a:rPr lang="en-US" sz="1400" dirty="0"/>
              <a:t>Gases can fuel heating, power, industry and transportation</a:t>
            </a:r>
          </a:p>
          <a:p>
            <a:pPr defTabSz="1828800">
              <a:defRPr/>
            </a:pPr>
            <a:endParaRPr lang="en-US" sz="1400" dirty="0"/>
          </a:p>
          <a:p>
            <a:pPr defTabSz="1828800">
              <a:defRPr/>
            </a:pPr>
            <a:r>
              <a:rPr lang="en-US" sz="1400" dirty="0"/>
              <a:t>And can be transitioned to “green gases</a:t>
            </a:r>
          </a:p>
          <a:p>
            <a:pPr defTabSz="1828800">
              <a:defRPr/>
            </a:pPr>
            <a:endParaRPr lang="en-US" sz="1400" dirty="0"/>
          </a:p>
          <a:p>
            <a:pPr defTabSz="1828800">
              <a:defRPr/>
            </a:pPr>
            <a:r>
              <a:rPr lang="en-US" sz="1400" dirty="0"/>
              <a:t>“renewable” gas = all gases: lower, zero, negative carbon</a:t>
            </a:r>
          </a:p>
          <a:p>
            <a:pPr defTabSz="1828800">
              <a:defRPr/>
            </a:pPr>
            <a:endParaRPr lang="en-US" sz="1400" dirty="0"/>
          </a:p>
          <a:p>
            <a:pPr defTabSz="1828800">
              <a:defRPr/>
            </a:pPr>
            <a:r>
              <a:rPr lang="en-US" sz="1400" dirty="0"/>
              <a:t>And of course </a:t>
            </a:r>
            <a:r>
              <a:rPr lang="en-US" sz="1400" b="1" dirty="0"/>
              <a:t>gas infrastructure is mostly buried</a:t>
            </a:r>
            <a:r>
              <a:rPr lang="en-US" sz="1400" dirty="0"/>
              <a:t>: </a:t>
            </a:r>
          </a:p>
          <a:p>
            <a:pPr defTabSz="1828800">
              <a:defRPr/>
            </a:pPr>
            <a:r>
              <a:rPr lang="en-GB" sz="1400" b="1" dirty="0"/>
              <a:t>One buried gas pipeline </a:t>
            </a:r>
            <a:r>
              <a:rPr lang="en-GB" sz="1400" dirty="0"/>
              <a:t>(ø 1.2 m) transports same amount of energy as </a:t>
            </a:r>
            <a:r>
              <a:rPr lang="en-GB" sz="1400" b="1" dirty="0"/>
              <a:t>8 parallel high-voltage pylons </a:t>
            </a:r>
            <a:r>
              <a:rPr lang="en-GB" sz="1400" dirty="0"/>
              <a:t>(each 3 GW).</a:t>
            </a:r>
            <a:endParaRPr lang="en-US" sz="1400" dirty="0"/>
          </a:p>
          <a:p>
            <a:pPr defTabSz="1828800">
              <a:defRPr/>
            </a:pPr>
            <a:endParaRPr lang="en-US" sz="1400" b="1" dirty="0"/>
          </a:p>
          <a:p>
            <a:endParaRPr lang="en-US" sz="1400" dirty="0"/>
          </a:p>
          <a:p>
            <a:endParaRPr lang="en-US" dirty="0">
              <a:cs typeface="Calibri"/>
            </a:endParaRPr>
          </a:p>
        </p:txBody>
      </p:sp>
      <p:sp>
        <p:nvSpPr>
          <p:cNvPr id="4" name="Slide Number Placeholder 3"/>
          <p:cNvSpPr>
            <a:spLocks noGrp="1"/>
          </p:cNvSpPr>
          <p:nvPr>
            <p:ph type="sldNum" sz="quarter" idx="5"/>
          </p:nvPr>
        </p:nvSpPr>
        <p:spPr/>
        <p:txBody>
          <a:bodyPr/>
          <a:lstStyle/>
          <a:p>
            <a:fld id="{17176FD7-4139-8242-BBF6-8B89F6FB0326}" type="slidenum">
              <a:rPr lang="en-US" smtClean="0"/>
              <a:t>7</a:t>
            </a:fld>
            <a:endParaRPr lang="en-US"/>
          </a:p>
        </p:txBody>
      </p:sp>
      <p:sp>
        <p:nvSpPr>
          <p:cNvPr id="5" name="Rectangle 4">
            <a:extLst>
              <a:ext uri="{FF2B5EF4-FFF2-40B4-BE49-F238E27FC236}">
                <a16:creationId xmlns:a16="http://schemas.microsoft.com/office/drawing/2014/main" id="{C531A4EB-E69A-480F-84F3-C81B9304CAE4}"/>
              </a:ext>
            </a:extLst>
          </p:cNvPr>
          <p:cNvSpPr/>
          <p:nvPr/>
        </p:nvSpPr>
        <p:spPr>
          <a:xfrm>
            <a:off x="695748" y="4709098"/>
            <a:ext cx="3511353" cy="5909310"/>
          </a:xfrm>
          <a:prstGeom prst="rect">
            <a:avLst/>
          </a:prstGeom>
        </p:spPr>
        <p:txBody>
          <a:bodyPr wrap="square">
            <a:spAutoFit/>
          </a:bodyPr>
          <a:lstStyle/>
          <a:p>
            <a:pPr defTabSz="1828800">
              <a:defRPr/>
            </a:pPr>
            <a:r>
              <a:rPr lang="en-US" dirty="0"/>
              <a:t>Existing extensive network across EU and beyond</a:t>
            </a:r>
          </a:p>
          <a:p>
            <a:pPr defTabSz="1828800">
              <a:defRPr/>
            </a:pPr>
            <a:endParaRPr lang="en-US" dirty="0"/>
          </a:p>
          <a:p>
            <a:pPr defTabSz="1828800">
              <a:defRPr/>
            </a:pPr>
            <a:r>
              <a:rPr lang="en-US" dirty="0"/>
              <a:t>Interlinked; </a:t>
            </a:r>
          </a:p>
          <a:p>
            <a:pPr marL="342900" indent="-342900" defTabSz="1828800">
              <a:buFontTx/>
              <a:buChar char="-"/>
              <a:defRPr/>
            </a:pPr>
            <a:r>
              <a:rPr lang="en-US" dirty="0"/>
              <a:t>Storage and transmission</a:t>
            </a:r>
          </a:p>
          <a:p>
            <a:pPr marL="342900" indent="-342900" defTabSz="1828800">
              <a:buFontTx/>
              <a:buChar char="-"/>
              <a:defRPr/>
            </a:pPr>
            <a:r>
              <a:rPr lang="en-US" dirty="0" err="1"/>
              <a:t>Lng</a:t>
            </a:r>
            <a:r>
              <a:rPr lang="en-US" dirty="0"/>
              <a:t> import terminals</a:t>
            </a:r>
          </a:p>
          <a:p>
            <a:pPr marL="342900" indent="-342900" defTabSz="1828800">
              <a:buFontTx/>
              <a:buChar char="-"/>
              <a:defRPr/>
            </a:pPr>
            <a:r>
              <a:rPr lang="en-US" dirty="0"/>
              <a:t>SSLNG plants</a:t>
            </a:r>
          </a:p>
          <a:p>
            <a:endParaRPr lang="en-US" dirty="0">
              <a:cs typeface="Calibri"/>
            </a:endParaRPr>
          </a:p>
          <a:p>
            <a:r>
              <a:rPr lang="en-US" dirty="0">
                <a:cs typeface="Calibri"/>
              </a:rPr>
              <a:t>Gas transports 10 x energy than </a:t>
            </a:r>
            <a:r>
              <a:rPr lang="en-US" dirty="0" err="1">
                <a:cs typeface="Calibri"/>
              </a:rPr>
              <a:t>elec</a:t>
            </a:r>
            <a:r>
              <a:rPr lang="en-US" dirty="0">
                <a:cs typeface="Calibri"/>
              </a:rPr>
              <a:t> across EU</a:t>
            </a:r>
          </a:p>
          <a:p>
            <a:endParaRPr lang="en-US" dirty="0"/>
          </a:p>
          <a:p>
            <a:r>
              <a:rPr lang="en-US" dirty="0"/>
              <a:t>Cross-border capacity in gas is 3 x total wind/solar energy produced in 1 year </a:t>
            </a:r>
          </a:p>
          <a:p>
            <a:pPr defTabSz="1828800">
              <a:defRPr/>
            </a:pPr>
            <a:endParaRPr lang="en-US" dirty="0"/>
          </a:p>
          <a:p>
            <a:pPr defTabSz="1828800">
              <a:defRPr/>
            </a:pPr>
            <a:r>
              <a:rPr lang="en-US" dirty="0"/>
              <a:t>Today </a:t>
            </a:r>
            <a:r>
              <a:rPr lang="en-US" dirty="0" err="1"/>
              <a:t>ren</a:t>
            </a:r>
            <a:r>
              <a:rPr lang="en-US" dirty="0"/>
              <a:t> is directed at power only – small sector</a:t>
            </a:r>
          </a:p>
          <a:p>
            <a:pPr defTabSz="1828800">
              <a:defRPr/>
            </a:pPr>
            <a:endParaRPr lang="en-US" dirty="0"/>
          </a:p>
          <a:p>
            <a:pPr defTabSz="1828800">
              <a:defRPr/>
            </a:pPr>
            <a:r>
              <a:rPr lang="en-US" dirty="0"/>
              <a:t>Gases can fuel heating, power, industry and transportation</a:t>
            </a:r>
          </a:p>
          <a:p>
            <a:pPr defTabSz="1828800">
              <a:defRPr/>
            </a:pPr>
            <a:endParaRPr lang="en-US" b="1" dirty="0"/>
          </a:p>
        </p:txBody>
      </p:sp>
    </p:spTree>
    <p:extLst>
      <p:ext uri="{BB962C8B-B14F-4D97-AF65-F5344CB8AC3E}">
        <p14:creationId xmlns:p14="http://schemas.microsoft.com/office/powerpoint/2010/main" val="1390229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166688"/>
            <a:ext cx="7167563" cy="4032250"/>
          </a:xfrm>
        </p:spPr>
      </p:sp>
      <p:sp>
        <p:nvSpPr>
          <p:cNvPr id="3" name="Notes Placeholder 2"/>
          <p:cNvSpPr>
            <a:spLocks noGrp="1"/>
          </p:cNvSpPr>
          <p:nvPr>
            <p:ph type="body" idx="1"/>
          </p:nvPr>
        </p:nvSpPr>
        <p:spPr/>
        <p:txBody>
          <a:bodyPr/>
          <a:lstStyle/>
          <a:p>
            <a:pPr>
              <a:lnSpc>
                <a:spcPct val="90000"/>
              </a:lnSpc>
              <a:spcBef>
                <a:spcPts val="2000"/>
              </a:spcBef>
            </a:pPr>
            <a:r>
              <a:rPr lang="en-US" sz="1400" b="1" dirty="0"/>
              <a:t>Text on slide</a:t>
            </a:r>
          </a:p>
          <a:p>
            <a:pPr>
              <a:lnSpc>
                <a:spcPct val="90000"/>
              </a:lnSpc>
              <a:spcBef>
                <a:spcPts val="2000"/>
              </a:spcBef>
            </a:pPr>
            <a:endParaRPr lang="en-GB" sz="1400" dirty="0"/>
          </a:p>
          <a:p>
            <a:pPr>
              <a:lnSpc>
                <a:spcPct val="90000"/>
              </a:lnSpc>
              <a:spcBef>
                <a:spcPts val="2000"/>
              </a:spcBef>
            </a:pPr>
            <a:endParaRPr lang="en-US" sz="1400" dirty="0"/>
          </a:p>
          <a:p>
            <a:pPr>
              <a:lnSpc>
                <a:spcPct val="90000"/>
              </a:lnSpc>
              <a:spcBef>
                <a:spcPts val="2000"/>
              </a:spcBef>
            </a:pPr>
            <a:r>
              <a:rPr lang="en-US" sz="1400" dirty="0"/>
              <a:t>The “</a:t>
            </a:r>
            <a:r>
              <a:rPr lang="en-US" sz="1400" dirty="0" err="1"/>
              <a:t>optimised</a:t>
            </a:r>
            <a:r>
              <a:rPr lang="en-US" sz="1400" dirty="0"/>
              <a:t> gas” scenario in the latest Navigant study assumes that renewable and low carbon gas are used in a smart combination with renewable electricity</a:t>
            </a:r>
          </a:p>
          <a:p>
            <a:pPr>
              <a:lnSpc>
                <a:spcPct val="90000"/>
              </a:lnSpc>
              <a:spcBef>
                <a:spcPts val="2000"/>
              </a:spcBef>
            </a:pPr>
            <a:endParaRPr lang="en-US" sz="1400" dirty="0"/>
          </a:p>
          <a:p>
            <a:pPr>
              <a:lnSpc>
                <a:spcPct val="90000"/>
              </a:lnSpc>
              <a:spcBef>
                <a:spcPts val="2000"/>
              </a:spcBef>
            </a:pPr>
            <a:r>
              <a:rPr lang="en-US" sz="1400" dirty="0"/>
              <a:t>The chart on right shows – cost savings are significant </a:t>
            </a:r>
            <a:r>
              <a:rPr lang="en-US" sz="1400" dirty="0" err="1"/>
              <a:t>inr</a:t>
            </a:r>
            <a:r>
              <a:rPr lang="en-US" sz="1400" dirty="0"/>
              <a:t> power and heating in buildings, power and heavy-duty vehicles</a:t>
            </a:r>
          </a:p>
          <a:p>
            <a:pPr>
              <a:lnSpc>
                <a:spcPct val="90000"/>
              </a:lnSpc>
              <a:spcBef>
                <a:spcPts val="2000"/>
              </a:spcBef>
            </a:pPr>
            <a:endParaRPr lang="en-US" sz="1400" dirty="0"/>
          </a:p>
          <a:p>
            <a:pPr>
              <a:lnSpc>
                <a:spcPct val="90000"/>
              </a:lnSpc>
              <a:spcBef>
                <a:spcPts val="2000"/>
              </a:spcBef>
            </a:pPr>
            <a:r>
              <a:rPr lang="en-US" sz="1400" dirty="0"/>
              <a:t>Other studies (such as the ECF) do not quantify the amounts of biomass assumed</a:t>
            </a:r>
          </a:p>
          <a:p>
            <a:pPr>
              <a:lnSpc>
                <a:spcPct val="90000"/>
              </a:lnSpc>
              <a:spcBef>
                <a:spcPts val="2000"/>
              </a:spcBef>
            </a:pPr>
            <a:endParaRPr lang="en-US" sz="1400" dirty="0"/>
          </a:p>
          <a:p>
            <a:pPr>
              <a:lnSpc>
                <a:spcPct val="90000"/>
              </a:lnSpc>
              <a:spcBef>
                <a:spcPts val="2000"/>
              </a:spcBef>
            </a:pPr>
            <a:r>
              <a:rPr lang="en-US" sz="1400" dirty="0"/>
              <a:t>Therefore we </a:t>
            </a:r>
            <a:r>
              <a:rPr lang="en-US" sz="1400" dirty="0" err="1"/>
              <a:t>relyon</a:t>
            </a:r>
            <a:r>
              <a:rPr lang="en-US" sz="1400" dirty="0"/>
              <a:t> this study to give us a </a:t>
            </a:r>
            <a:r>
              <a:rPr lang="en-US" sz="1400" dirty="0" err="1"/>
              <a:t>reasobael</a:t>
            </a:r>
            <a:r>
              <a:rPr lang="en-US" sz="1400" dirty="0"/>
              <a:t> indication of cost savings</a:t>
            </a:r>
          </a:p>
        </p:txBody>
      </p:sp>
      <p:sp>
        <p:nvSpPr>
          <p:cNvPr id="4" name="Slide Number Placeholder 3"/>
          <p:cNvSpPr>
            <a:spLocks noGrp="1"/>
          </p:cNvSpPr>
          <p:nvPr>
            <p:ph type="sldNum" sz="quarter" idx="5"/>
          </p:nvPr>
        </p:nvSpPr>
        <p:spPr/>
        <p:txBody>
          <a:bodyPr/>
          <a:lstStyle/>
          <a:p>
            <a:fld id="{17176FD7-4139-8242-BBF6-8B89F6FB0326}" type="slidenum">
              <a:rPr lang="en-US" smtClean="0"/>
              <a:t>8</a:t>
            </a:fld>
            <a:endParaRPr lang="en-US"/>
          </a:p>
        </p:txBody>
      </p:sp>
    </p:spTree>
    <p:extLst>
      <p:ext uri="{BB962C8B-B14F-4D97-AF65-F5344CB8AC3E}">
        <p14:creationId xmlns:p14="http://schemas.microsoft.com/office/powerpoint/2010/main" val="34738547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166688"/>
            <a:ext cx="7167563" cy="4032250"/>
          </a:xfrm>
        </p:spPr>
      </p:sp>
      <p:sp>
        <p:nvSpPr>
          <p:cNvPr id="3" name="Notes Placeholder 2"/>
          <p:cNvSpPr>
            <a:spLocks noGrp="1"/>
          </p:cNvSpPr>
          <p:nvPr>
            <p:ph type="body" idx="1"/>
          </p:nvPr>
        </p:nvSpPr>
        <p:spPr/>
        <p:txBody>
          <a:bodyPr/>
          <a:lstStyle/>
          <a:p>
            <a:pPr defTabSz="1828800">
              <a:defRPr/>
            </a:pPr>
            <a:endParaRPr lang="nl-BE" sz="1400" b="1" dirty="0">
              <a:solidFill>
                <a:schemeClr val="tx1">
                  <a:lumMod val="65000"/>
                  <a:lumOff val="35000"/>
                </a:schemeClr>
              </a:solidFill>
            </a:endParaRPr>
          </a:p>
          <a:p>
            <a:pPr marL="283210"/>
            <a:r>
              <a:rPr lang="en-US" dirty="0"/>
              <a:t>The gas infrastructure enables:</a:t>
            </a:r>
          </a:p>
          <a:p>
            <a:pPr marL="283210"/>
            <a:endParaRPr lang="en-US" dirty="0"/>
          </a:p>
          <a:p>
            <a:pPr marL="568960" indent="-285750">
              <a:buFont typeface="Arial"/>
              <a:buChar char="•"/>
            </a:pPr>
            <a:r>
              <a:rPr lang="en-US" dirty="0"/>
              <a:t>Integrated EU-wide gas system where energy flows freely without barriers, well before 2050</a:t>
            </a:r>
          </a:p>
          <a:p>
            <a:pPr marL="568960" indent="-285750">
              <a:buFont typeface="Arial"/>
              <a:buChar char="•"/>
            </a:pPr>
            <a:endParaRPr lang="en-US" dirty="0"/>
          </a:p>
          <a:p>
            <a:pPr marL="568960" indent="-285750">
              <a:buFont typeface="Arial"/>
              <a:buChar char="•"/>
            </a:pPr>
            <a:r>
              <a:rPr lang="en-US" dirty="0"/>
              <a:t>Well-interconnected, integrated market</a:t>
            </a:r>
          </a:p>
          <a:p>
            <a:pPr marL="568960" indent="-285750">
              <a:buFont typeface="Arial"/>
              <a:buChar char="•"/>
            </a:pPr>
            <a:endParaRPr lang="en-US" dirty="0"/>
          </a:p>
          <a:p>
            <a:pPr marL="568960" indent="-285750">
              <a:buFont typeface="Arial"/>
              <a:buChar char="•"/>
            </a:pPr>
            <a:r>
              <a:rPr lang="en-US" dirty="0"/>
              <a:t>All regions achieve comparable levels of market integration, competition, security of supply, liquidity and price convergence</a:t>
            </a:r>
            <a:endParaRPr lang="en-US" dirty="0">
              <a:cs typeface="Arial"/>
            </a:endParaRPr>
          </a:p>
          <a:p>
            <a:pPr defTabSz="1828800">
              <a:defRPr/>
            </a:pPr>
            <a:endParaRPr lang="nl-BE" dirty="0">
              <a:solidFill>
                <a:schemeClr val="tx1">
                  <a:lumMod val="65000"/>
                  <a:lumOff val="35000"/>
                </a:schemeClr>
              </a:solidFill>
            </a:endParaRPr>
          </a:p>
          <a:p>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7176FD7-4139-8242-BBF6-8B89F6FB0326}" type="slidenum">
              <a:rPr kumimoji="0" lang="en-US" sz="2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55335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6.xml"/><Relationship Id="rId5" Type="http://schemas.openxmlformats.org/officeDocument/2006/relationships/image" Target="../media/image48.png"/><Relationship Id="rId4" Type="http://schemas.openxmlformats.org/officeDocument/2006/relationships/image" Target="../media/image47.png"/></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31.emf"/><Relationship Id="rId5" Type="http://schemas.openxmlformats.org/officeDocument/2006/relationships/oleObject" Target="../embeddings/oleObject15.bin"/><Relationship Id="rId4"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2.gif"/><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gi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gif"/><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1.emf"/><Relationship Id="rId5" Type="http://schemas.openxmlformats.org/officeDocument/2006/relationships/oleObject" Target="../embeddings/oleObject2.bin"/><Relationship Id="rId4"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1.emf"/><Relationship Id="rId5" Type="http://schemas.openxmlformats.org/officeDocument/2006/relationships/oleObject" Target="../embeddings/oleObject3.bin"/><Relationship Id="rId4"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1.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1.emf"/><Relationship Id="rId5" Type="http://schemas.openxmlformats.org/officeDocument/2006/relationships/oleObject" Target="../embeddings/oleObject5.bin"/><Relationship Id="rId4"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1.emf"/><Relationship Id="rId5" Type="http://schemas.openxmlformats.org/officeDocument/2006/relationships/oleObject" Target="../embeddings/oleObject6.bin"/><Relationship Id="rId4"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1.emf"/><Relationship Id="rId5" Type="http://schemas.openxmlformats.org/officeDocument/2006/relationships/oleObject" Target="../embeddings/oleObject7.bin"/><Relationship Id="rId4"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1.emf"/><Relationship Id="rId5" Type="http://schemas.openxmlformats.org/officeDocument/2006/relationships/oleObject" Target="../embeddings/oleObject8.bin"/><Relationship Id="rId4"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31.emf"/><Relationship Id="rId5" Type="http://schemas.openxmlformats.org/officeDocument/2006/relationships/oleObject" Target="../embeddings/oleObject9.bin"/><Relationship Id="rId4"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31.emf"/><Relationship Id="rId5" Type="http://schemas.openxmlformats.org/officeDocument/2006/relationships/oleObject" Target="../embeddings/oleObject10.bin"/><Relationship Id="rId4"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31.emf"/><Relationship Id="rId5" Type="http://schemas.openxmlformats.org/officeDocument/2006/relationships/oleObject" Target="../embeddings/oleObject11.bin"/><Relationship Id="rId4"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31.emf"/><Relationship Id="rId5" Type="http://schemas.openxmlformats.org/officeDocument/2006/relationships/oleObject" Target="../embeddings/oleObject12.bin"/><Relationship Id="rId4"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31.emf"/><Relationship Id="rId5" Type="http://schemas.openxmlformats.org/officeDocument/2006/relationships/oleObject" Target="../embeddings/oleObject13.bin"/><Relationship Id="rId4"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31.emf"/><Relationship Id="rId5" Type="http://schemas.openxmlformats.org/officeDocument/2006/relationships/oleObject" Target="../embeddings/oleObject14.bin"/><Relationship Id="rId4"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Master" Target="../slideMasters/slideMaster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ront slide GIE">
    <p:spTree>
      <p:nvGrpSpPr>
        <p:cNvPr id="1" name=""/>
        <p:cNvGrpSpPr/>
        <p:nvPr/>
      </p:nvGrpSpPr>
      <p:grpSpPr>
        <a:xfrm>
          <a:off x="0" y="0"/>
          <a:ext cx="0" cy="0"/>
          <a:chOff x="0" y="0"/>
          <a:chExt cx="0" cy="0"/>
        </a:xfrm>
      </p:grpSpPr>
      <p:pic>
        <p:nvPicPr>
          <p:cNvPr id="7" name="Picture 6" descr="A close up of a mountain&#10;&#10;Description generated with high confidence">
            <a:extLst>
              <a:ext uri="{FF2B5EF4-FFF2-40B4-BE49-F238E27FC236}">
                <a16:creationId xmlns:a16="http://schemas.microsoft.com/office/drawing/2014/main" id="{B999DAD1-D973-402C-B598-7453236E0039}"/>
              </a:ext>
            </a:extLst>
          </p:cNvPr>
          <p:cNvPicPr>
            <a:picLocks noChangeAspect="1"/>
          </p:cNvPicPr>
          <p:nvPr userDrawn="1"/>
        </p:nvPicPr>
        <p:blipFill>
          <a:blip r:embed="rId2"/>
          <a:stretch>
            <a:fillRect/>
          </a:stretch>
        </p:blipFill>
        <p:spPr>
          <a:xfrm>
            <a:off x="-624747" y="0"/>
            <a:ext cx="13008768" cy="6858000"/>
          </a:xfrm>
          <a:prstGeom prst="rect">
            <a:avLst/>
          </a:prstGeom>
        </p:spPr>
      </p:pic>
      <p:pic>
        <p:nvPicPr>
          <p:cNvPr id="4" name="Picture 3">
            <a:extLst>
              <a:ext uri="{FF2B5EF4-FFF2-40B4-BE49-F238E27FC236}">
                <a16:creationId xmlns:a16="http://schemas.microsoft.com/office/drawing/2014/main" id="{F9D4ABF7-55E5-4293-B7DF-AA161DD9E58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41077" y="864006"/>
            <a:ext cx="5580185" cy="2808818"/>
          </a:xfrm>
          <a:prstGeom prst="rect">
            <a:avLst/>
          </a:prstGeom>
        </p:spPr>
      </p:pic>
    </p:spTree>
    <p:extLst>
      <p:ext uri="{BB962C8B-B14F-4D97-AF65-F5344CB8AC3E}">
        <p14:creationId xmlns:p14="http://schemas.microsoft.com/office/powerpoint/2010/main" val="1344573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ub-title slide G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26D9E0-8DC8-47CD-96E8-7524545408A6}"/>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6C188EE6-ACCF-4907-88CF-033E547BD7A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5120" y="384380"/>
            <a:ext cx="1922410" cy="952049"/>
          </a:xfrm>
          <a:prstGeom prst="rect">
            <a:avLst/>
          </a:prstGeom>
        </p:spPr>
      </p:pic>
    </p:spTree>
    <p:extLst>
      <p:ext uri="{BB962C8B-B14F-4D97-AF65-F5344CB8AC3E}">
        <p14:creationId xmlns:p14="http://schemas.microsoft.com/office/powerpoint/2010/main" val="476501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Sikkerhedsslide">
    <p:spTree>
      <p:nvGrpSpPr>
        <p:cNvPr id="1" name=""/>
        <p:cNvGrpSpPr/>
        <p:nvPr/>
      </p:nvGrpSpPr>
      <p:grpSpPr>
        <a:xfrm>
          <a:off x="0" y="0"/>
          <a:ext cx="0" cy="0"/>
          <a:chOff x="0" y="0"/>
          <a:chExt cx="0" cy="0"/>
        </a:xfrm>
      </p:grpSpPr>
      <p:sp>
        <p:nvSpPr>
          <p:cNvPr id="5" name="Rektangel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pic>
        <p:nvPicPr>
          <p:cNvPr id="6" name="Billed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403086" y="2146300"/>
            <a:ext cx="1655064" cy="1636776"/>
          </a:xfrm>
          <a:prstGeom prst="rect">
            <a:avLst/>
          </a:prstGeom>
        </p:spPr>
      </p:pic>
      <p:pic>
        <p:nvPicPr>
          <p:cNvPr id="7" name="Billed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50507" y="2146300"/>
            <a:ext cx="1655064" cy="1636776"/>
          </a:xfrm>
          <a:prstGeom prst="rect">
            <a:avLst/>
          </a:prstGeom>
        </p:spPr>
      </p:pic>
      <p:pic>
        <p:nvPicPr>
          <p:cNvPr id="8" name="Billed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697928" y="2146300"/>
            <a:ext cx="1655064" cy="1636776"/>
          </a:xfrm>
          <a:prstGeom prst="rect">
            <a:avLst/>
          </a:prstGeom>
        </p:spPr>
      </p:pic>
      <p:pic>
        <p:nvPicPr>
          <p:cNvPr id="9" name="Billed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755665" y="2146300"/>
            <a:ext cx="1655064" cy="1636776"/>
          </a:xfrm>
          <a:prstGeom prst="rect">
            <a:avLst/>
          </a:prstGeom>
        </p:spPr>
      </p:pic>
      <p:sp>
        <p:nvSpPr>
          <p:cNvPr id="10" name="Tekstfelt 9"/>
          <p:cNvSpPr txBox="1"/>
          <p:nvPr userDrawn="1"/>
        </p:nvSpPr>
        <p:spPr>
          <a:xfrm>
            <a:off x="1555054" y="4057651"/>
            <a:ext cx="2073972" cy="615553"/>
          </a:xfrm>
          <a:prstGeom prst="rect">
            <a:avLst/>
          </a:prstGeom>
          <a:noFill/>
        </p:spPr>
        <p:txBody>
          <a:bodyPr wrap="square" lIns="0" tIns="0" rIns="0" bIns="0" rtlCol="0">
            <a:spAutoFit/>
          </a:bodyPr>
          <a:lstStyle/>
          <a:p>
            <a:r>
              <a:rPr lang="en-US" sz="2000">
                <a:solidFill>
                  <a:schemeClr val="bg1"/>
                </a:solidFill>
                <a:latin typeface="Calibri" charset="0"/>
                <a:ea typeface="Calibri" charset="0"/>
                <a:cs typeface="Calibri" charset="0"/>
              </a:rPr>
              <a:t>SIKKERHEDSGUIDE</a:t>
            </a:r>
          </a:p>
          <a:p>
            <a:endParaRPr lang="en-US" sz="2000" dirty="0" err="1">
              <a:solidFill>
                <a:schemeClr val="bg1"/>
              </a:solidFill>
              <a:latin typeface="Calibri" charset="0"/>
              <a:ea typeface="Calibri" charset="0"/>
              <a:cs typeface="Calibri" charset="0"/>
            </a:endParaRPr>
          </a:p>
        </p:txBody>
      </p:sp>
      <p:sp>
        <p:nvSpPr>
          <p:cNvPr id="11" name="Tekstfelt 10"/>
          <p:cNvSpPr txBox="1"/>
          <p:nvPr userDrawn="1"/>
        </p:nvSpPr>
        <p:spPr>
          <a:xfrm>
            <a:off x="4118517" y="4057651"/>
            <a:ext cx="1667920" cy="30777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a:solidFill>
                  <a:schemeClr val="bg1"/>
                </a:solidFill>
                <a:latin typeface="Calibri" charset="0"/>
                <a:ea typeface="Calibri" charset="0"/>
                <a:cs typeface="Calibri" charset="0"/>
              </a:rPr>
              <a:t>NØDUDGANGE</a:t>
            </a:r>
            <a:endParaRPr lang="en-US" sz="2000" dirty="0">
              <a:solidFill>
                <a:schemeClr val="bg1"/>
              </a:solidFill>
              <a:latin typeface="Calibri" charset="0"/>
              <a:ea typeface="Calibri" charset="0"/>
              <a:cs typeface="Calibri" charset="0"/>
            </a:endParaRPr>
          </a:p>
        </p:txBody>
      </p:sp>
      <p:sp>
        <p:nvSpPr>
          <p:cNvPr id="12" name="Tekstfelt 11"/>
          <p:cNvSpPr txBox="1"/>
          <p:nvPr userDrawn="1"/>
        </p:nvSpPr>
        <p:spPr>
          <a:xfrm>
            <a:off x="6188773" y="4057651"/>
            <a:ext cx="2073972"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a:solidFill>
                  <a:schemeClr val="bg1"/>
                </a:solidFill>
                <a:latin typeface="Calibri" charset="0"/>
                <a:ea typeface="Calibri" charset="0"/>
                <a:cs typeface="Calibri" charset="0"/>
              </a:rPr>
              <a:t>HJERTESTARTER</a:t>
            </a:r>
            <a:endParaRPr lang="en-US" sz="2000" dirty="0">
              <a:solidFill>
                <a:schemeClr val="bg1"/>
              </a:solidFill>
              <a:latin typeface="Calibri" charset="0"/>
              <a:ea typeface="Calibri" charset="0"/>
              <a:cs typeface="Calibri" charset="0"/>
            </a:endParaRPr>
          </a:p>
        </p:txBody>
      </p:sp>
      <p:sp>
        <p:nvSpPr>
          <p:cNvPr id="13" name="Tekstfelt 12"/>
          <p:cNvSpPr txBox="1"/>
          <p:nvPr userDrawn="1"/>
        </p:nvSpPr>
        <p:spPr>
          <a:xfrm>
            <a:off x="8674803" y="4057651"/>
            <a:ext cx="1864518"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a:solidFill>
                  <a:schemeClr val="bg1"/>
                </a:solidFill>
                <a:latin typeface="Calibri" charset="0"/>
                <a:ea typeface="Calibri" charset="0"/>
                <a:cs typeface="Calibri" charset="0"/>
              </a:rPr>
              <a:t>SAMLINGSSTED</a:t>
            </a:r>
            <a:endParaRPr lang="en-US" sz="2000" dirty="0">
              <a:solidFill>
                <a:schemeClr val="bg1"/>
              </a:solidFill>
              <a:latin typeface="Calibri" charset="0"/>
              <a:ea typeface="Calibri" charset="0"/>
              <a:cs typeface="Calibri" charset="0"/>
            </a:endParaRPr>
          </a:p>
        </p:txBody>
      </p:sp>
    </p:spTree>
    <p:extLst>
      <p:ext uri="{BB962C8B-B14F-4D97-AF65-F5344CB8AC3E}">
        <p14:creationId xmlns:p14="http://schemas.microsoft.com/office/powerpoint/2010/main" val="13585222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D308E4-8F7E-4D95-9619-EEE99BC2776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8" name="think-cell Slide" r:id="rId5" imgW="521" imgH="520" progId="TCLayout.ActiveDocument.1">
                  <p:embed/>
                </p:oleObj>
              </mc:Choice>
              <mc:Fallback>
                <p:oleObj name="think-cell Slide" r:id="rId5" imgW="521" imgH="520" progId="TCLayout.ActiveDocument.1">
                  <p:embed/>
                  <p:pic>
                    <p:nvPicPr>
                      <p:cNvPr id="8" name="Objekt 7" hidden="1">
                        <a:extLst>
                          <a:ext uri="{FF2B5EF4-FFF2-40B4-BE49-F238E27FC236}">
                            <a16:creationId xmlns:a16="http://schemas.microsoft.com/office/drawing/2014/main" id="{3DD308E4-8F7E-4D95-9619-EEE99BC277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CF7D003-8791-4B70-A574-EF540A9752CD}"/>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sp>
        <p:nvSpPr>
          <p:cNvPr id="2" name="Titel 1"/>
          <p:cNvSpPr>
            <a:spLocks noGrp="1"/>
          </p:cNvSpPr>
          <p:nvPr>
            <p:ph type="title" hasCustomPrompt="1"/>
          </p:nvPr>
        </p:nvSpPr>
        <p:spPr>
          <a:xfrm>
            <a:off x="1104533" y="1038226"/>
            <a:ext cx="9792000" cy="419863"/>
          </a:xfrm>
        </p:spPr>
        <p:txBody>
          <a:bodyPr/>
          <a:lstStyle/>
          <a:p>
            <a:r>
              <a:rPr lang="en-US"/>
              <a:t>Klik og indsæt overskrift</a:t>
            </a:r>
            <a:endParaRPr lang="en-US" dirty="0"/>
          </a:p>
        </p:txBody>
      </p:sp>
      <p:sp>
        <p:nvSpPr>
          <p:cNvPr id="3" name="Pladsholder til dato 2"/>
          <p:cNvSpPr>
            <a:spLocks noGrp="1"/>
          </p:cNvSpPr>
          <p:nvPr>
            <p:ph type="dt" sz="half" idx="10"/>
          </p:nvPr>
        </p:nvSpPr>
        <p:spPr/>
        <p:txBody>
          <a:bodyPr/>
          <a:lstStyle/>
          <a:p>
            <a:r>
              <a:rPr lang="da-DK"/>
              <a:t>May 2019</a:t>
            </a:r>
            <a:endParaRPr lang="en-US" dirty="0"/>
          </a:p>
        </p:txBody>
      </p:sp>
      <p:sp>
        <p:nvSpPr>
          <p:cNvPr id="4" name="Pladsholder til sidefod 3"/>
          <p:cNvSpPr>
            <a:spLocks noGrp="1"/>
          </p:cNvSpPr>
          <p:nvPr>
            <p:ph type="ftr" sz="quarter" idx="11"/>
          </p:nvPr>
        </p:nvSpPr>
        <p:spPr/>
        <p:txBody>
          <a:bodyPr/>
          <a:lstStyle/>
          <a:p>
            <a:r>
              <a:rPr lang="en-US"/>
              <a:t>GIE meeting</a:t>
            </a:r>
            <a:endParaRPr lang="en-US" dirty="0"/>
          </a:p>
        </p:txBody>
      </p:sp>
      <p:sp>
        <p:nvSpPr>
          <p:cNvPr id="5" name="Pladsholder til diasnummer 4"/>
          <p:cNvSpPr>
            <a:spLocks noGrp="1"/>
          </p:cNvSpPr>
          <p:nvPr>
            <p:ph type="sldNum" sz="quarter" idx="12"/>
          </p:nvPr>
        </p:nvSpPr>
        <p:spPr/>
        <p:txBody>
          <a:bodyPr/>
          <a:lstStyle/>
          <a:p>
            <a:fld id="{667EC89C-17A0-4E64-A6D2-B825673CEEDF}" type="slidenum">
              <a:rPr lang="en-US" smtClean="0"/>
              <a:t>‹#›</a:t>
            </a:fld>
            <a:endParaRPr lang="en-US" dirty="0"/>
          </a:p>
        </p:txBody>
      </p:sp>
      <p:sp>
        <p:nvSpPr>
          <p:cNvPr id="6" name="Rectangle 5"/>
          <p:cNvSpPr/>
          <p:nvPr userDrawn="1"/>
        </p:nvSpPr>
        <p:spPr>
          <a:xfrm>
            <a:off x="12336000" y="0"/>
            <a:ext cx="2400000" cy="1846659"/>
          </a:xfrm>
          <a:prstGeom prst="rect">
            <a:avLst/>
          </a:prstGeom>
        </p:spPr>
        <p:txBody>
          <a:bodyPr wrap="square" lIns="0" tIns="0" rIns="0" bIns="0">
            <a:spAutoFit/>
          </a:bodyPr>
          <a:lstStyle/>
          <a:p>
            <a:pPr rtl="0"/>
            <a:r>
              <a:rPr lang="en-US" sz="1200" b="1" i="0" u="none" strike="noStrike" kern="1200" baseline="0">
                <a:solidFill>
                  <a:schemeClr val="bg1"/>
                </a:solidFill>
                <a:latin typeface="+mn-lt"/>
                <a:ea typeface="+mn-ea"/>
                <a:cs typeface="+mn-cs"/>
              </a:rPr>
              <a:t>Gode råd:</a:t>
            </a:r>
          </a:p>
          <a:p>
            <a:pPr rtl="0"/>
            <a:endParaRPr lang="en-US" sz="1200" b="1" i="0" u="none" strike="noStrike" kern="1200" baseline="0">
              <a:solidFill>
                <a:schemeClr val="bg1"/>
              </a:solidFill>
              <a:latin typeface="+mn-lt"/>
              <a:ea typeface="+mn-ea"/>
              <a:cs typeface="+mn-cs"/>
            </a:endParaRPr>
          </a:p>
          <a:p>
            <a:pPr rtl="0"/>
            <a:r>
              <a:rPr lang="en-US" sz="1200" b="0" i="0" u="none" strike="noStrike" kern="1200" baseline="0">
                <a:solidFill>
                  <a:schemeClr val="bg1"/>
                </a:solidFill>
                <a:latin typeface="+mn-lt"/>
                <a:ea typeface="+mn-ea"/>
                <a:cs typeface="+mn-cs"/>
              </a:rPr>
              <a:t>Find inspiration til </a:t>
            </a:r>
          </a:p>
          <a:p>
            <a:pPr rtl="0"/>
            <a:r>
              <a:rPr lang="en-US" sz="1200" b="0" i="0" u="none" strike="noStrike" kern="1200" baseline="0">
                <a:solidFill>
                  <a:schemeClr val="bg1"/>
                </a:solidFill>
                <a:latin typeface="+mn-lt"/>
                <a:ea typeface="+mn-ea"/>
                <a:cs typeface="+mn-cs"/>
              </a:rPr>
              <a:t>præsentationer på InSite under Værktøjer – Kommunikation</a:t>
            </a:r>
          </a:p>
          <a:p>
            <a:pPr rtl="0"/>
            <a:endParaRPr lang="en-US" sz="1200" b="0" i="0" u="none" strike="noStrike" kern="1200" baseline="0">
              <a:solidFill>
                <a:schemeClr val="bg1"/>
              </a:solidFill>
              <a:latin typeface="+mn-lt"/>
              <a:ea typeface="+mn-ea"/>
              <a:cs typeface="+mn-cs"/>
            </a:endParaRPr>
          </a:p>
          <a:p>
            <a:pPr rtl="0"/>
            <a:r>
              <a:rPr lang="en-US" sz="1200" b="0" i="0" u="none" strike="noStrike" kern="1200" baseline="0">
                <a:solidFill>
                  <a:schemeClr val="bg1"/>
                </a:solidFill>
                <a:latin typeface="+mn-lt"/>
                <a:ea typeface="+mn-ea"/>
                <a:cs typeface="+mn-cs"/>
              </a:rPr>
              <a:t>Du kan finde billeder og grafiske elementer i Energinet.dk’s billeddatabase (Cumulus) på InSite under Værktøjer – Kommunikation</a:t>
            </a:r>
            <a:endParaRPr lang="en-US" sz="1200" b="0" i="0" u="none" strike="noStrike" kern="1200" baseline="0" dirty="0">
              <a:solidFill>
                <a:schemeClr val="bg1"/>
              </a:solidFill>
              <a:latin typeface="+mn-lt"/>
              <a:ea typeface="+mn-ea"/>
              <a:cs typeface="+mn-cs"/>
            </a:endParaRPr>
          </a:p>
        </p:txBody>
      </p:sp>
    </p:spTree>
    <p:extLst>
      <p:ext uri="{BB962C8B-B14F-4D97-AF65-F5344CB8AC3E}">
        <p14:creationId xmlns:p14="http://schemas.microsoft.com/office/powerpoint/2010/main" val="14911398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ext slide">
    <p:spTree>
      <p:nvGrpSpPr>
        <p:cNvPr id="1" name=""/>
        <p:cNvGrpSpPr/>
        <p:nvPr/>
      </p:nvGrpSpPr>
      <p:grpSpPr>
        <a:xfrm>
          <a:off x="0" y="0"/>
          <a:ext cx="0" cy="0"/>
          <a:chOff x="0" y="0"/>
          <a:chExt cx="0" cy="0"/>
        </a:xfrm>
      </p:grpSpPr>
      <p:sp>
        <p:nvSpPr>
          <p:cNvPr id="2" name="Titel 1"/>
          <p:cNvSpPr>
            <a:spLocks noGrp="1"/>
          </p:cNvSpPr>
          <p:nvPr>
            <p:ph type="title"/>
          </p:nvPr>
        </p:nvSpPr>
        <p:spPr>
          <a:xfrm>
            <a:off x="571500" y="877985"/>
            <a:ext cx="11180232" cy="580927"/>
          </a:xfrm>
        </p:spPr>
        <p:txBody>
          <a:bodyPr/>
          <a:lstStyle/>
          <a:p>
            <a:r>
              <a:rPr lang="nl-NL" dirty="0"/>
              <a:t>Klik om de stijl te bewerken</a:t>
            </a:r>
          </a:p>
        </p:txBody>
      </p:sp>
      <p:sp>
        <p:nvSpPr>
          <p:cNvPr id="3" name="Tijdelijke aanduiding voor inhoud 2"/>
          <p:cNvSpPr>
            <a:spLocks noGrp="1"/>
          </p:cNvSpPr>
          <p:nvPr>
            <p:ph idx="1"/>
          </p:nvPr>
        </p:nvSpPr>
        <p:spPr>
          <a:xfrm>
            <a:off x="571500" y="1642535"/>
            <a:ext cx="11083400" cy="4341283"/>
          </a:xfrm>
        </p:spPr>
        <p:txBody>
          <a:bodyPr/>
          <a:lstStyle>
            <a:lvl1pPr>
              <a:defRPr sz="2133"/>
            </a:lvl1pPr>
            <a:lvl2pPr>
              <a:defRPr sz="1867"/>
            </a:lvl2pPr>
            <a:lvl3pPr>
              <a:defRPr sz="1467"/>
            </a:lvl3pPr>
            <a:lvl4pPr>
              <a:defRPr sz="1467"/>
            </a:lvl4pPr>
            <a:lvl5pPr>
              <a:defRPr sz="1467"/>
            </a:lvl5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p:cNvSpPr>
            <a:spLocks noGrp="1"/>
          </p:cNvSpPr>
          <p:nvPr>
            <p:ph type="dt" sz="half" idx="10"/>
          </p:nvPr>
        </p:nvSpPr>
        <p:spPr/>
        <p:txBody>
          <a:bodyPr/>
          <a:lstStyle/>
          <a:p>
            <a:r>
              <a:rPr lang="nl-NL">
                <a:solidFill>
                  <a:srgbClr val="455A70"/>
                </a:solidFill>
              </a:rPr>
              <a:t>15 May 2019</a:t>
            </a:r>
            <a:endParaRPr lang="nl-NL" dirty="0">
              <a:solidFill>
                <a:srgbClr val="455A70"/>
              </a:solidFill>
            </a:endParaRPr>
          </a:p>
        </p:txBody>
      </p:sp>
      <p:sp>
        <p:nvSpPr>
          <p:cNvPr id="5" name="Tijdelijke aanduiding voor voettekst 4"/>
          <p:cNvSpPr>
            <a:spLocks noGrp="1"/>
          </p:cNvSpPr>
          <p:nvPr>
            <p:ph type="ftr" sz="quarter" idx="11"/>
          </p:nvPr>
        </p:nvSpPr>
        <p:spPr/>
        <p:txBody>
          <a:bodyPr/>
          <a:lstStyle/>
          <a:p>
            <a:r>
              <a:rPr lang="nl-NL">
                <a:solidFill>
                  <a:srgbClr val="455A70"/>
                </a:solidFill>
              </a:rPr>
              <a:t>Energinet - Knowledge Cafe</a:t>
            </a:r>
            <a:endParaRPr lang="nl-NL" dirty="0">
              <a:solidFill>
                <a:srgbClr val="455A70"/>
              </a:solidFill>
            </a:endParaRPr>
          </a:p>
        </p:txBody>
      </p:sp>
      <p:sp>
        <p:nvSpPr>
          <p:cNvPr id="6" name="Tijdelijke aanduiding voor dianummer 5"/>
          <p:cNvSpPr>
            <a:spLocks noGrp="1"/>
          </p:cNvSpPr>
          <p:nvPr>
            <p:ph type="sldNum" sz="quarter" idx="12"/>
          </p:nvPr>
        </p:nvSpPr>
        <p:spPr/>
        <p:txBody>
          <a:bodyPr/>
          <a:lstStyle/>
          <a:p>
            <a:fld id="{66C1F3A1-1AAE-4436-9F74-A91C374B0FE0}" type="slidenum">
              <a:rPr lang="nl-NL" smtClean="0">
                <a:solidFill>
                  <a:srgbClr val="455A70"/>
                </a:solidFill>
              </a:rPr>
              <a:pPr/>
              <a:t>‹#›</a:t>
            </a:fld>
            <a:endParaRPr lang="nl-NL">
              <a:solidFill>
                <a:srgbClr val="455A70"/>
              </a:solidFill>
            </a:endParaRPr>
          </a:p>
        </p:txBody>
      </p:sp>
    </p:spTree>
    <p:extLst>
      <p:ext uri="{BB962C8B-B14F-4D97-AF65-F5344CB8AC3E}">
        <p14:creationId xmlns:p14="http://schemas.microsoft.com/office/powerpoint/2010/main" val="3848633704"/>
      </p:ext>
    </p:extLst>
  </p:cSld>
  <p:clrMapOvr>
    <a:masterClrMapping/>
  </p:clrMapOvr>
  <p:extLst mod="1">
    <p:ext uri="{DCECCB84-F9BA-43D5-87BE-67443E8EF086}">
      <p15:sldGuideLst xmlns:p15="http://schemas.microsoft.com/office/powerpoint/2012/main">
        <p15:guide id="2" pos="288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330600" y="322200"/>
            <a:ext cx="11530800" cy="6213600"/>
          </a:xfrm>
          <a:prstGeom prst="rect">
            <a:avLst/>
          </a:prstGeom>
          <a:gradFill>
            <a:gsLst>
              <a:gs pos="80000">
                <a:srgbClr val="0357BC"/>
              </a:gs>
              <a:gs pos="100000">
                <a:schemeClr val="accent2"/>
              </a:gs>
              <a:gs pos="60000">
                <a:srgbClr val="042BA3"/>
              </a:gs>
              <a:gs pos="25000">
                <a:schemeClr val="tx2"/>
              </a:gs>
              <a:gs pos="0">
                <a:schemeClr val="tx2"/>
              </a:gs>
            </a:gsLst>
            <a:lin ang="201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solidFill>
                <a:srgbClr val="FFFFFF"/>
              </a:solidFill>
            </a:endParaRPr>
          </a:p>
        </p:txBody>
      </p:sp>
      <p:grpSp>
        <p:nvGrpSpPr>
          <p:cNvPr id="6" name="Group 5"/>
          <p:cNvGrpSpPr/>
          <p:nvPr userDrawn="1"/>
        </p:nvGrpSpPr>
        <p:grpSpPr>
          <a:xfrm>
            <a:off x="-492125" y="-590550"/>
            <a:ext cx="15217776" cy="10388600"/>
            <a:chOff x="-492125" y="-590550"/>
            <a:chExt cx="15217776" cy="10388600"/>
          </a:xfrm>
        </p:grpSpPr>
        <p:sp>
          <p:nvSpPr>
            <p:cNvPr id="51" name="AutoShape 3"/>
            <p:cNvSpPr>
              <a:spLocks noChangeAspect="1" noChangeArrowheads="1" noTextEdit="1"/>
            </p:cNvSpPr>
            <p:nvPr/>
          </p:nvSpPr>
          <p:spPr bwMode="auto">
            <a:xfrm>
              <a:off x="-492125" y="-590550"/>
              <a:ext cx="15214600" cy="1038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2" name="Freeform 6"/>
            <p:cNvSpPr>
              <a:spLocks/>
            </p:cNvSpPr>
            <p:nvPr/>
          </p:nvSpPr>
          <p:spPr bwMode="auto">
            <a:xfrm>
              <a:off x="12084050" y="4646613"/>
              <a:ext cx="2189163" cy="2166938"/>
            </a:xfrm>
            <a:custGeom>
              <a:avLst/>
              <a:gdLst>
                <a:gd name="T0" fmla="*/ 0 w 1379"/>
                <a:gd name="T1" fmla="*/ 273 h 1365"/>
                <a:gd name="T2" fmla="*/ 1033 w 1379"/>
                <a:gd name="T3" fmla="*/ 1365 h 1365"/>
                <a:gd name="T4" fmla="*/ 1379 w 1379"/>
                <a:gd name="T5" fmla="*/ 1012 h 1365"/>
                <a:gd name="T6" fmla="*/ 267 w 1379"/>
                <a:gd name="T7" fmla="*/ 0 h 1365"/>
                <a:gd name="T8" fmla="*/ 0 w 1379"/>
                <a:gd name="T9" fmla="*/ 273 h 1365"/>
              </a:gdLst>
              <a:ahLst/>
              <a:cxnLst>
                <a:cxn ang="0">
                  <a:pos x="T0" y="T1"/>
                </a:cxn>
                <a:cxn ang="0">
                  <a:pos x="T2" y="T3"/>
                </a:cxn>
                <a:cxn ang="0">
                  <a:pos x="T4" y="T5"/>
                </a:cxn>
                <a:cxn ang="0">
                  <a:pos x="T6" y="T7"/>
                </a:cxn>
                <a:cxn ang="0">
                  <a:pos x="T8" y="T9"/>
                </a:cxn>
              </a:cxnLst>
              <a:rect l="0" t="0" r="r" b="b"/>
              <a:pathLst>
                <a:path w="1379" h="1365">
                  <a:moveTo>
                    <a:pt x="0" y="273"/>
                  </a:moveTo>
                  <a:lnTo>
                    <a:pt x="1033" y="1365"/>
                  </a:lnTo>
                  <a:lnTo>
                    <a:pt x="1379" y="1012"/>
                  </a:lnTo>
                  <a:lnTo>
                    <a:pt x="267" y="0"/>
                  </a:lnTo>
                  <a:lnTo>
                    <a:pt x="0" y="273"/>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3" name="Freeform 7"/>
            <p:cNvSpPr>
              <a:spLocks/>
            </p:cNvSpPr>
            <p:nvPr/>
          </p:nvSpPr>
          <p:spPr bwMode="auto">
            <a:xfrm>
              <a:off x="11145838" y="5432425"/>
              <a:ext cx="1897063" cy="2373313"/>
            </a:xfrm>
            <a:custGeom>
              <a:avLst/>
              <a:gdLst>
                <a:gd name="T0" fmla="*/ 0 w 1195"/>
                <a:gd name="T1" fmla="*/ 214 h 1495"/>
                <a:gd name="T2" fmla="*/ 784 w 1195"/>
                <a:gd name="T3" fmla="*/ 1495 h 1495"/>
                <a:gd name="T4" fmla="*/ 1195 w 1195"/>
                <a:gd name="T5" fmla="*/ 1221 h 1495"/>
                <a:gd name="T6" fmla="*/ 319 w 1195"/>
                <a:gd name="T7" fmla="*/ 0 h 1495"/>
                <a:gd name="T8" fmla="*/ 0 w 1195"/>
                <a:gd name="T9" fmla="*/ 214 h 1495"/>
              </a:gdLst>
              <a:ahLst/>
              <a:cxnLst>
                <a:cxn ang="0">
                  <a:pos x="T0" y="T1"/>
                </a:cxn>
                <a:cxn ang="0">
                  <a:pos x="T2" y="T3"/>
                </a:cxn>
                <a:cxn ang="0">
                  <a:pos x="T4" y="T5"/>
                </a:cxn>
                <a:cxn ang="0">
                  <a:pos x="T6" y="T7"/>
                </a:cxn>
                <a:cxn ang="0">
                  <a:pos x="T8" y="T9"/>
                </a:cxn>
              </a:cxnLst>
              <a:rect l="0" t="0" r="r" b="b"/>
              <a:pathLst>
                <a:path w="1195" h="1495">
                  <a:moveTo>
                    <a:pt x="0" y="214"/>
                  </a:moveTo>
                  <a:lnTo>
                    <a:pt x="784" y="1495"/>
                  </a:lnTo>
                  <a:lnTo>
                    <a:pt x="1195" y="1221"/>
                  </a:lnTo>
                  <a:lnTo>
                    <a:pt x="319" y="0"/>
                  </a:lnTo>
                  <a:lnTo>
                    <a:pt x="0" y="214"/>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4" name="Freeform 8"/>
            <p:cNvSpPr>
              <a:spLocks/>
            </p:cNvSpPr>
            <p:nvPr/>
          </p:nvSpPr>
          <p:spPr bwMode="auto">
            <a:xfrm>
              <a:off x="10088563" y="6024563"/>
              <a:ext cx="1524000" cy="2474913"/>
            </a:xfrm>
            <a:custGeom>
              <a:avLst/>
              <a:gdLst>
                <a:gd name="T0" fmla="*/ 0 w 960"/>
                <a:gd name="T1" fmla="*/ 142 h 1559"/>
                <a:gd name="T2" fmla="*/ 501 w 960"/>
                <a:gd name="T3" fmla="*/ 1559 h 1559"/>
                <a:gd name="T4" fmla="*/ 960 w 960"/>
                <a:gd name="T5" fmla="*/ 1377 h 1559"/>
                <a:gd name="T6" fmla="*/ 357 w 960"/>
                <a:gd name="T7" fmla="*/ 0 h 1559"/>
                <a:gd name="T8" fmla="*/ 0 w 960"/>
                <a:gd name="T9" fmla="*/ 142 h 1559"/>
              </a:gdLst>
              <a:ahLst/>
              <a:cxnLst>
                <a:cxn ang="0">
                  <a:pos x="T0" y="T1"/>
                </a:cxn>
                <a:cxn ang="0">
                  <a:pos x="T2" y="T3"/>
                </a:cxn>
                <a:cxn ang="0">
                  <a:pos x="T4" y="T5"/>
                </a:cxn>
                <a:cxn ang="0">
                  <a:pos x="T6" y="T7"/>
                </a:cxn>
                <a:cxn ang="0">
                  <a:pos x="T8" y="T9"/>
                </a:cxn>
              </a:cxnLst>
              <a:rect l="0" t="0" r="r" b="b"/>
              <a:pathLst>
                <a:path w="960" h="1559">
                  <a:moveTo>
                    <a:pt x="0" y="142"/>
                  </a:moveTo>
                  <a:lnTo>
                    <a:pt x="501" y="1559"/>
                  </a:lnTo>
                  <a:lnTo>
                    <a:pt x="960" y="1377"/>
                  </a:lnTo>
                  <a:lnTo>
                    <a:pt x="357" y="0"/>
                  </a:lnTo>
                  <a:lnTo>
                    <a:pt x="0" y="14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5" name="Freeform 9"/>
            <p:cNvSpPr>
              <a:spLocks/>
            </p:cNvSpPr>
            <p:nvPr/>
          </p:nvSpPr>
          <p:spPr bwMode="auto">
            <a:xfrm>
              <a:off x="8953500" y="6399213"/>
              <a:ext cx="1081088" cy="2463800"/>
            </a:xfrm>
            <a:custGeom>
              <a:avLst/>
              <a:gdLst>
                <a:gd name="T0" fmla="*/ 0 w 681"/>
                <a:gd name="T1" fmla="*/ 62 h 1552"/>
                <a:gd name="T2" fmla="*/ 194 w 681"/>
                <a:gd name="T3" fmla="*/ 1552 h 1552"/>
                <a:gd name="T4" fmla="*/ 681 w 681"/>
                <a:gd name="T5" fmla="*/ 1470 h 1552"/>
                <a:gd name="T6" fmla="*/ 377 w 681"/>
                <a:gd name="T7" fmla="*/ 0 h 1552"/>
                <a:gd name="T8" fmla="*/ 0 w 681"/>
                <a:gd name="T9" fmla="*/ 62 h 1552"/>
              </a:gdLst>
              <a:ahLst/>
              <a:cxnLst>
                <a:cxn ang="0">
                  <a:pos x="T0" y="T1"/>
                </a:cxn>
                <a:cxn ang="0">
                  <a:pos x="T2" y="T3"/>
                </a:cxn>
                <a:cxn ang="0">
                  <a:pos x="T4" y="T5"/>
                </a:cxn>
                <a:cxn ang="0">
                  <a:pos x="T6" y="T7"/>
                </a:cxn>
                <a:cxn ang="0">
                  <a:pos x="T8" y="T9"/>
                </a:cxn>
              </a:cxnLst>
              <a:rect l="0" t="0" r="r" b="b"/>
              <a:pathLst>
                <a:path w="681" h="1552">
                  <a:moveTo>
                    <a:pt x="0" y="62"/>
                  </a:moveTo>
                  <a:lnTo>
                    <a:pt x="194" y="1552"/>
                  </a:lnTo>
                  <a:lnTo>
                    <a:pt x="681" y="1470"/>
                  </a:lnTo>
                  <a:lnTo>
                    <a:pt x="377" y="0"/>
                  </a:lnTo>
                  <a:lnTo>
                    <a:pt x="0" y="6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6" name="Freeform 10"/>
            <p:cNvSpPr>
              <a:spLocks/>
            </p:cNvSpPr>
            <p:nvPr/>
          </p:nvSpPr>
          <p:spPr bwMode="auto">
            <a:xfrm>
              <a:off x="7600950" y="6507163"/>
              <a:ext cx="795338" cy="2409825"/>
            </a:xfrm>
            <a:custGeom>
              <a:avLst/>
              <a:gdLst>
                <a:gd name="T0" fmla="*/ 120 w 501"/>
                <a:gd name="T1" fmla="*/ 0 h 1518"/>
                <a:gd name="T2" fmla="*/ 0 w 501"/>
                <a:gd name="T3" fmla="*/ 1496 h 1518"/>
                <a:gd name="T4" fmla="*/ 493 w 501"/>
                <a:gd name="T5" fmla="*/ 1518 h 1518"/>
                <a:gd name="T6" fmla="*/ 501 w 501"/>
                <a:gd name="T7" fmla="*/ 16 h 1518"/>
                <a:gd name="T8" fmla="*/ 120 w 501"/>
                <a:gd name="T9" fmla="*/ 0 h 1518"/>
              </a:gdLst>
              <a:ahLst/>
              <a:cxnLst>
                <a:cxn ang="0">
                  <a:pos x="T0" y="T1"/>
                </a:cxn>
                <a:cxn ang="0">
                  <a:pos x="T2" y="T3"/>
                </a:cxn>
                <a:cxn ang="0">
                  <a:pos x="T4" y="T5"/>
                </a:cxn>
                <a:cxn ang="0">
                  <a:pos x="T6" y="T7"/>
                </a:cxn>
                <a:cxn ang="0">
                  <a:pos x="T8" y="T9"/>
                </a:cxn>
              </a:cxnLst>
              <a:rect l="0" t="0" r="r" b="b"/>
              <a:pathLst>
                <a:path w="501" h="1518">
                  <a:moveTo>
                    <a:pt x="120" y="0"/>
                  </a:moveTo>
                  <a:lnTo>
                    <a:pt x="0" y="1496"/>
                  </a:lnTo>
                  <a:lnTo>
                    <a:pt x="493" y="1518"/>
                  </a:lnTo>
                  <a:lnTo>
                    <a:pt x="501" y="16"/>
                  </a:lnTo>
                  <a:lnTo>
                    <a:pt x="120"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7" name="Freeform 11"/>
            <p:cNvSpPr>
              <a:spLocks/>
            </p:cNvSpPr>
            <p:nvPr/>
          </p:nvSpPr>
          <p:spPr bwMode="auto">
            <a:xfrm>
              <a:off x="5970588" y="6272213"/>
              <a:ext cx="1270000" cy="2479675"/>
            </a:xfrm>
            <a:custGeom>
              <a:avLst/>
              <a:gdLst>
                <a:gd name="T0" fmla="*/ 429 w 800"/>
                <a:gd name="T1" fmla="*/ 0 h 1562"/>
                <a:gd name="T2" fmla="*/ 0 w 800"/>
                <a:gd name="T3" fmla="*/ 1439 h 1562"/>
                <a:gd name="T4" fmla="*/ 479 w 800"/>
                <a:gd name="T5" fmla="*/ 1562 h 1562"/>
                <a:gd name="T6" fmla="*/ 800 w 800"/>
                <a:gd name="T7" fmla="*/ 94 h 1562"/>
                <a:gd name="T8" fmla="*/ 429 w 800"/>
                <a:gd name="T9" fmla="*/ 0 h 1562"/>
              </a:gdLst>
              <a:ahLst/>
              <a:cxnLst>
                <a:cxn ang="0">
                  <a:pos x="T0" y="T1"/>
                </a:cxn>
                <a:cxn ang="0">
                  <a:pos x="T2" y="T3"/>
                </a:cxn>
                <a:cxn ang="0">
                  <a:pos x="T4" y="T5"/>
                </a:cxn>
                <a:cxn ang="0">
                  <a:pos x="T6" y="T7"/>
                </a:cxn>
                <a:cxn ang="0">
                  <a:pos x="T8" y="T9"/>
                </a:cxn>
              </a:cxnLst>
              <a:rect l="0" t="0" r="r" b="b"/>
              <a:pathLst>
                <a:path w="800" h="1562">
                  <a:moveTo>
                    <a:pt x="429" y="0"/>
                  </a:moveTo>
                  <a:lnTo>
                    <a:pt x="0" y="1439"/>
                  </a:lnTo>
                  <a:lnTo>
                    <a:pt x="479" y="1562"/>
                  </a:lnTo>
                  <a:lnTo>
                    <a:pt x="800" y="94"/>
                  </a:lnTo>
                  <a:lnTo>
                    <a:pt x="42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8" name="Freeform 12"/>
            <p:cNvSpPr>
              <a:spLocks/>
            </p:cNvSpPr>
            <p:nvPr/>
          </p:nvSpPr>
          <p:spPr bwMode="auto">
            <a:xfrm>
              <a:off x="4446588" y="5802313"/>
              <a:ext cx="1684338" cy="2446338"/>
            </a:xfrm>
            <a:custGeom>
              <a:avLst/>
              <a:gdLst>
                <a:gd name="T0" fmla="*/ 718 w 1061"/>
                <a:gd name="T1" fmla="*/ 0 h 1541"/>
                <a:gd name="T2" fmla="*/ 0 w 1061"/>
                <a:gd name="T3" fmla="*/ 1322 h 1541"/>
                <a:gd name="T4" fmla="*/ 441 w 1061"/>
                <a:gd name="T5" fmla="*/ 1541 h 1541"/>
                <a:gd name="T6" fmla="*/ 1061 w 1061"/>
                <a:gd name="T7" fmla="*/ 172 h 1541"/>
                <a:gd name="T8" fmla="*/ 718 w 1061"/>
                <a:gd name="T9" fmla="*/ 0 h 1541"/>
              </a:gdLst>
              <a:ahLst/>
              <a:cxnLst>
                <a:cxn ang="0">
                  <a:pos x="T0" y="T1"/>
                </a:cxn>
                <a:cxn ang="0">
                  <a:pos x="T2" y="T3"/>
                </a:cxn>
                <a:cxn ang="0">
                  <a:pos x="T4" y="T5"/>
                </a:cxn>
                <a:cxn ang="0">
                  <a:pos x="T6" y="T7"/>
                </a:cxn>
                <a:cxn ang="0">
                  <a:pos x="T8" y="T9"/>
                </a:cxn>
              </a:cxnLst>
              <a:rect l="0" t="0" r="r" b="b"/>
              <a:pathLst>
                <a:path w="1061" h="1541">
                  <a:moveTo>
                    <a:pt x="718" y="0"/>
                  </a:moveTo>
                  <a:lnTo>
                    <a:pt x="0" y="1322"/>
                  </a:lnTo>
                  <a:lnTo>
                    <a:pt x="441" y="1541"/>
                  </a:lnTo>
                  <a:lnTo>
                    <a:pt x="1061" y="172"/>
                  </a:lnTo>
                  <a:lnTo>
                    <a:pt x="718"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9" name="Freeform 13"/>
            <p:cNvSpPr>
              <a:spLocks/>
            </p:cNvSpPr>
            <p:nvPr/>
          </p:nvSpPr>
          <p:spPr bwMode="auto">
            <a:xfrm>
              <a:off x="3090863" y="5124450"/>
              <a:ext cx="2027238" cy="2300288"/>
            </a:xfrm>
            <a:custGeom>
              <a:avLst/>
              <a:gdLst>
                <a:gd name="T0" fmla="*/ 978 w 1277"/>
                <a:gd name="T1" fmla="*/ 0 h 1449"/>
                <a:gd name="T2" fmla="*/ 0 w 1277"/>
                <a:gd name="T3" fmla="*/ 1144 h 1449"/>
                <a:gd name="T4" fmla="*/ 387 w 1277"/>
                <a:gd name="T5" fmla="*/ 1449 h 1449"/>
                <a:gd name="T6" fmla="*/ 1277 w 1277"/>
                <a:gd name="T7" fmla="*/ 240 h 1449"/>
                <a:gd name="T8" fmla="*/ 978 w 1277"/>
                <a:gd name="T9" fmla="*/ 0 h 1449"/>
              </a:gdLst>
              <a:ahLst/>
              <a:cxnLst>
                <a:cxn ang="0">
                  <a:pos x="T0" y="T1"/>
                </a:cxn>
                <a:cxn ang="0">
                  <a:pos x="T2" y="T3"/>
                </a:cxn>
                <a:cxn ang="0">
                  <a:pos x="T4" y="T5"/>
                </a:cxn>
                <a:cxn ang="0">
                  <a:pos x="T6" y="T7"/>
                </a:cxn>
                <a:cxn ang="0">
                  <a:pos x="T8" y="T9"/>
                </a:cxn>
              </a:cxnLst>
              <a:rect l="0" t="0" r="r" b="b"/>
              <a:pathLst>
                <a:path w="1277" h="1449">
                  <a:moveTo>
                    <a:pt x="978" y="0"/>
                  </a:moveTo>
                  <a:lnTo>
                    <a:pt x="0" y="1144"/>
                  </a:lnTo>
                  <a:lnTo>
                    <a:pt x="387" y="1449"/>
                  </a:lnTo>
                  <a:lnTo>
                    <a:pt x="1277" y="240"/>
                  </a:lnTo>
                  <a:lnTo>
                    <a:pt x="978"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0" name="Freeform 14"/>
            <p:cNvSpPr>
              <a:spLocks/>
            </p:cNvSpPr>
            <p:nvPr/>
          </p:nvSpPr>
          <p:spPr bwMode="auto">
            <a:xfrm>
              <a:off x="1965325" y="4267200"/>
              <a:ext cx="2281238" cy="2055813"/>
            </a:xfrm>
            <a:custGeom>
              <a:avLst/>
              <a:gdLst>
                <a:gd name="T0" fmla="*/ 1194 w 1437"/>
                <a:gd name="T1" fmla="*/ 0 h 1295"/>
                <a:gd name="T2" fmla="*/ 0 w 1437"/>
                <a:gd name="T3" fmla="*/ 914 h 1295"/>
                <a:gd name="T4" fmla="*/ 314 w 1437"/>
                <a:gd name="T5" fmla="*/ 1295 h 1295"/>
                <a:gd name="T6" fmla="*/ 1437 w 1437"/>
                <a:gd name="T7" fmla="*/ 295 h 1295"/>
                <a:gd name="T8" fmla="*/ 1194 w 1437"/>
                <a:gd name="T9" fmla="*/ 0 h 1295"/>
              </a:gdLst>
              <a:ahLst/>
              <a:cxnLst>
                <a:cxn ang="0">
                  <a:pos x="T0" y="T1"/>
                </a:cxn>
                <a:cxn ang="0">
                  <a:pos x="T2" y="T3"/>
                </a:cxn>
                <a:cxn ang="0">
                  <a:pos x="T4" y="T5"/>
                </a:cxn>
                <a:cxn ang="0">
                  <a:pos x="T6" y="T7"/>
                </a:cxn>
                <a:cxn ang="0">
                  <a:pos x="T8" y="T9"/>
                </a:cxn>
              </a:cxnLst>
              <a:rect l="0" t="0" r="r" b="b"/>
              <a:pathLst>
                <a:path w="1437" h="1295">
                  <a:moveTo>
                    <a:pt x="1194" y="0"/>
                  </a:moveTo>
                  <a:lnTo>
                    <a:pt x="0" y="914"/>
                  </a:lnTo>
                  <a:lnTo>
                    <a:pt x="314" y="1295"/>
                  </a:lnTo>
                  <a:lnTo>
                    <a:pt x="1437" y="295"/>
                  </a:lnTo>
                  <a:lnTo>
                    <a:pt x="1194"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1" name="Freeform 15"/>
            <p:cNvSpPr>
              <a:spLocks/>
            </p:cNvSpPr>
            <p:nvPr/>
          </p:nvSpPr>
          <p:spPr bwMode="auto">
            <a:xfrm>
              <a:off x="1117600" y="3265488"/>
              <a:ext cx="2435225" cy="1717675"/>
            </a:xfrm>
            <a:custGeom>
              <a:avLst/>
              <a:gdLst>
                <a:gd name="T0" fmla="*/ 1357 w 1534"/>
                <a:gd name="T1" fmla="*/ 0 h 1082"/>
                <a:gd name="T2" fmla="*/ 0 w 1534"/>
                <a:gd name="T3" fmla="*/ 645 h 1082"/>
                <a:gd name="T4" fmla="*/ 229 w 1534"/>
                <a:gd name="T5" fmla="*/ 1082 h 1082"/>
                <a:gd name="T6" fmla="*/ 1534 w 1534"/>
                <a:gd name="T7" fmla="*/ 339 h 1082"/>
                <a:gd name="T8" fmla="*/ 1357 w 1534"/>
                <a:gd name="T9" fmla="*/ 0 h 1082"/>
              </a:gdLst>
              <a:ahLst/>
              <a:cxnLst>
                <a:cxn ang="0">
                  <a:pos x="T0" y="T1"/>
                </a:cxn>
                <a:cxn ang="0">
                  <a:pos x="T2" y="T3"/>
                </a:cxn>
                <a:cxn ang="0">
                  <a:pos x="T4" y="T5"/>
                </a:cxn>
                <a:cxn ang="0">
                  <a:pos x="T6" y="T7"/>
                </a:cxn>
                <a:cxn ang="0">
                  <a:pos x="T8" y="T9"/>
                </a:cxn>
              </a:cxnLst>
              <a:rect l="0" t="0" r="r" b="b"/>
              <a:pathLst>
                <a:path w="1534" h="1082">
                  <a:moveTo>
                    <a:pt x="1357" y="0"/>
                  </a:moveTo>
                  <a:lnTo>
                    <a:pt x="0" y="645"/>
                  </a:lnTo>
                  <a:lnTo>
                    <a:pt x="229" y="1082"/>
                  </a:lnTo>
                  <a:lnTo>
                    <a:pt x="1534" y="339"/>
                  </a:lnTo>
                  <a:lnTo>
                    <a:pt x="1357"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2" name="Freeform 16"/>
            <p:cNvSpPr>
              <a:spLocks/>
            </p:cNvSpPr>
            <p:nvPr/>
          </p:nvSpPr>
          <p:spPr bwMode="auto">
            <a:xfrm>
              <a:off x="584200" y="2159000"/>
              <a:ext cx="2484438" cy="1312863"/>
            </a:xfrm>
            <a:custGeom>
              <a:avLst/>
              <a:gdLst>
                <a:gd name="T0" fmla="*/ 1463 w 1565"/>
                <a:gd name="T1" fmla="*/ 0 h 827"/>
                <a:gd name="T2" fmla="*/ 0 w 1565"/>
                <a:gd name="T3" fmla="*/ 350 h 827"/>
                <a:gd name="T4" fmla="*/ 134 w 1565"/>
                <a:gd name="T5" fmla="*/ 827 h 827"/>
                <a:gd name="T6" fmla="*/ 1565 w 1565"/>
                <a:gd name="T7" fmla="*/ 370 h 827"/>
                <a:gd name="T8" fmla="*/ 1463 w 1565"/>
                <a:gd name="T9" fmla="*/ 0 h 827"/>
              </a:gdLst>
              <a:ahLst/>
              <a:cxnLst>
                <a:cxn ang="0">
                  <a:pos x="T0" y="T1"/>
                </a:cxn>
                <a:cxn ang="0">
                  <a:pos x="T2" y="T3"/>
                </a:cxn>
                <a:cxn ang="0">
                  <a:pos x="T4" y="T5"/>
                </a:cxn>
                <a:cxn ang="0">
                  <a:pos x="T6" y="T7"/>
                </a:cxn>
                <a:cxn ang="0">
                  <a:pos x="T8" y="T9"/>
                </a:cxn>
              </a:cxnLst>
              <a:rect l="0" t="0" r="r" b="b"/>
              <a:pathLst>
                <a:path w="1565" h="827">
                  <a:moveTo>
                    <a:pt x="1463" y="0"/>
                  </a:moveTo>
                  <a:lnTo>
                    <a:pt x="0" y="350"/>
                  </a:lnTo>
                  <a:lnTo>
                    <a:pt x="134" y="827"/>
                  </a:lnTo>
                  <a:lnTo>
                    <a:pt x="1565" y="370"/>
                  </a:lnTo>
                  <a:lnTo>
                    <a:pt x="1463"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3" name="Freeform 17"/>
            <p:cNvSpPr>
              <a:spLocks/>
            </p:cNvSpPr>
            <p:nvPr/>
          </p:nvSpPr>
          <p:spPr bwMode="auto">
            <a:xfrm>
              <a:off x="392113" y="1006475"/>
              <a:ext cx="2422525" cy="842963"/>
            </a:xfrm>
            <a:custGeom>
              <a:avLst/>
              <a:gdLst>
                <a:gd name="T0" fmla="*/ 1502 w 1526"/>
                <a:gd name="T1" fmla="*/ 0 h 531"/>
                <a:gd name="T2" fmla="*/ 0 w 1526"/>
                <a:gd name="T3" fmla="*/ 38 h 531"/>
                <a:gd name="T4" fmla="*/ 32 w 1526"/>
                <a:gd name="T5" fmla="*/ 531 h 531"/>
                <a:gd name="T6" fmla="*/ 1526 w 1526"/>
                <a:gd name="T7" fmla="*/ 381 h 531"/>
                <a:gd name="T8" fmla="*/ 1502 w 1526"/>
                <a:gd name="T9" fmla="*/ 0 h 531"/>
              </a:gdLst>
              <a:ahLst/>
              <a:cxnLst>
                <a:cxn ang="0">
                  <a:pos x="T0" y="T1"/>
                </a:cxn>
                <a:cxn ang="0">
                  <a:pos x="T2" y="T3"/>
                </a:cxn>
                <a:cxn ang="0">
                  <a:pos x="T4" y="T5"/>
                </a:cxn>
                <a:cxn ang="0">
                  <a:pos x="T6" y="T7"/>
                </a:cxn>
                <a:cxn ang="0">
                  <a:pos x="T8" y="T9"/>
                </a:cxn>
              </a:cxnLst>
              <a:rect l="0" t="0" r="r" b="b"/>
              <a:pathLst>
                <a:path w="1526" h="531">
                  <a:moveTo>
                    <a:pt x="1502" y="0"/>
                  </a:moveTo>
                  <a:lnTo>
                    <a:pt x="0" y="38"/>
                  </a:lnTo>
                  <a:lnTo>
                    <a:pt x="32" y="531"/>
                  </a:lnTo>
                  <a:lnTo>
                    <a:pt x="1526" y="381"/>
                  </a:lnTo>
                  <a:lnTo>
                    <a:pt x="1502"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4" name="Freeform 18"/>
            <p:cNvSpPr>
              <a:spLocks/>
            </p:cNvSpPr>
            <p:nvPr/>
          </p:nvSpPr>
          <p:spPr bwMode="auto">
            <a:xfrm>
              <a:off x="433388" y="-587375"/>
              <a:ext cx="2457450" cy="1036638"/>
            </a:xfrm>
            <a:custGeom>
              <a:avLst/>
              <a:gdLst>
                <a:gd name="T0" fmla="*/ 1548 w 1548"/>
                <a:gd name="T1" fmla="*/ 273 h 653"/>
                <a:gd name="T2" fmla="*/ 71 w 1548"/>
                <a:gd name="T3" fmla="*/ 0 h 653"/>
                <a:gd name="T4" fmla="*/ 0 w 1548"/>
                <a:gd name="T5" fmla="*/ 487 h 653"/>
                <a:gd name="T6" fmla="*/ 1492 w 1548"/>
                <a:gd name="T7" fmla="*/ 653 h 653"/>
                <a:gd name="T8" fmla="*/ 1548 w 1548"/>
                <a:gd name="T9" fmla="*/ 273 h 653"/>
              </a:gdLst>
              <a:ahLst/>
              <a:cxnLst>
                <a:cxn ang="0">
                  <a:pos x="T0" y="T1"/>
                </a:cxn>
                <a:cxn ang="0">
                  <a:pos x="T2" y="T3"/>
                </a:cxn>
                <a:cxn ang="0">
                  <a:pos x="T4" y="T5"/>
                </a:cxn>
                <a:cxn ang="0">
                  <a:pos x="T6" y="T7"/>
                </a:cxn>
                <a:cxn ang="0">
                  <a:pos x="T8" y="T9"/>
                </a:cxn>
              </a:cxnLst>
              <a:rect l="0" t="0" r="r" b="b"/>
              <a:pathLst>
                <a:path w="1548" h="653">
                  <a:moveTo>
                    <a:pt x="1548" y="273"/>
                  </a:moveTo>
                  <a:lnTo>
                    <a:pt x="71" y="0"/>
                  </a:lnTo>
                  <a:lnTo>
                    <a:pt x="0" y="487"/>
                  </a:lnTo>
                  <a:lnTo>
                    <a:pt x="1492" y="653"/>
                  </a:lnTo>
                  <a:lnTo>
                    <a:pt x="1548" y="273"/>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5" name="Freeform 19"/>
            <p:cNvSpPr>
              <a:spLocks/>
            </p:cNvSpPr>
            <p:nvPr/>
          </p:nvSpPr>
          <p:spPr bwMode="auto">
            <a:xfrm>
              <a:off x="11444288" y="4532313"/>
              <a:ext cx="1890713" cy="2020888"/>
            </a:xfrm>
            <a:custGeom>
              <a:avLst/>
              <a:gdLst>
                <a:gd name="T0" fmla="*/ 0 w 1191"/>
                <a:gd name="T1" fmla="*/ 230 h 1273"/>
                <a:gd name="T2" fmla="*/ 858 w 1191"/>
                <a:gd name="T3" fmla="*/ 1273 h 1273"/>
                <a:gd name="T4" fmla="*/ 1191 w 1191"/>
                <a:gd name="T5" fmla="*/ 978 h 1273"/>
                <a:gd name="T6" fmla="*/ 257 w 1191"/>
                <a:gd name="T7" fmla="*/ 0 h 1273"/>
                <a:gd name="T8" fmla="*/ 0 w 1191"/>
                <a:gd name="T9" fmla="*/ 230 h 1273"/>
              </a:gdLst>
              <a:ahLst/>
              <a:cxnLst>
                <a:cxn ang="0">
                  <a:pos x="T0" y="T1"/>
                </a:cxn>
                <a:cxn ang="0">
                  <a:pos x="T2" y="T3"/>
                </a:cxn>
                <a:cxn ang="0">
                  <a:pos x="T4" y="T5"/>
                </a:cxn>
                <a:cxn ang="0">
                  <a:pos x="T6" y="T7"/>
                </a:cxn>
                <a:cxn ang="0">
                  <a:pos x="T8" y="T9"/>
                </a:cxn>
              </a:cxnLst>
              <a:rect l="0" t="0" r="r" b="b"/>
              <a:pathLst>
                <a:path w="1191" h="1273">
                  <a:moveTo>
                    <a:pt x="0" y="230"/>
                  </a:moveTo>
                  <a:lnTo>
                    <a:pt x="858" y="1273"/>
                  </a:lnTo>
                  <a:lnTo>
                    <a:pt x="1191" y="978"/>
                  </a:lnTo>
                  <a:lnTo>
                    <a:pt x="257" y="0"/>
                  </a:lnTo>
                  <a:lnTo>
                    <a:pt x="0" y="23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6" name="Freeform 20"/>
            <p:cNvSpPr>
              <a:spLocks/>
            </p:cNvSpPr>
            <p:nvPr/>
          </p:nvSpPr>
          <p:spPr bwMode="auto">
            <a:xfrm>
              <a:off x="10560050" y="5184775"/>
              <a:ext cx="1603375" cy="2176463"/>
            </a:xfrm>
            <a:custGeom>
              <a:avLst/>
              <a:gdLst>
                <a:gd name="T0" fmla="*/ 0 w 1010"/>
                <a:gd name="T1" fmla="*/ 170 h 1371"/>
                <a:gd name="T2" fmla="*/ 623 w 1010"/>
                <a:gd name="T3" fmla="*/ 1371 h 1371"/>
                <a:gd name="T4" fmla="*/ 1010 w 1010"/>
                <a:gd name="T5" fmla="*/ 1152 h 1371"/>
                <a:gd name="T6" fmla="*/ 299 w 1010"/>
                <a:gd name="T7" fmla="*/ 0 h 1371"/>
                <a:gd name="T8" fmla="*/ 0 w 1010"/>
                <a:gd name="T9" fmla="*/ 170 h 1371"/>
              </a:gdLst>
              <a:ahLst/>
              <a:cxnLst>
                <a:cxn ang="0">
                  <a:pos x="T0" y="T1"/>
                </a:cxn>
                <a:cxn ang="0">
                  <a:pos x="T2" y="T3"/>
                </a:cxn>
                <a:cxn ang="0">
                  <a:pos x="T4" y="T5"/>
                </a:cxn>
                <a:cxn ang="0">
                  <a:pos x="T6" y="T7"/>
                </a:cxn>
                <a:cxn ang="0">
                  <a:pos x="T8" y="T9"/>
                </a:cxn>
              </a:cxnLst>
              <a:rect l="0" t="0" r="r" b="b"/>
              <a:pathLst>
                <a:path w="1010" h="1371">
                  <a:moveTo>
                    <a:pt x="0" y="170"/>
                  </a:moveTo>
                  <a:lnTo>
                    <a:pt x="623" y="1371"/>
                  </a:lnTo>
                  <a:lnTo>
                    <a:pt x="1010" y="1152"/>
                  </a:lnTo>
                  <a:lnTo>
                    <a:pt x="299" y="0"/>
                  </a:lnTo>
                  <a:lnTo>
                    <a:pt x="0" y="17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7" name="Freeform 21"/>
            <p:cNvSpPr>
              <a:spLocks/>
            </p:cNvSpPr>
            <p:nvPr/>
          </p:nvSpPr>
          <p:spPr bwMode="auto">
            <a:xfrm>
              <a:off x="9577388" y="5654675"/>
              <a:ext cx="1246188" cy="2236788"/>
            </a:xfrm>
            <a:custGeom>
              <a:avLst/>
              <a:gdLst>
                <a:gd name="T0" fmla="*/ 0 w 785"/>
                <a:gd name="T1" fmla="*/ 103 h 1409"/>
                <a:gd name="T2" fmla="*/ 360 w 785"/>
                <a:gd name="T3" fmla="*/ 1409 h 1409"/>
                <a:gd name="T4" fmla="*/ 785 w 785"/>
                <a:gd name="T5" fmla="*/ 1273 h 1409"/>
                <a:gd name="T6" fmla="*/ 330 w 785"/>
                <a:gd name="T7" fmla="*/ 0 h 1409"/>
                <a:gd name="T8" fmla="*/ 0 w 785"/>
                <a:gd name="T9" fmla="*/ 103 h 1409"/>
              </a:gdLst>
              <a:ahLst/>
              <a:cxnLst>
                <a:cxn ang="0">
                  <a:pos x="T0" y="T1"/>
                </a:cxn>
                <a:cxn ang="0">
                  <a:pos x="T2" y="T3"/>
                </a:cxn>
                <a:cxn ang="0">
                  <a:pos x="T4" y="T5"/>
                </a:cxn>
                <a:cxn ang="0">
                  <a:pos x="T6" y="T7"/>
                </a:cxn>
                <a:cxn ang="0">
                  <a:pos x="T8" y="T9"/>
                </a:cxn>
              </a:cxnLst>
              <a:rect l="0" t="0" r="r" b="b"/>
              <a:pathLst>
                <a:path w="785" h="1409">
                  <a:moveTo>
                    <a:pt x="0" y="103"/>
                  </a:moveTo>
                  <a:lnTo>
                    <a:pt x="360" y="1409"/>
                  </a:lnTo>
                  <a:lnTo>
                    <a:pt x="785" y="1273"/>
                  </a:lnTo>
                  <a:lnTo>
                    <a:pt x="330" y="0"/>
                  </a:lnTo>
                  <a:lnTo>
                    <a:pt x="0" y="103"/>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8" name="Freeform 22"/>
            <p:cNvSpPr>
              <a:spLocks/>
            </p:cNvSpPr>
            <p:nvPr/>
          </p:nvSpPr>
          <p:spPr bwMode="auto">
            <a:xfrm>
              <a:off x="8542338" y="5919788"/>
              <a:ext cx="830263" cy="2195513"/>
            </a:xfrm>
            <a:custGeom>
              <a:avLst/>
              <a:gdLst>
                <a:gd name="T0" fmla="*/ 0 w 523"/>
                <a:gd name="T1" fmla="*/ 32 h 1383"/>
                <a:gd name="T2" fmla="*/ 82 w 523"/>
                <a:gd name="T3" fmla="*/ 1383 h 1383"/>
                <a:gd name="T4" fmla="*/ 523 w 523"/>
                <a:gd name="T5" fmla="*/ 1339 h 1383"/>
                <a:gd name="T6" fmla="*/ 343 w 523"/>
                <a:gd name="T7" fmla="*/ 0 h 1383"/>
                <a:gd name="T8" fmla="*/ 0 w 523"/>
                <a:gd name="T9" fmla="*/ 32 h 1383"/>
              </a:gdLst>
              <a:ahLst/>
              <a:cxnLst>
                <a:cxn ang="0">
                  <a:pos x="T0" y="T1"/>
                </a:cxn>
                <a:cxn ang="0">
                  <a:pos x="T2" y="T3"/>
                </a:cxn>
                <a:cxn ang="0">
                  <a:pos x="T4" y="T5"/>
                </a:cxn>
                <a:cxn ang="0">
                  <a:pos x="T6" y="T7"/>
                </a:cxn>
                <a:cxn ang="0">
                  <a:pos x="T8" y="T9"/>
                </a:cxn>
              </a:cxnLst>
              <a:rect l="0" t="0" r="r" b="b"/>
              <a:pathLst>
                <a:path w="523" h="1383">
                  <a:moveTo>
                    <a:pt x="0" y="32"/>
                  </a:moveTo>
                  <a:lnTo>
                    <a:pt x="82" y="1383"/>
                  </a:lnTo>
                  <a:lnTo>
                    <a:pt x="523" y="1339"/>
                  </a:lnTo>
                  <a:lnTo>
                    <a:pt x="343" y="0"/>
                  </a:lnTo>
                  <a:lnTo>
                    <a:pt x="0" y="3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9" name="Freeform 23"/>
            <p:cNvSpPr>
              <a:spLocks/>
            </p:cNvSpPr>
            <p:nvPr/>
          </p:nvSpPr>
          <p:spPr bwMode="auto">
            <a:xfrm>
              <a:off x="7180263" y="5903913"/>
              <a:ext cx="862013" cy="2201863"/>
            </a:xfrm>
            <a:custGeom>
              <a:avLst/>
              <a:gdLst>
                <a:gd name="T0" fmla="*/ 201 w 543"/>
                <a:gd name="T1" fmla="*/ 0 h 1387"/>
                <a:gd name="T2" fmla="*/ 0 w 543"/>
                <a:gd name="T3" fmla="*/ 1337 h 1387"/>
                <a:gd name="T4" fmla="*/ 441 w 543"/>
                <a:gd name="T5" fmla="*/ 1387 h 1387"/>
                <a:gd name="T6" fmla="*/ 543 w 543"/>
                <a:gd name="T7" fmla="*/ 40 h 1387"/>
                <a:gd name="T8" fmla="*/ 201 w 543"/>
                <a:gd name="T9" fmla="*/ 0 h 1387"/>
              </a:gdLst>
              <a:ahLst/>
              <a:cxnLst>
                <a:cxn ang="0">
                  <a:pos x="T0" y="T1"/>
                </a:cxn>
                <a:cxn ang="0">
                  <a:pos x="T2" y="T3"/>
                </a:cxn>
                <a:cxn ang="0">
                  <a:pos x="T4" y="T5"/>
                </a:cxn>
                <a:cxn ang="0">
                  <a:pos x="T6" y="T7"/>
                </a:cxn>
                <a:cxn ang="0">
                  <a:pos x="T8" y="T9"/>
                </a:cxn>
              </a:cxnLst>
              <a:rect l="0" t="0" r="r" b="b"/>
              <a:pathLst>
                <a:path w="543" h="1387">
                  <a:moveTo>
                    <a:pt x="201" y="0"/>
                  </a:moveTo>
                  <a:lnTo>
                    <a:pt x="0" y="1337"/>
                  </a:lnTo>
                  <a:lnTo>
                    <a:pt x="441" y="1387"/>
                  </a:lnTo>
                  <a:lnTo>
                    <a:pt x="543" y="40"/>
                  </a:lnTo>
                  <a:lnTo>
                    <a:pt x="201"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0" name="Freeform 24"/>
            <p:cNvSpPr>
              <a:spLocks/>
            </p:cNvSpPr>
            <p:nvPr/>
          </p:nvSpPr>
          <p:spPr bwMode="auto">
            <a:xfrm>
              <a:off x="5735638" y="5622925"/>
              <a:ext cx="1273175" cy="2233613"/>
            </a:xfrm>
            <a:custGeom>
              <a:avLst/>
              <a:gdLst>
                <a:gd name="T0" fmla="*/ 477 w 802"/>
                <a:gd name="T1" fmla="*/ 0 h 1407"/>
                <a:gd name="T2" fmla="*/ 0 w 802"/>
                <a:gd name="T3" fmla="*/ 1267 h 1407"/>
                <a:gd name="T4" fmla="*/ 423 w 802"/>
                <a:gd name="T5" fmla="*/ 1407 h 1407"/>
                <a:gd name="T6" fmla="*/ 802 w 802"/>
                <a:gd name="T7" fmla="*/ 109 h 1407"/>
                <a:gd name="T8" fmla="*/ 477 w 802"/>
                <a:gd name="T9" fmla="*/ 0 h 1407"/>
              </a:gdLst>
              <a:ahLst/>
              <a:cxnLst>
                <a:cxn ang="0">
                  <a:pos x="T0" y="T1"/>
                </a:cxn>
                <a:cxn ang="0">
                  <a:pos x="T2" y="T3"/>
                </a:cxn>
                <a:cxn ang="0">
                  <a:pos x="T4" y="T5"/>
                </a:cxn>
                <a:cxn ang="0">
                  <a:pos x="T6" y="T7"/>
                </a:cxn>
                <a:cxn ang="0">
                  <a:pos x="T8" y="T9"/>
                </a:cxn>
              </a:cxnLst>
              <a:rect l="0" t="0" r="r" b="b"/>
              <a:pathLst>
                <a:path w="802" h="1407">
                  <a:moveTo>
                    <a:pt x="477" y="0"/>
                  </a:moveTo>
                  <a:lnTo>
                    <a:pt x="0" y="1267"/>
                  </a:lnTo>
                  <a:lnTo>
                    <a:pt x="423" y="1407"/>
                  </a:lnTo>
                  <a:lnTo>
                    <a:pt x="802" y="109"/>
                  </a:lnTo>
                  <a:lnTo>
                    <a:pt x="477"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1" name="Freeform 25"/>
            <p:cNvSpPr>
              <a:spLocks/>
            </p:cNvSpPr>
            <p:nvPr/>
          </p:nvSpPr>
          <p:spPr bwMode="auto">
            <a:xfrm>
              <a:off x="4408488" y="5137150"/>
              <a:ext cx="1628775" cy="2166938"/>
            </a:xfrm>
            <a:custGeom>
              <a:avLst/>
              <a:gdLst>
                <a:gd name="T0" fmla="*/ 728 w 1026"/>
                <a:gd name="T1" fmla="*/ 0 h 1365"/>
                <a:gd name="T2" fmla="*/ 0 w 1026"/>
                <a:gd name="T3" fmla="*/ 1140 h 1365"/>
                <a:gd name="T4" fmla="*/ 383 w 1026"/>
                <a:gd name="T5" fmla="*/ 1365 h 1365"/>
                <a:gd name="T6" fmla="*/ 1026 w 1026"/>
                <a:gd name="T7" fmla="*/ 174 h 1365"/>
                <a:gd name="T8" fmla="*/ 728 w 1026"/>
                <a:gd name="T9" fmla="*/ 0 h 1365"/>
              </a:gdLst>
              <a:ahLst/>
              <a:cxnLst>
                <a:cxn ang="0">
                  <a:pos x="T0" y="T1"/>
                </a:cxn>
                <a:cxn ang="0">
                  <a:pos x="T2" y="T3"/>
                </a:cxn>
                <a:cxn ang="0">
                  <a:pos x="T4" y="T5"/>
                </a:cxn>
                <a:cxn ang="0">
                  <a:pos x="T6" y="T7"/>
                </a:cxn>
                <a:cxn ang="0">
                  <a:pos x="T8" y="T9"/>
                </a:cxn>
              </a:cxnLst>
              <a:rect l="0" t="0" r="r" b="b"/>
              <a:pathLst>
                <a:path w="1026" h="1365">
                  <a:moveTo>
                    <a:pt x="728" y="0"/>
                  </a:moveTo>
                  <a:lnTo>
                    <a:pt x="0" y="1140"/>
                  </a:lnTo>
                  <a:lnTo>
                    <a:pt x="383" y="1365"/>
                  </a:lnTo>
                  <a:lnTo>
                    <a:pt x="1026" y="174"/>
                  </a:lnTo>
                  <a:lnTo>
                    <a:pt x="728"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2" name="Freeform 26"/>
            <p:cNvSpPr>
              <a:spLocks/>
            </p:cNvSpPr>
            <p:nvPr/>
          </p:nvSpPr>
          <p:spPr bwMode="auto">
            <a:xfrm>
              <a:off x="3252788" y="4468813"/>
              <a:ext cx="1909763" cy="2006600"/>
            </a:xfrm>
            <a:custGeom>
              <a:avLst/>
              <a:gdLst>
                <a:gd name="T0" fmla="*/ 949 w 1203"/>
                <a:gd name="T1" fmla="*/ 0 h 1264"/>
                <a:gd name="T2" fmla="*/ 0 w 1203"/>
                <a:gd name="T3" fmla="*/ 964 h 1264"/>
                <a:gd name="T4" fmla="*/ 327 w 1203"/>
                <a:gd name="T5" fmla="*/ 1264 h 1264"/>
                <a:gd name="T6" fmla="*/ 1203 w 1203"/>
                <a:gd name="T7" fmla="*/ 234 h 1264"/>
                <a:gd name="T8" fmla="*/ 949 w 1203"/>
                <a:gd name="T9" fmla="*/ 0 h 1264"/>
              </a:gdLst>
              <a:ahLst/>
              <a:cxnLst>
                <a:cxn ang="0">
                  <a:pos x="T0" y="T1"/>
                </a:cxn>
                <a:cxn ang="0">
                  <a:pos x="T2" y="T3"/>
                </a:cxn>
                <a:cxn ang="0">
                  <a:pos x="T4" y="T5"/>
                </a:cxn>
                <a:cxn ang="0">
                  <a:pos x="T6" y="T7"/>
                </a:cxn>
                <a:cxn ang="0">
                  <a:pos x="T8" y="T9"/>
                </a:cxn>
              </a:cxnLst>
              <a:rect l="0" t="0" r="r" b="b"/>
              <a:pathLst>
                <a:path w="1203" h="1264">
                  <a:moveTo>
                    <a:pt x="949" y="0"/>
                  </a:moveTo>
                  <a:lnTo>
                    <a:pt x="0" y="964"/>
                  </a:lnTo>
                  <a:lnTo>
                    <a:pt x="327" y="1264"/>
                  </a:lnTo>
                  <a:lnTo>
                    <a:pt x="1203" y="234"/>
                  </a:lnTo>
                  <a:lnTo>
                    <a:pt x="94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3" name="Freeform 27"/>
            <p:cNvSpPr>
              <a:spLocks/>
            </p:cNvSpPr>
            <p:nvPr/>
          </p:nvSpPr>
          <p:spPr bwMode="auto">
            <a:xfrm>
              <a:off x="2317750" y="3648075"/>
              <a:ext cx="2109788" cy="1758950"/>
            </a:xfrm>
            <a:custGeom>
              <a:avLst/>
              <a:gdLst>
                <a:gd name="T0" fmla="*/ 1129 w 1329"/>
                <a:gd name="T1" fmla="*/ 0 h 1108"/>
                <a:gd name="T2" fmla="*/ 0 w 1329"/>
                <a:gd name="T3" fmla="*/ 747 h 1108"/>
                <a:gd name="T4" fmla="*/ 259 w 1329"/>
                <a:gd name="T5" fmla="*/ 1108 h 1108"/>
                <a:gd name="T6" fmla="*/ 1329 w 1329"/>
                <a:gd name="T7" fmla="*/ 282 h 1108"/>
                <a:gd name="T8" fmla="*/ 1129 w 1329"/>
                <a:gd name="T9" fmla="*/ 0 h 1108"/>
              </a:gdLst>
              <a:ahLst/>
              <a:cxnLst>
                <a:cxn ang="0">
                  <a:pos x="T0" y="T1"/>
                </a:cxn>
                <a:cxn ang="0">
                  <a:pos x="T2" y="T3"/>
                </a:cxn>
                <a:cxn ang="0">
                  <a:pos x="T4" y="T5"/>
                </a:cxn>
                <a:cxn ang="0">
                  <a:pos x="T6" y="T7"/>
                </a:cxn>
                <a:cxn ang="0">
                  <a:pos x="T8" y="T9"/>
                </a:cxn>
              </a:cxnLst>
              <a:rect l="0" t="0" r="r" b="b"/>
              <a:pathLst>
                <a:path w="1329" h="1108">
                  <a:moveTo>
                    <a:pt x="1129" y="0"/>
                  </a:moveTo>
                  <a:lnTo>
                    <a:pt x="0" y="747"/>
                  </a:lnTo>
                  <a:lnTo>
                    <a:pt x="259" y="1108"/>
                  </a:lnTo>
                  <a:lnTo>
                    <a:pt x="1329" y="282"/>
                  </a:lnTo>
                  <a:lnTo>
                    <a:pt x="112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4" name="Freeform 28"/>
            <p:cNvSpPr>
              <a:spLocks/>
            </p:cNvSpPr>
            <p:nvPr/>
          </p:nvSpPr>
          <p:spPr bwMode="auto">
            <a:xfrm>
              <a:off x="1646238" y="2711450"/>
              <a:ext cx="2217738" cy="1431925"/>
            </a:xfrm>
            <a:custGeom>
              <a:avLst/>
              <a:gdLst>
                <a:gd name="T0" fmla="*/ 1259 w 1397"/>
                <a:gd name="T1" fmla="*/ 0 h 902"/>
                <a:gd name="T2" fmla="*/ 0 w 1397"/>
                <a:gd name="T3" fmla="*/ 495 h 902"/>
                <a:gd name="T4" fmla="*/ 177 w 1397"/>
                <a:gd name="T5" fmla="*/ 902 h 902"/>
                <a:gd name="T6" fmla="*/ 1397 w 1397"/>
                <a:gd name="T7" fmla="*/ 317 h 902"/>
                <a:gd name="T8" fmla="*/ 1259 w 1397"/>
                <a:gd name="T9" fmla="*/ 0 h 902"/>
              </a:gdLst>
              <a:ahLst/>
              <a:cxnLst>
                <a:cxn ang="0">
                  <a:pos x="T0" y="T1"/>
                </a:cxn>
                <a:cxn ang="0">
                  <a:pos x="T2" y="T3"/>
                </a:cxn>
                <a:cxn ang="0">
                  <a:pos x="T4" y="T5"/>
                </a:cxn>
                <a:cxn ang="0">
                  <a:pos x="T6" y="T7"/>
                </a:cxn>
                <a:cxn ang="0">
                  <a:pos x="T8" y="T9"/>
                </a:cxn>
              </a:cxnLst>
              <a:rect l="0" t="0" r="r" b="b"/>
              <a:pathLst>
                <a:path w="1397" h="902">
                  <a:moveTo>
                    <a:pt x="1259" y="0"/>
                  </a:moveTo>
                  <a:lnTo>
                    <a:pt x="0" y="495"/>
                  </a:lnTo>
                  <a:lnTo>
                    <a:pt x="177" y="902"/>
                  </a:lnTo>
                  <a:lnTo>
                    <a:pt x="1397" y="317"/>
                  </a:lnTo>
                  <a:lnTo>
                    <a:pt x="125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5" name="Freeform 29"/>
            <p:cNvSpPr>
              <a:spLocks/>
            </p:cNvSpPr>
            <p:nvPr/>
          </p:nvSpPr>
          <p:spPr bwMode="auto">
            <a:xfrm>
              <a:off x="1268413" y="1697038"/>
              <a:ext cx="2227263" cy="1046163"/>
            </a:xfrm>
            <a:custGeom>
              <a:avLst/>
              <a:gdLst>
                <a:gd name="T0" fmla="*/ 1333 w 1403"/>
                <a:gd name="T1" fmla="*/ 0 h 659"/>
                <a:gd name="T2" fmla="*/ 0 w 1403"/>
                <a:gd name="T3" fmla="*/ 224 h 659"/>
                <a:gd name="T4" fmla="*/ 88 w 1403"/>
                <a:gd name="T5" fmla="*/ 659 h 659"/>
                <a:gd name="T6" fmla="*/ 1403 w 1403"/>
                <a:gd name="T7" fmla="*/ 339 h 659"/>
                <a:gd name="T8" fmla="*/ 1333 w 1403"/>
                <a:gd name="T9" fmla="*/ 0 h 659"/>
              </a:gdLst>
              <a:ahLst/>
              <a:cxnLst>
                <a:cxn ang="0">
                  <a:pos x="T0" y="T1"/>
                </a:cxn>
                <a:cxn ang="0">
                  <a:pos x="T2" y="T3"/>
                </a:cxn>
                <a:cxn ang="0">
                  <a:pos x="T4" y="T5"/>
                </a:cxn>
                <a:cxn ang="0">
                  <a:pos x="T6" y="T7"/>
                </a:cxn>
                <a:cxn ang="0">
                  <a:pos x="T8" y="T9"/>
                </a:cxn>
              </a:cxnLst>
              <a:rect l="0" t="0" r="r" b="b"/>
              <a:pathLst>
                <a:path w="1403" h="659">
                  <a:moveTo>
                    <a:pt x="1333" y="0"/>
                  </a:moveTo>
                  <a:lnTo>
                    <a:pt x="0" y="224"/>
                  </a:lnTo>
                  <a:lnTo>
                    <a:pt x="88" y="659"/>
                  </a:lnTo>
                  <a:lnTo>
                    <a:pt x="1403" y="339"/>
                  </a:lnTo>
                  <a:lnTo>
                    <a:pt x="1333"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6" name="Freeform 30"/>
            <p:cNvSpPr>
              <a:spLocks/>
            </p:cNvSpPr>
            <p:nvPr/>
          </p:nvSpPr>
          <p:spPr bwMode="auto">
            <a:xfrm>
              <a:off x="1193800" y="557213"/>
              <a:ext cx="2149475" cy="706438"/>
            </a:xfrm>
            <a:custGeom>
              <a:avLst/>
              <a:gdLst>
                <a:gd name="T0" fmla="*/ 1354 w 1354"/>
                <a:gd name="T1" fmla="*/ 59 h 445"/>
                <a:gd name="T2" fmla="*/ 4 w 1354"/>
                <a:gd name="T3" fmla="*/ 0 h 445"/>
                <a:gd name="T4" fmla="*/ 0 w 1354"/>
                <a:gd name="T5" fmla="*/ 445 h 445"/>
                <a:gd name="T6" fmla="*/ 1352 w 1354"/>
                <a:gd name="T7" fmla="*/ 405 h 445"/>
                <a:gd name="T8" fmla="*/ 1354 w 1354"/>
                <a:gd name="T9" fmla="*/ 59 h 445"/>
              </a:gdLst>
              <a:ahLst/>
              <a:cxnLst>
                <a:cxn ang="0">
                  <a:pos x="T0" y="T1"/>
                </a:cxn>
                <a:cxn ang="0">
                  <a:pos x="T2" y="T3"/>
                </a:cxn>
                <a:cxn ang="0">
                  <a:pos x="T4" y="T5"/>
                </a:cxn>
                <a:cxn ang="0">
                  <a:pos x="T6" y="T7"/>
                </a:cxn>
                <a:cxn ang="0">
                  <a:pos x="T8" y="T9"/>
                </a:cxn>
              </a:cxnLst>
              <a:rect l="0" t="0" r="r" b="b"/>
              <a:pathLst>
                <a:path w="1354" h="445">
                  <a:moveTo>
                    <a:pt x="1354" y="59"/>
                  </a:moveTo>
                  <a:lnTo>
                    <a:pt x="4" y="0"/>
                  </a:lnTo>
                  <a:lnTo>
                    <a:pt x="0" y="445"/>
                  </a:lnTo>
                  <a:lnTo>
                    <a:pt x="1352" y="405"/>
                  </a:lnTo>
                  <a:lnTo>
                    <a:pt x="1354" y="59"/>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7" name="Freeform 31"/>
            <p:cNvSpPr>
              <a:spLocks/>
            </p:cNvSpPr>
            <p:nvPr/>
          </p:nvSpPr>
          <p:spPr bwMode="auto">
            <a:xfrm>
              <a:off x="12336463" y="5213350"/>
              <a:ext cx="2389188" cy="2452688"/>
            </a:xfrm>
            <a:custGeom>
              <a:avLst/>
              <a:gdLst>
                <a:gd name="T0" fmla="*/ 0 w 1505"/>
                <a:gd name="T1" fmla="*/ 294 h 1545"/>
                <a:gd name="T2" fmla="*/ 1106 w 1505"/>
                <a:gd name="T3" fmla="*/ 1545 h 1545"/>
                <a:gd name="T4" fmla="*/ 1505 w 1505"/>
                <a:gd name="T5" fmla="*/ 1168 h 1545"/>
                <a:gd name="T6" fmla="*/ 310 w 1505"/>
                <a:gd name="T7" fmla="*/ 0 h 1545"/>
                <a:gd name="T8" fmla="*/ 0 w 1505"/>
                <a:gd name="T9" fmla="*/ 294 h 1545"/>
              </a:gdLst>
              <a:ahLst/>
              <a:cxnLst>
                <a:cxn ang="0">
                  <a:pos x="T0" y="T1"/>
                </a:cxn>
                <a:cxn ang="0">
                  <a:pos x="T2" y="T3"/>
                </a:cxn>
                <a:cxn ang="0">
                  <a:pos x="T4" y="T5"/>
                </a:cxn>
                <a:cxn ang="0">
                  <a:pos x="T6" y="T7"/>
                </a:cxn>
                <a:cxn ang="0">
                  <a:pos x="T8" y="T9"/>
                </a:cxn>
              </a:cxnLst>
              <a:rect l="0" t="0" r="r" b="b"/>
              <a:pathLst>
                <a:path w="1505" h="1545">
                  <a:moveTo>
                    <a:pt x="0" y="294"/>
                  </a:moveTo>
                  <a:lnTo>
                    <a:pt x="1106" y="1545"/>
                  </a:lnTo>
                  <a:lnTo>
                    <a:pt x="1505" y="1168"/>
                  </a:lnTo>
                  <a:lnTo>
                    <a:pt x="310" y="0"/>
                  </a:lnTo>
                  <a:lnTo>
                    <a:pt x="0" y="294"/>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8" name="Freeform 32"/>
            <p:cNvSpPr>
              <a:spLocks/>
            </p:cNvSpPr>
            <p:nvPr/>
          </p:nvSpPr>
          <p:spPr bwMode="auto">
            <a:xfrm>
              <a:off x="11272838" y="6056313"/>
              <a:ext cx="2043113" cy="2662238"/>
            </a:xfrm>
            <a:custGeom>
              <a:avLst/>
              <a:gdLst>
                <a:gd name="T0" fmla="*/ 0 w 1287"/>
                <a:gd name="T1" fmla="*/ 222 h 1677"/>
                <a:gd name="T2" fmla="*/ 820 w 1287"/>
                <a:gd name="T3" fmla="*/ 1677 h 1677"/>
                <a:gd name="T4" fmla="*/ 1287 w 1287"/>
                <a:gd name="T5" fmla="*/ 1389 h 1677"/>
                <a:gd name="T6" fmla="*/ 361 w 1287"/>
                <a:gd name="T7" fmla="*/ 0 h 1677"/>
                <a:gd name="T8" fmla="*/ 0 w 1287"/>
                <a:gd name="T9" fmla="*/ 222 h 1677"/>
              </a:gdLst>
              <a:ahLst/>
              <a:cxnLst>
                <a:cxn ang="0">
                  <a:pos x="T0" y="T1"/>
                </a:cxn>
                <a:cxn ang="0">
                  <a:pos x="T2" y="T3"/>
                </a:cxn>
                <a:cxn ang="0">
                  <a:pos x="T4" y="T5"/>
                </a:cxn>
                <a:cxn ang="0">
                  <a:pos x="T6" y="T7"/>
                </a:cxn>
                <a:cxn ang="0">
                  <a:pos x="T8" y="T9"/>
                </a:cxn>
              </a:cxnLst>
              <a:rect l="0" t="0" r="r" b="b"/>
              <a:pathLst>
                <a:path w="1287" h="1677">
                  <a:moveTo>
                    <a:pt x="0" y="222"/>
                  </a:moveTo>
                  <a:lnTo>
                    <a:pt x="820" y="1677"/>
                  </a:lnTo>
                  <a:lnTo>
                    <a:pt x="1287" y="1389"/>
                  </a:lnTo>
                  <a:lnTo>
                    <a:pt x="361" y="0"/>
                  </a:lnTo>
                  <a:lnTo>
                    <a:pt x="0" y="22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9" name="Freeform 33"/>
            <p:cNvSpPr>
              <a:spLocks/>
            </p:cNvSpPr>
            <p:nvPr/>
          </p:nvSpPr>
          <p:spPr bwMode="auto">
            <a:xfrm>
              <a:off x="10079038" y="6673850"/>
              <a:ext cx="1611313" cy="2754313"/>
            </a:xfrm>
            <a:custGeom>
              <a:avLst/>
              <a:gdLst>
                <a:gd name="T0" fmla="*/ 0 w 1015"/>
                <a:gd name="T1" fmla="*/ 142 h 1735"/>
                <a:gd name="T2" fmla="*/ 499 w 1015"/>
                <a:gd name="T3" fmla="*/ 1735 h 1735"/>
                <a:gd name="T4" fmla="*/ 1015 w 1015"/>
                <a:gd name="T5" fmla="*/ 1551 h 1735"/>
                <a:gd name="T6" fmla="*/ 401 w 1015"/>
                <a:gd name="T7" fmla="*/ 0 h 1735"/>
                <a:gd name="T8" fmla="*/ 0 w 1015"/>
                <a:gd name="T9" fmla="*/ 142 h 1735"/>
              </a:gdLst>
              <a:ahLst/>
              <a:cxnLst>
                <a:cxn ang="0">
                  <a:pos x="T0" y="T1"/>
                </a:cxn>
                <a:cxn ang="0">
                  <a:pos x="T2" y="T3"/>
                </a:cxn>
                <a:cxn ang="0">
                  <a:pos x="T4" y="T5"/>
                </a:cxn>
                <a:cxn ang="0">
                  <a:pos x="T6" y="T7"/>
                </a:cxn>
                <a:cxn ang="0">
                  <a:pos x="T8" y="T9"/>
                </a:cxn>
              </a:cxnLst>
              <a:rect l="0" t="0" r="r" b="b"/>
              <a:pathLst>
                <a:path w="1015" h="1735">
                  <a:moveTo>
                    <a:pt x="0" y="142"/>
                  </a:moveTo>
                  <a:lnTo>
                    <a:pt x="499" y="1735"/>
                  </a:lnTo>
                  <a:lnTo>
                    <a:pt x="1015" y="1551"/>
                  </a:lnTo>
                  <a:lnTo>
                    <a:pt x="401" y="0"/>
                  </a:lnTo>
                  <a:lnTo>
                    <a:pt x="0" y="14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0" name="Freeform 34"/>
            <p:cNvSpPr>
              <a:spLocks/>
            </p:cNvSpPr>
            <p:nvPr/>
          </p:nvSpPr>
          <p:spPr bwMode="auto">
            <a:xfrm>
              <a:off x="8805863" y="7042150"/>
              <a:ext cx="1114425" cy="2727325"/>
            </a:xfrm>
            <a:custGeom>
              <a:avLst/>
              <a:gdLst>
                <a:gd name="T0" fmla="*/ 0 w 702"/>
                <a:gd name="T1" fmla="*/ 56 h 1718"/>
                <a:gd name="T2" fmla="*/ 159 w 702"/>
                <a:gd name="T3" fmla="*/ 1718 h 1718"/>
                <a:gd name="T4" fmla="*/ 702 w 702"/>
                <a:gd name="T5" fmla="*/ 1646 h 1718"/>
                <a:gd name="T6" fmla="*/ 423 w 702"/>
                <a:gd name="T7" fmla="*/ 0 h 1718"/>
                <a:gd name="T8" fmla="*/ 0 w 702"/>
                <a:gd name="T9" fmla="*/ 56 h 1718"/>
              </a:gdLst>
              <a:ahLst/>
              <a:cxnLst>
                <a:cxn ang="0">
                  <a:pos x="T0" y="T1"/>
                </a:cxn>
                <a:cxn ang="0">
                  <a:pos x="T2" y="T3"/>
                </a:cxn>
                <a:cxn ang="0">
                  <a:pos x="T4" y="T5"/>
                </a:cxn>
                <a:cxn ang="0">
                  <a:pos x="T6" y="T7"/>
                </a:cxn>
                <a:cxn ang="0">
                  <a:pos x="T8" y="T9"/>
                </a:cxn>
              </a:cxnLst>
              <a:rect l="0" t="0" r="r" b="b"/>
              <a:pathLst>
                <a:path w="702" h="1718">
                  <a:moveTo>
                    <a:pt x="0" y="56"/>
                  </a:moveTo>
                  <a:lnTo>
                    <a:pt x="159" y="1718"/>
                  </a:lnTo>
                  <a:lnTo>
                    <a:pt x="702" y="1646"/>
                  </a:lnTo>
                  <a:lnTo>
                    <a:pt x="423" y="0"/>
                  </a:lnTo>
                  <a:lnTo>
                    <a:pt x="0" y="56"/>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1" name="Freeform 35"/>
            <p:cNvSpPr>
              <a:spLocks/>
            </p:cNvSpPr>
            <p:nvPr/>
          </p:nvSpPr>
          <p:spPr bwMode="auto">
            <a:xfrm>
              <a:off x="7212013" y="7096125"/>
              <a:ext cx="974725" cy="2698750"/>
            </a:xfrm>
            <a:custGeom>
              <a:avLst/>
              <a:gdLst>
                <a:gd name="T0" fmla="*/ 191 w 614"/>
                <a:gd name="T1" fmla="*/ 0 h 1700"/>
                <a:gd name="T2" fmla="*/ 0 w 614"/>
                <a:gd name="T3" fmla="*/ 1658 h 1700"/>
                <a:gd name="T4" fmla="*/ 547 w 614"/>
                <a:gd name="T5" fmla="*/ 1700 h 1700"/>
                <a:gd name="T6" fmla="*/ 614 w 614"/>
                <a:gd name="T7" fmla="*/ 32 h 1700"/>
                <a:gd name="T8" fmla="*/ 191 w 614"/>
                <a:gd name="T9" fmla="*/ 0 h 1700"/>
              </a:gdLst>
              <a:ahLst/>
              <a:cxnLst>
                <a:cxn ang="0">
                  <a:pos x="T0" y="T1"/>
                </a:cxn>
                <a:cxn ang="0">
                  <a:pos x="T2" y="T3"/>
                </a:cxn>
                <a:cxn ang="0">
                  <a:pos x="T4" y="T5"/>
                </a:cxn>
                <a:cxn ang="0">
                  <a:pos x="T6" y="T7"/>
                </a:cxn>
                <a:cxn ang="0">
                  <a:pos x="T8" y="T9"/>
                </a:cxn>
              </a:cxnLst>
              <a:rect l="0" t="0" r="r" b="b"/>
              <a:pathLst>
                <a:path w="614" h="1700">
                  <a:moveTo>
                    <a:pt x="191" y="0"/>
                  </a:moveTo>
                  <a:lnTo>
                    <a:pt x="0" y="1658"/>
                  </a:lnTo>
                  <a:lnTo>
                    <a:pt x="547" y="1700"/>
                  </a:lnTo>
                  <a:lnTo>
                    <a:pt x="614" y="32"/>
                  </a:lnTo>
                  <a:lnTo>
                    <a:pt x="191"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2" name="Freeform 36"/>
            <p:cNvSpPr>
              <a:spLocks/>
            </p:cNvSpPr>
            <p:nvPr/>
          </p:nvSpPr>
          <p:spPr bwMode="auto">
            <a:xfrm>
              <a:off x="5414963" y="6788150"/>
              <a:ext cx="1492250" cy="2759075"/>
            </a:xfrm>
            <a:custGeom>
              <a:avLst/>
              <a:gdLst>
                <a:gd name="T0" fmla="*/ 533 w 940"/>
                <a:gd name="T1" fmla="*/ 0 h 1738"/>
                <a:gd name="T2" fmla="*/ 0 w 940"/>
                <a:gd name="T3" fmla="*/ 1585 h 1738"/>
                <a:gd name="T4" fmla="*/ 527 w 940"/>
                <a:gd name="T5" fmla="*/ 1738 h 1738"/>
                <a:gd name="T6" fmla="*/ 940 w 940"/>
                <a:gd name="T7" fmla="*/ 122 h 1738"/>
                <a:gd name="T8" fmla="*/ 533 w 940"/>
                <a:gd name="T9" fmla="*/ 0 h 1738"/>
              </a:gdLst>
              <a:ahLst/>
              <a:cxnLst>
                <a:cxn ang="0">
                  <a:pos x="T0" y="T1"/>
                </a:cxn>
                <a:cxn ang="0">
                  <a:pos x="T2" y="T3"/>
                </a:cxn>
                <a:cxn ang="0">
                  <a:pos x="T4" y="T5"/>
                </a:cxn>
                <a:cxn ang="0">
                  <a:pos x="T6" y="T7"/>
                </a:cxn>
                <a:cxn ang="0">
                  <a:pos x="T8" y="T9"/>
                </a:cxn>
              </a:cxnLst>
              <a:rect l="0" t="0" r="r" b="b"/>
              <a:pathLst>
                <a:path w="940" h="1738">
                  <a:moveTo>
                    <a:pt x="533" y="0"/>
                  </a:moveTo>
                  <a:lnTo>
                    <a:pt x="0" y="1585"/>
                  </a:lnTo>
                  <a:lnTo>
                    <a:pt x="527" y="1738"/>
                  </a:lnTo>
                  <a:lnTo>
                    <a:pt x="940" y="122"/>
                  </a:lnTo>
                  <a:lnTo>
                    <a:pt x="533"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3" name="Freeform 37"/>
            <p:cNvSpPr>
              <a:spLocks/>
            </p:cNvSpPr>
            <p:nvPr/>
          </p:nvSpPr>
          <p:spPr bwMode="auto">
            <a:xfrm>
              <a:off x="3746500" y="6230938"/>
              <a:ext cx="1941513" cy="2695575"/>
            </a:xfrm>
            <a:custGeom>
              <a:avLst/>
              <a:gdLst>
                <a:gd name="T0" fmla="*/ 850 w 1223"/>
                <a:gd name="T1" fmla="*/ 0 h 1698"/>
                <a:gd name="T2" fmla="*/ 0 w 1223"/>
                <a:gd name="T3" fmla="*/ 1437 h 1698"/>
                <a:gd name="T4" fmla="*/ 483 w 1223"/>
                <a:gd name="T5" fmla="*/ 1698 h 1698"/>
                <a:gd name="T6" fmla="*/ 1223 w 1223"/>
                <a:gd name="T7" fmla="*/ 203 h 1698"/>
                <a:gd name="T8" fmla="*/ 850 w 1223"/>
                <a:gd name="T9" fmla="*/ 0 h 1698"/>
              </a:gdLst>
              <a:ahLst/>
              <a:cxnLst>
                <a:cxn ang="0">
                  <a:pos x="T0" y="T1"/>
                </a:cxn>
                <a:cxn ang="0">
                  <a:pos x="T2" y="T3"/>
                </a:cxn>
                <a:cxn ang="0">
                  <a:pos x="T4" y="T5"/>
                </a:cxn>
                <a:cxn ang="0">
                  <a:pos x="T6" y="T7"/>
                </a:cxn>
                <a:cxn ang="0">
                  <a:pos x="T8" y="T9"/>
                </a:cxn>
              </a:cxnLst>
              <a:rect l="0" t="0" r="r" b="b"/>
              <a:pathLst>
                <a:path w="1223" h="1698">
                  <a:moveTo>
                    <a:pt x="850" y="0"/>
                  </a:moveTo>
                  <a:lnTo>
                    <a:pt x="0" y="1437"/>
                  </a:lnTo>
                  <a:lnTo>
                    <a:pt x="483" y="1698"/>
                  </a:lnTo>
                  <a:lnTo>
                    <a:pt x="1223" y="203"/>
                  </a:lnTo>
                  <a:lnTo>
                    <a:pt x="850"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4" name="Freeform 38"/>
            <p:cNvSpPr>
              <a:spLocks/>
            </p:cNvSpPr>
            <p:nvPr/>
          </p:nvSpPr>
          <p:spPr bwMode="auto">
            <a:xfrm>
              <a:off x="2279650" y="5441950"/>
              <a:ext cx="2306638" cy="2516188"/>
            </a:xfrm>
            <a:custGeom>
              <a:avLst/>
              <a:gdLst>
                <a:gd name="T0" fmla="*/ 1129 w 1453"/>
                <a:gd name="T1" fmla="*/ 0 h 1585"/>
                <a:gd name="T2" fmla="*/ 0 w 1453"/>
                <a:gd name="T3" fmla="*/ 1229 h 1585"/>
                <a:gd name="T4" fmla="*/ 417 w 1453"/>
                <a:gd name="T5" fmla="*/ 1585 h 1585"/>
                <a:gd name="T6" fmla="*/ 1453 w 1453"/>
                <a:gd name="T7" fmla="*/ 275 h 1585"/>
                <a:gd name="T8" fmla="*/ 1129 w 1453"/>
                <a:gd name="T9" fmla="*/ 0 h 1585"/>
              </a:gdLst>
              <a:ahLst/>
              <a:cxnLst>
                <a:cxn ang="0">
                  <a:pos x="T0" y="T1"/>
                </a:cxn>
                <a:cxn ang="0">
                  <a:pos x="T2" y="T3"/>
                </a:cxn>
                <a:cxn ang="0">
                  <a:pos x="T4" y="T5"/>
                </a:cxn>
                <a:cxn ang="0">
                  <a:pos x="T6" y="T7"/>
                </a:cxn>
                <a:cxn ang="0">
                  <a:pos x="T8" y="T9"/>
                </a:cxn>
              </a:cxnLst>
              <a:rect l="0" t="0" r="r" b="b"/>
              <a:pathLst>
                <a:path w="1453" h="1585">
                  <a:moveTo>
                    <a:pt x="1129" y="0"/>
                  </a:moveTo>
                  <a:lnTo>
                    <a:pt x="0" y="1229"/>
                  </a:lnTo>
                  <a:lnTo>
                    <a:pt x="417" y="1585"/>
                  </a:lnTo>
                  <a:lnTo>
                    <a:pt x="1453" y="275"/>
                  </a:lnTo>
                  <a:lnTo>
                    <a:pt x="112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5" name="Freeform 39"/>
            <p:cNvSpPr>
              <a:spLocks/>
            </p:cNvSpPr>
            <p:nvPr/>
          </p:nvSpPr>
          <p:spPr bwMode="auto">
            <a:xfrm>
              <a:off x="1076325" y="4456113"/>
              <a:ext cx="2571750" cy="2227263"/>
            </a:xfrm>
            <a:custGeom>
              <a:avLst/>
              <a:gdLst>
                <a:gd name="T0" fmla="*/ 1361 w 1620"/>
                <a:gd name="T1" fmla="*/ 0 h 1403"/>
                <a:gd name="T2" fmla="*/ 0 w 1620"/>
                <a:gd name="T3" fmla="*/ 968 h 1403"/>
                <a:gd name="T4" fmla="*/ 335 w 1620"/>
                <a:gd name="T5" fmla="*/ 1403 h 1403"/>
                <a:gd name="T6" fmla="*/ 1620 w 1620"/>
                <a:gd name="T7" fmla="*/ 338 h 1403"/>
                <a:gd name="T8" fmla="*/ 1361 w 1620"/>
                <a:gd name="T9" fmla="*/ 0 h 1403"/>
              </a:gdLst>
              <a:ahLst/>
              <a:cxnLst>
                <a:cxn ang="0">
                  <a:pos x="T0" y="T1"/>
                </a:cxn>
                <a:cxn ang="0">
                  <a:pos x="T2" y="T3"/>
                </a:cxn>
                <a:cxn ang="0">
                  <a:pos x="T4" y="T5"/>
                </a:cxn>
                <a:cxn ang="0">
                  <a:pos x="T6" y="T7"/>
                </a:cxn>
                <a:cxn ang="0">
                  <a:pos x="T8" y="T9"/>
                </a:cxn>
              </a:cxnLst>
              <a:rect l="0" t="0" r="r" b="b"/>
              <a:pathLst>
                <a:path w="1620" h="1403">
                  <a:moveTo>
                    <a:pt x="1361" y="0"/>
                  </a:moveTo>
                  <a:lnTo>
                    <a:pt x="0" y="968"/>
                  </a:lnTo>
                  <a:lnTo>
                    <a:pt x="335" y="1403"/>
                  </a:lnTo>
                  <a:lnTo>
                    <a:pt x="1620" y="338"/>
                  </a:lnTo>
                  <a:lnTo>
                    <a:pt x="1361"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6" name="Freeform 40"/>
            <p:cNvSpPr>
              <a:spLocks/>
            </p:cNvSpPr>
            <p:nvPr/>
          </p:nvSpPr>
          <p:spPr bwMode="auto">
            <a:xfrm>
              <a:off x="192088" y="3319463"/>
              <a:ext cx="2720975" cy="1839913"/>
            </a:xfrm>
            <a:custGeom>
              <a:avLst/>
              <a:gdLst>
                <a:gd name="T0" fmla="*/ 1530 w 1714"/>
                <a:gd name="T1" fmla="*/ 0 h 1159"/>
                <a:gd name="T2" fmla="*/ 0 w 1714"/>
                <a:gd name="T3" fmla="*/ 664 h 1159"/>
                <a:gd name="T4" fmla="*/ 235 w 1714"/>
                <a:gd name="T5" fmla="*/ 1159 h 1159"/>
                <a:gd name="T6" fmla="*/ 1714 w 1714"/>
                <a:gd name="T7" fmla="*/ 385 h 1159"/>
                <a:gd name="T8" fmla="*/ 1530 w 1714"/>
                <a:gd name="T9" fmla="*/ 0 h 1159"/>
              </a:gdLst>
              <a:ahLst/>
              <a:cxnLst>
                <a:cxn ang="0">
                  <a:pos x="T0" y="T1"/>
                </a:cxn>
                <a:cxn ang="0">
                  <a:pos x="T2" y="T3"/>
                </a:cxn>
                <a:cxn ang="0">
                  <a:pos x="T4" y="T5"/>
                </a:cxn>
                <a:cxn ang="0">
                  <a:pos x="T6" y="T7"/>
                </a:cxn>
                <a:cxn ang="0">
                  <a:pos x="T8" y="T9"/>
                </a:cxn>
              </a:cxnLst>
              <a:rect l="0" t="0" r="r" b="b"/>
              <a:pathLst>
                <a:path w="1714" h="1159">
                  <a:moveTo>
                    <a:pt x="1530" y="0"/>
                  </a:moveTo>
                  <a:lnTo>
                    <a:pt x="0" y="664"/>
                  </a:lnTo>
                  <a:lnTo>
                    <a:pt x="235" y="1159"/>
                  </a:lnTo>
                  <a:lnTo>
                    <a:pt x="1714" y="385"/>
                  </a:lnTo>
                  <a:lnTo>
                    <a:pt x="1530"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7" name="Freeform 41"/>
            <p:cNvSpPr>
              <a:spLocks/>
            </p:cNvSpPr>
            <p:nvPr/>
          </p:nvSpPr>
          <p:spPr bwMode="auto">
            <a:xfrm>
              <a:off x="-336550" y="2079625"/>
              <a:ext cx="2755900" cy="1373188"/>
            </a:xfrm>
            <a:custGeom>
              <a:avLst/>
              <a:gdLst>
                <a:gd name="T0" fmla="*/ 1636 w 1736"/>
                <a:gd name="T1" fmla="*/ 0 h 865"/>
                <a:gd name="T2" fmla="*/ 0 w 1736"/>
                <a:gd name="T3" fmla="*/ 332 h 865"/>
                <a:gd name="T4" fmla="*/ 128 w 1736"/>
                <a:gd name="T5" fmla="*/ 865 h 865"/>
                <a:gd name="T6" fmla="*/ 1736 w 1736"/>
                <a:gd name="T7" fmla="*/ 414 h 865"/>
                <a:gd name="T8" fmla="*/ 1636 w 1736"/>
                <a:gd name="T9" fmla="*/ 0 h 865"/>
              </a:gdLst>
              <a:ahLst/>
              <a:cxnLst>
                <a:cxn ang="0">
                  <a:pos x="T0" y="T1"/>
                </a:cxn>
                <a:cxn ang="0">
                  <a:pos x="T2" y="T3"/>
                </a:cxn>
                <a:cxn ang="0">
                  <a:pos x="T4" y="T5"/>
                </a:cxn>
                <a:cxn ang="0">
                  <a:pos x="T6" y="T7"/>
                </a:cxn>
                <a:cxn ang="0">
                  <a:pos x="T8" y="T9"/>
                </a:cxn>
              </a:cxnLst>
              <a:rect l="0" t="0" r="r" b="b"/>
              <a:pathLst>
                <a:path w="1736" h="865">
                  <a:moveTo>
                    <a:pt x="1636" y="0"/>
                  </a:moveTo>
                  <a:lnTo>
                    <a:pt x="0" y="332"/>
                  </a:lnTo>
                  <a:lnTo>
                    <a:pt x="128" y="865"/>
                  </a:lnTo>
                  <a:lnTo>
                    <a:pt x="1736" y="414"/>
                  </a:lnTo>
                  <a:lnTo>
                    <a:pt x="1636"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8" name="Freeform 42"/>
            <p:cNvSpPr>
              <a:spLocks/>
            </p:cNvSpPr>
            <p:nvPr/>
          </p:nvSpPr>
          <p:spPr bwMode="auto">
            <a:xfrm>
              <a:off x="-488950" y="765175"/>
              <a:ext cx="2670175" cy="871538"/>
            </a:xfrm>
            <a:custGeom>
              <a:avLst/>
              <a:gdLst>
                <a:gd name="T0" fmla="*/ 1670 w 1682"/>
                <a:gd name="T1" fmla="*/ 18 h 549"/>
                <a:gd name="T2" fmla="*/ 0 w 1682"/>
                <a:gd name="T3" fmla="*/ 0 h 549"/>
                <a:gd name="T4" fmla="*/ 16 w 1682"/>
                <a:gd name="T5" fmla="*/ 549 h 549"/>
                <a:gd name="T6" fmla="*/ 1682 w 1682"/>
                <a:gd name="T7" fmla="*/ 443 h 549"/>
                <a:gd name="T8" fmla="*/ 1670 w 1682"/>
                <a:gd name="T9" fmla="*/ 18 h 549"/>
              </a:gdLst>
              <a:ahLst/>
              <a:cxnLst>
                <a:cxn ang="0">
                  <a:pos x="T0" y="T1"/>
                </a:cxn>
                <a:cxn ang="0">
                  <a:pos x="T2" y="T3"/>
                </a:cxn>
                <a:cxn ang="0">
                  <a:pos x="T4" y="T5"/>
                </a:cxn>
                <a:cxn ang="0">
                  <a:pos x="T6" y="T7"/>
                </a:cxn>
                <a:cxn ang="0">
                  <a:pos x="T8" y="T9"/>
                </a:cxn>
              </a:cxnLst>
              <a:rect l="0" t="0" r="r" b="b"/>
              <a:pathLst>
                <a:path w="1682" h="549">
                  <a:moveTo>
                    <a:pt x="1670" y="18"/>
                  </a:moveTo>
                  <a:lnTo>
                    <a:pt x="0" y="0"/>
                  </a:lnTo>
                  <a:lnTo>
                    <a:pt x="16" y="549"/>
                  </a:lnTo>
                  <a:lnTo>
                    <a:pt x="1682" y="443"/>
                  </a:lnTo>
                  <a:lnTo>
                    <a:pt x="1670" y="18"/>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grpSp>
      <p:sp>
        <p:nvSpPr>
          <p:cNvPr id="2" name="Title 1"/>
          <p:cNvSpPr>
            <a:spLocks noGrp="1"/>
          </p:cNvSpPr>
          <p:nvPr>
            <p:ph type="ctrTitle"/>
          </p:nvPr>
        </p:nvSpPr>
        <p:spPr>
          <a:xfrm>
            <a:off x="1240800" y="2044305"/>
            <a:ext cx="9653336" cy="1554145"/>
          </a:xfrm>
        </p:spPr>
        <p:txBody>
          <a:bodyPr anchor="b">
            <a:normAutofit/>
          </a:bodyPr>
          <a:lstStyle>
            <a:lvl1pPr algn="l">
              <a:defRPr sz="5000">
                <a:solidFill>
                  <a:schemeClr val="bg2"/>
                </a:solidFill>
              </a:defRPr>
            </a:lvl1pPr>
          </a:lstStyle>
          <a:p>
            <a:r>
              <a:rPr lang="en-US"/>
              <a:t>Click to edit Master title style</a:t>
            </a:r>
            <a:endParaRPr lang="en-IE" dirty="0"/>
          </a:p>
        </p:txBody>
      </p:sp>
      <p:sp>
        <p:nvSpPr>
          <p:cNvPr id="3" name="Subtitle 2"/>
          <p:cNvSpPr>
            <a:spLocks noGrp="1"/>
          </p:cNvSpPr>
          <p:nvPr>
            <p:ph type="subTitle" idx="1"/>
          </p:nvPr>
        </p:nvSpPr>
        <p:spPr>
          <a:xfrm>
            <a:off x="1240800" y="3788851"/>
            <a:ext cx="9653336" cy="1655762"/>
          </a:xfrm>
        </p:spPr>
        <p:txBody>
          <a:bodyPr>
            <a:normAutofit/>
          </a:bodyPr>
          <a:lstStyle>
            <a:lvl1pPr marL="0" indent="0" algn="l">
              <a:buNone/>
              <a:defRPr sz="2800" b="1">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dirty="0"/>
          </a:p>
        </p:txBody>
      </p:sp>
      <p:sp>
        <p:nvSpPr>
          <p:cNvPr id="4" name="Date Placeholder 3"/>
          <p:cNvSpPr>
            <a:spLocks noGrp="1"/>
          </p:cNvSpPr>
          <p:nvPr>
            <p:ph type="dt" sz="half" idx="10"/>
          </p:nvPr>
        </p:nvSpPr>
        <p:spPr>
          <a:xfrm>
            <a:off x="1240800" y="5864714"/>
            <a:ext cx="2880000" cy="365125"/>
          </a:xfrm>
          <a:prstGeom prst="rect">
            <a:avLst/>
          </a:prstGeom>
        </p:spPr>
        <p:txBody>
          <a:bodyPr/>
          <a:lstStyle>
            <a:lvl1pPr>
              <a:defRPr>
                <a:solidFill>
                  <a:schemeClr val="bg2"/>
                </a:solidFill>
              </a:defRPr>
            </a:lvl1pPr>
          </a:lstStyle>
          <a:p>
            <a:endParaRPr lang="en-IE" dirty="0">
              <a:solidFill>
                <a:srgbClr val="FFFFFF"/>
              </a:solidFill>
            </a:endParaRPr>
          </a:p>
        </p:txBody>
      </p:sp>
      <p:sp>
        <p:nvSpPr>
          <p:cNvPr id="12" name="Footer Placeholder 4"/>
          <p:cNvSpPr>
            <a:spLocks noGrp="1"/>
          </p:cNvSpPr>
          <p:nvPr>
            <p:ph type="ftr" sz="quarter" idx="3"/>
          </p:nvPr>
        </p:nvSpPr>
        <p:spPr>
          <a:xfrm>
            <a:off x="4414136" y="5864714"/>
            <a:ext cx="6480000" cy="365125"/>
          </a:xfrm>
          <a:prstGeom prst="rect">
            <a:avLst/>
          </a:prstGeom>
        </p:spPr>
        <p:txBody>
          <a:bodyPr vert="horz" lIns="91440" tIns="45720" rIns="91440" bIns="45720" rtlCol="0" anchor="ctr"/>
          <a:lstStyle>
            <a:lvl1pPr algn="r">
              <a:defRPr sz="1800">
                <a:solidFill>
                  <a:schemeClr val="bg2"/>
                </a:solidFill>
              </a:defRPr>
            </a:lvl1pPr>
          </a:lstStyle>
          <a:p>
            <a:endParaRPr lang="en-IE" dirty="0">
              <a:solidFill>
                <a:srgbClr val="FFFFFF"/>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33392" y="630654"/>
            <a:ext cx="2821500" cy="1029600"/>
          </a:xfrm>
          <a:prstGeom prst="rect">
            <a:avLst/>
          </a:prstGeom>
        </p:spPr>
      </p:pic>
    </p:spTree>
    <p:extLst>
      <p:ext uri="{BB962C8B-B14F-4D97-AF65-F5344CB8AC3E}">
        <p14:creationId xmlns:p14="http://schemas.microsoft.com/office/powerpoint/2010/main" val="5717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lvl4pPr marL="1616075" indent="-276225">
              <a:buFont typeface="Courier New" panose="02070309020205020404" pitchFamily="49"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E" dirty="0"/>
          </a:p>
        </p:txBody>
      </p:sp>
      <p:sp>
        <p:nvSpPr>
          <p:cNvPr id="5" name="Footer Placeholder 4"/>
          <p:cNvSpPr>
            <a:spLocks noGrp="1"/>
          </p:cNvSpPr>
          <p:nvPr>
            <p:ph type="ftr" sz="quarter" idx="11"/>
          </p:nvPr>
        </p:nvSpPr>
        <p:spPr/>
        <p:txBody>
          <a:bodyPr/>
          <a:lstStyle/>
          <a:p>
            <a:endParaRPr lang="en-IE" dirty="0">
              <a:solidFill>
                <a:srgbClr val="B2B4B2"/>
              </a:solidFill>
            </a:endParaRPr>
          </a:p>
        </p:txBody>
      </p:sp>
      <p:sp>
        <p:nvSpPr>
          <p:cNvPr id="6" name="Slide Number Placeholder 5"/>
          <p:cNvSpPr>
            <a:spLocks noGrp="1"/>
          </p:cNvSpPr>
          <p:nvPr>
            <p:ph type="sldNum" sz="quarter" idx="12"/>
          </p:nvPr>
        </p:nvSpPr>
        <p:spPr/>
        <p:txBody>
          <a:bodyPr/>
          <a:lstStyle/>
          <a:p>
            <a:fld id="{BDD9C4D5-18C8-4FD5-8DD3-707473F66EE9}" type="slidenum">
              <a:rPr lang="en-IE" smtClean="0">
                <a:solidFill>
                  <a:srgbClr val="06038D"/>
                </a:solidFill>
              </a:rPr>
              <a:pPr/>
              <a:t>‹#›</a:t>
            </a:fld>
            <a:endParaRPr lang="en-IE" dirty="0">
              <a:solidFill>
                <a:srgbClr val="06038D"/>
              </a:solidFill>
            </a:endParaRPr>
          </a:p>
        </p:txBody>
      </p:sp>
    </p:spTree>
    <p:extLst>
      <p:ext uri="{BB962C8B-B14F-4D97-AF65-F5344CB8AC3E}">
        <p14:creationId xmlns:p14="http://schemas.microsoft.com/office/powerpoint/2010/main" val="1563780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gradFill>
            <a:gsLst>
              <a:gs pos="80000">
                <a:srgbClr val="0357BC"/>
              </a:gs>
              <a:gs pos="100000">
                <a:schemeClr val="accent2"/>
              </a:gs>
              <a:gs pos="60000">
                <a:srgbClr val="042BA3"/>
              </a:gs>
              <a:gs pos="25000">
                <a:schemeClr val="tx2"/>
              </a:gs>
              <a:gs pos="0">
                <a:schemeClr val="tx2"/>
              </a:gs>
            </a:gsLst>
            <a:lin ang="201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solidFill>
                <a:srgbClr val="FFFFFF"/>
              </a:solidFill>
            </a:endParaRPr>
          </a:p>
        </p:txBody>
      </p:sp>
      <p:cxnSp>
        <p:nvCxnSpPr>
          <p:cNvPr id="8" name="Straight Connector 7"/>
          <p:cNvCxnSpPr/>
          <p:nvPr userDrawn="1"/>
        </p:nvCxnSpPr>
        <p:spPr>
          <a:xfrm>
            <a:off x="660000" y="1295999"/>
            <a:ext cx="10872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660000" y="1295999"/>
            <a:ext cx="10872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62598" y="6014314"/>
            <a:ext cx="1396057" cy="508244"/>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IE"/>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marL="1616075" indent="-276225">
              <a:buFont typeface="Courier New" panose="02070309020205020404" pitchFamily="49" charset="0"/>
              <a:buChar cha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E"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IE"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BDD9C4D5-18C8-4FD5-8DD3-707473F66EE9}" type="slidenum">
              <a:rPr lang="en-IE" smtClean="0"/>
              <a:pPr/>
              <a:t>‹#›</a:t>
            </a:fld>
            <a:endParaRPr lang="en-IE" dirty="0"/>
          </a:p>
        </p:txBody>
      </p:sp>
    </p:spTree>
    <p:extLst>
      <p:ext uri="{BB962C8B-B14F-4D97-AF65-F5344CB8AC3E}">
        <p14:creationId xmlns:p14="http://schemas.microsoft.com/office/powerpoint/2010/main" val="73470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obj" preserve="1">
  <p:cSld name="Title and Content - no blue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5" name="Footer Placeholder 4"/>
          <p:cNvSpPr>
            <a:spLocks noGrp="1"/>
          </p:cNvSpPr>
          <p:nvPr>
            <p:ph type="ftr" sz="quarter" idx="11"/>
          </p:nvPr>
        </p:nvSpPr>
        <p:spPr/>
        <p:txBody>
          <a:bodyPr/>
          <a:lstStyle/>
          <a:p>
            <a:endParaRPr lang="en-IE" dirty="0">
              <a:solidFill>
                <a:srgbClr val="B2B4B2"/>
              </a:solidFill>
            </a:endParaRPr>
          </a:p>
        </p:txBody>
      </p:sp>
      <p:sp>
        <p:nvSpPr>
          <p:cNvPr id="6" name="Slide Number Placeholder 5"/>
          <p:cNvSpPr>
            <a:spLocks noGrp="1"/>
          </p:cNvSpPr>
          <p:nvPr>
            <p:ph type="sldNum" sz="quarter" idx="12"/>
          </p:nvPr>
        </p:nvSpPr>
        <p:spPr/>
        <p:txBody>
          <a:bodyPr/>
          <a:lstStyle/>
          <a:p>
            <a:fld id="{BDD9C4D5-18C8-4FD5-8DD3-707473F66EE9}" type="slidenum">
              <a:rPr lang="en-IE" smtClean="0">
                <a:solidFill>
                  <a:srgbClr val="06038D"/>
                </a:solidFill>
              </a:rPr>
              <a:pPr/>
              <a:t>‹#›</a:t>
            </a:fld>
            <a:endParaRPr lang="en-IE" dirty="0">
              <a:solidFill>
                <a:srgbClr val="06038D"/>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62597" y="5998436"/>
            <a:ext cx="1396060" cy="540000"/>
          </a:xfrm>
          <a:prstGeom prst="rect">
            <a:avLst/>
          </a:prstGeom>
        </p:spPr>
      </p:pic>
    </p:spTree>
    <p:extLst>
      <p:ext uri="{BB962C8B-B14F-4D97-AF65-F5344CB8AC3E}">
        <p14:creationId xmlns:p14="http://schemas.microsoft.com/office/powerpoint/2010/main" val="3352953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with Blue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lvl1pPr marL="0" indent="0">
              <a:buNone/>
              <a:defRPr b="1">
                <a:solidFill>
                  <a:schemeClr val="accent2"/>
                </a:solidFill>
              </a:defRPr>
            </a:lvl1pPr>
            <a:lvl2pPr marL="265113" indent="-265113">
              <a:defRPr/>
            </a:lvl2pPr>
            <a:lvl3pPr marL="719138" indent="-274638">
              <a:defRPr/>
            </a:lvl3pPr>
            <a:lvl4pPr marL="1252538" indent="-266700">
              <a:defRPr/>
            </a:lvl4pPr>
            <a:lvl5pPr marL="1704975" indent="-2667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5" name="Footer Placeholder 4"/>
          <p:cNvSpPr>
            <a:spLocks noGrp="1"/>
          </p:cNvSpPr>
          <p:nvPr>
            <p:ph type="ftr" sz="quarter" idx="11"/>
          </p:nvPr>
        </p:nvSpPr>
        <p:spPr/>
        <p:txBody>
          <a:bodyPr/>
          <a:lstStyle/>
          <a:p>
            <a:endParaRPr lang="en-IE" dirty="0">
              <a:solidFill>
                <a:srgbClr val="B2B4B2"/>
              </a:solidFill>
            </a:endParaRPr>
          </a:p>
        </p:txBody>
      </p:sp>
      <p:sp>
        <p:nvSpPr>
          <p:cNvPr id="6" name="Slide Number Placeholder 5"/>
          <p:cNvSpPr>
            <a:spLocks noGrp="1"/>
          </p:cNvSpPr>
          <p:nvPr>
            <p:ph type="sldNum" sz="quarter" idx="12"/>
          </p:nvPr>
        </p:nvSpPr>
        <p:spPr/>
        <p:txBody>
          <a:bodyPr/>
          <a:lstStyle/>
          <a:p>
            <a:fld id="{BDD9C4D5-18C8-4FD5-8DD3-707473F66EE9}" type="slidenum">
              <a:rPr lang="en-IE" smtClean="0">
                <a:solidFill>
                  <a:srgbClr val="06038D"/>
                </a:solidFill>
              </a:rPr>
              <a:pPr/>
              <a:t>‹#›</a:t>
            </a:fld>
            <a:endParaRPr lang="en-IE" dirty="0">
              <a:solidFill>
                <a:srgbClr val="06038D"/>
              </a:solidFill>
            </a:endParaRPr>
          </a:p>
        </p:txBody>
      </p:sp>
    </p:spTree>
    <p:extLst>
      <p:ext uri="{BB962C8B-B14F-4D97-AF65-F5344CB8AC3E}">
        <p14:creationId xmlns:p14="http://schemas.microsoft.com/office/powerpoint/2010/main" val="253927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660800" y="1589127"/>
            <a:ext cx="10871200" cy="4122000"/>
          </a:xfrm>
          <a:solidFill>
            <a:schemeClr val="bg1"/>
          </a:solidFill>
        </p:spPr>
        <p:txBody>
          <a:bodyPr/>
          <a:lstStyle/>
          <a:p>
            <a:r>
              <a:rPr lang="en-US" dirty="0"/>
              <a:t>Click icon to add picture</a:t>
            </a:r>
            <a:endParaRPr lang="en-IE" dirty="0"/>
          </a:p>
        </p:txBody>
      </p:sp>
      <p:sp>
        <p:nvSpPr>
          <p:cNvPr id="2" name="Title 1"/>
          <p:cNvSpPr>
            <a:spLocks noGrp="1"/>
          </p:cNvSpPr>
          <p:nvPr>
            <p:ph type="title"/>
          </p:nvPr>
        </p:nvSpPr>
        <p:spPr/>
        <p:txBody>
          <a:bodyPr/>
          <a:lstStyle/>
          <a:p>
            <a:r>
              <a:rPr lang="en-US"/>
              <a:t>Click to edit Master title style</a:t>
            </a:r>
            <a:endParaRPr lang="en-IE"/>
          </a:p>
        </p:txBody>
      </p:sp>
      <p:sp>
        <p:nvSpPr>
          <p:cNvPr id="5" name="Footer Placeholder 4"/>
          <p:cNvSpPr>
            <a:spLocks noGrp="1"/>
          </p:cNvSpPr>
          <p:nvPr>
            <p:ph type="ftr" sz="quarter" idx="11"/>
          </p:nvPr>
        </p:nvSpPr>
        <p:spPr/>
        <p:txBody>
          <a:bodyPr/>
          <a:lstStyle/>
          <a:p>
            <a:endParaRPr lang="en-IE" dirty="0">
              <a:solidFill>
                <a:srgbClr val="B2B4B2"/>
              </a:solidFill>
            </a:endParaRPr>
          </a:p>
        </p:txBody>
      </p:sp>
      <p:sp>
        <p:nvSpPr>
          <p:cNvPr id="6" name="Slide Number Placeholder 5"/>
          <p:cNvSpPr>
            <a:spLocks noGrp="1"/>
          </p:cNvSpPr>
          <p:nvPr>
            <p:ph type="sldNum" sz="quarter" idx="12"/>
          </p:nvPr>
        </p:nvSpPr>
        <p:spPr/>
        <p:txBody>
          <a:bodyPr/>
          <a:lstStyle/>
          <a:p>
            <a:fld id="{BDD9C4D5-18C8-4FD5-8DD3-707473F66EE9}" type="slidenum">
              <a:rPr lang="en-IE" smtClean="0">
                <a:solidFill>
                  <a:srgbClr val="06038D"/>
                </a:solidFill>
              </a:rPr>
              <a:pPr/>
              <a:t>‹#›</a:t>
            </a:fld>
            <a:endParaRPr lang="en-IE" dirty="0">
              <a:solidFill>
                <a:srgbClr val="06038D"/>
              </a:solidFill>
            </a:endParaRPr>
          </a:p>
        </p:txBody>
      </p:sp>
    </p:spTree>
    <p:extLst>
      <p:ext uri="{BB962C8B-B14F-4D97-AF65-F5344CB8AC3E}">
        <p14:creationId xmlns:p14="http://schemas.microsoft.com/office/powerpoint/2010/main" val="827033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Section Header Blue">
    <p:bg>
      <p:bgPr>
        <a:solidFill>
          <a:schemeClr val="bg1"/>
        </a:solidFill>
        <a:effectLst/>
      </p:bgPr>
    </p:bg>
    <p:spTree>
      <p:nvGrpSpPr>
        <p:cNvPr id="1" name=""/>
        <p:cNvGrpSpPr/>
        <p:nvPr/>
      </p:nvGrpSpPr>
      <p:grpSpPr>
        <a:xfrm>
          <a:off x="0" y="0"/>
          <a:ext cx="0" cy="0"/>
          <a:chOff x="0" y="0"/>
          <a:chExt cx="0" cy="0"/>
        </a:xfrm>
      </p:grpSpPr>
      <p:sp>
        <p:nvSpPr>
          <p:cNvPr id="50" name="Rectangle 49"/>
          <p:cNvSpPr/>
          <p:nvPr userDrawn="1"/>
        </p:nvSpPr>
        <p:spPr>
          <a:xfrm>
            <a:off x="330600" y="322200"/>
            <a:ext cx="11530800" cy="6213600"/>
          </a:xfrm>
          <a:prstGeom prst="rect">
            <a:avLst/>
          </a:prstGeom>
          <a:gradFill>
            <a:gsLst>
              <a:gs pos="80000">
                <a:srgbClr val="0357BC"/>
              </a:gs>
              <a:gs pos="100000">
                <a:schemeClr val="accent2"/>
              </a:gs>
              <a:gs pos="60000">
                <a:srgbClr val="042BA3"/>
              </a:gs>
              <a:gs pos="25000">
                <a:schemeClr val="tx2"/>
              </a:gs>
              <a:gs pos="0">
                <a:schemeClr val="tx2"/>
              </a:gs>
            </a:gsLst>
            <a:lin ang="201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solidFill>
                <a:srgbClr val="FFFFFF"/>
              </a:solidFill>
            </a:endParaRPr>
          </a:p>
        </p:txBody>
      </p:sp>
      <p:grpSp>
        <p:nvGrpSpPr>
          <p:cNvPr id="51" name="Group 50"/>
          <p:cNvGrpSpPr/>
          <p:nvPr userDrawn="1"/>
        </p:nvGrpSpPr>
        <p:grpSpPr>
          <a:xfrm>
            <a:off x="-492125" y="-590550"/>
            <a:ext cx="15217776" cy="10388600"/>
            <a:chOff x="-492125" y="-590550"/>
            <a:chExt cx="15217776" cy="10388600"/>
          </a:xfrm>
        </p:grpSpPr>
        <p:sp>
          <p:nvSpPr>
            <p:cNvPr id="52" name="AutoShape 3"/>
            <p:cNvSpPr>
              <a:spLocks noChangeAspect="1" noChangeArrowheads="1" noTextEdit="1"/>
            </p:cNvSpPr>
            <p:nvPr/>
          </p:nvSpPr>
          <p:spPr bwMode="auto">
            <a:xfrm>
              <a:off x="-492125" y="-590550"/>
              <a:ext cx="15214600" cy="1038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3" name="Freeform 6"/>
            <p:cNvSpPr>
              <a:spLocks/>
            </p:cNvSpPr>
            <p:nvPr/>
          </p:nvSpPr>
          <p:spPr bwMode="auto">
            <a:xfrm>
              <a:off x="12084050" y="4646613"/>
              <a:ext cx="2189163" cy="2166938"/>
            </a:xfrm>
            <a:custGeom>
              <a:avLst/>
              <a:gdLst>
                <a:gd name="T0" fmla="*/ 0 w 1379"/>
                <a:gd name="T1" fmla="*/ 273 h 1365"/>
                <a:gd name="T2" fmla="*/ 1033 w 1379"/>
                <a:gd name="T3" fmla="*/ 1365 h 1365"/>
                <a:gd name="T4" fmla="*/ 1379 w 1379"/>
                <a:gd name="T5" fmla="*/ 1012 h 1365"/>
                <a:gd name="T6" fmla="*/ 267 w 1379"/>
                <a:gd name="T7" fmla="*/ 0 h 1365"/>
                <a:gd name="T8" fmla="*/ 0 w 1379"/>
                <a:gd name="T9" fmla="*/ 273 h 1365"/>
              </a:gdLst>
              <a:ahLst/>
              <a:cxnLst>
                <a:cxn ang="0">
                  <a:pos x="T0" y="T1"/>
                </a:cxn>
                <a:cxn ang="0">
                  <a:pos x="T2" y="T3"/>
                </a:cxn>
                <a:cxn ang="0">
                  <a:pos x="T4" y="T5"/>
                </a:cxn>
                <a:cxn ang="0">
                  <a:pos x="T6" y="T7"/>
                </a:cxn>
                <a:cxn ang="0">
                  <a:pos x="T8" y="T9"/>
                </a:cxn>
              </a:cxnLst>
              <a:rect l="0" t="0" r="r" b="b"/>
              <a:pathLst>
                <a:path w="1379" h="1365">
                  <a:moveTo>
                    <a:pt x="0" y="273"/>
                  </a:moveTo>
                  <a:lnTo>
                    <a:pt x="1033" y="1365"/>
                  </a:lnTo>
                  <a:lnTo>
                    <a:pt x="1379" y="1012"/>
                  </a:lnTo>
                  <a:lnTo>
                    <a:pt x="267" y="0"/>
                  </a:lnTo>
                  <a:lnTo>
                    <a:pt x="0" y="273"/>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4" name="Freeform 7"/>
            <p:cNvSpPr>
              <a:spLocks/>
            </p:cNvSpPr>
            <p:nvPr/>
          </p:nvSpPr>
          <p:spPr bwMode="auto">
            <a:xfrm>
              <a:off x="11145838" y="5432425"/>
              <a:ext cx="1897063" cy="2373313"/>
            </a:xfrm>
            <a:custGeom>
              <a:avLst/>
              <a:gdLst>
                <a:gd name="T0" fmla="*/ 0 w 1195"/>
                <a:gd name="T1" fmla="*/ 214 h 1495"/>
                <a:gd name="T2" fmla="*/ 784 w 1195"/>
                <a:gd name="T3" fmla="*/ 1495 h 1495"/>
                <a:gd name="T4" fmla="*/ 1195 w 1195"/>
                <a:gd name="T5" fmla="*/ 1221 h 1495"/>
                <a:gd name="T6" fmla="*/ 319 w 1195"/>
                <a:gd name="T7" fmla="*/ 0 h 1495"/>
                <a:gd name="T8" fmla="*/ 0 w 1195"/>
                <a:gd name="T9" fmla="*/ 214 h 1495"/>
              </a:gdLst>
              <a:ahLst/>
              <a:cxnLst>
                <a:cxn ang="0">
                  <a:pos x="T0" y="T1"/>
                </a:cxn>
                <a:cxn ang="0">
                  <a:pos x="T2" y="T3"/>
                </a:cxn>
                <a:cxn ang="0">
                  <a:pos x="T4" y="T5"/>
                </a:cxn>
                <a:cxn ang="0">
                  <a:pos x="T6" y="T7"/>
                </a:cxn>
                <a:cxn ang="0">
                  <a:pos x="T8" y="T9"/>
                </a:cxn>
              </a:cxnLst>
              <a:rect l="0" t="0" r="r" b="b"/>
              <a:pathLst>
                <a:path w="1195" h="1495">
                  <a:moveTo>
                    <a:pt x="0" y="214"/>
                  </a:moveTo>
                  <a:lnTo>
                    <a:pt x="784" y="1495"/>
                  </a:lnTo>
                  <a:lnTo>
                    <a:pt x="1195" y="1221"/>
                  </a:lnTo>
                  <a:lnTo>
                    <a:pt x="319" y="0"/>
                  </a:lnTo>
                  <a:lnTo>
                    <a:pt x="0" y="214"/>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5" name="Freeform 8"/>
            <p:cNvSpPr>
              <a:spLocks/>
            </p:cNvSpPr>
            <p:nvPr/>
          </p:nvSpPr>
          <p:spPr bwMode="auto">
            <a:xfrm>
              <a:off x="10088563" y="6024563"/>
              <a:ext cx="1524000" cy="2474913"/>
            </a:xfrm>
            <a:custGeom>
              <a:avLst/>
              <a:gdLst>
                <a:gd name="T0" fmla="*/ 0 w 960"/>
                <a:gd name="T1" fmla="*/ 142 h 1559"/>
                <a:gd name="T2" fmla="*/ 501 w 960"/>
                <a:gd name="T3" fmla="*/ 1559 h 1559"/>
                <a:gd name="T4" fmla="*/ 960 w 960"/>
                <a:gd name="T5" fmla="*/ 1377 h 1559"/>
                <a:gd name="T6" fmla="*/ 357 w 960"/>
                <a:gd name="T7" fmla="*/ 0 h 1559"/>
                <a:gd name="T8" fmla="*/ 0 w 960"/>
                <a:gd name="T9" fmla="*/ 142 h 1559"/>
              </a:gdLst>
              <a:ahLst/>
              <a:cxnLst>
                <a:cxn ang="0">
                  <a:pos x="T0" y="T1"/>
                </a:cxn>
                <a:cxn ang="0">
                  <a:pos x="T2" y="T3"/>
                </a:cxn>
                <a:cxn ang="0">
                  <a:pos x="T4" y="T5"/>
                </a:cxn>
                <a:cxn ang="0">
                  <a:pos x="T6" y="T7"/>
                </a:cxn>
                <a:cxn ang="0">
                  <a:pos x="T8" y="T9"/>
                </a:cxn>
              </a:cxnLst>
              <a:rect l="0" t="0" r="r" b="b"/>
              <a:pathLst>
                <a:path w="960" h="1559">
                  <a:moveTo>
                    <a:pt x="0" y="142"/>
                  </a:moveTo>
                  <a:lnTo>
                    <a:pt x="501" y="1559"/>
                  </a:lnTo>
                  <a:lnTo>
                    <a:pt x="960" y="1377"/>
                  </a:lnTo>
                  <a:lnTo>
                    <a:pt x="357" y="0"/>
                  </a:lnTo>
                  <a:lnTo>
                    <a:pt x="0" y="14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6" name="Freeform 9"/>
            <p:cNvSpPr>
              <a:spLocks/>
            </p:cNvSpPr>
            <p:nvPr/>
          </p:nvSpPr>
          <p:spPr bwMode="auto">
            <a:xfrm>
              <a:off x="8953500" y="6399213"/>
              <a:ext cx="1081088" cy="2463800"/>
            </a:xfrm>
            <a:custGeom>
              <a:avLst/>
              <a:gdLst>
                <a:gd name="T0" fmla="*/ 0 w 681"/>
                <a:gd name="T1" fmla="*/ 62 h 1552"/>
                <a:gd name="T2" fmla="*/ 194 w 681"/>
                <a:gd name="T3" fmla="*/ 1552 h 1552"/>
                <a:gd name="T4" fmla="*/ 681 w 681"/>
                <a:gd name="T5" fmla="*/ 1470 h 1552"/>
                <a:gd name="T6" fmla="*/ 377 w 681"/>
                <a:gd name="T7" fmla="*/ 0 h 1552"/>
                <a:gd name="T8" fmla="*/ 0 w 681"/>
                <a:gd name="T9" fmla="*/ 62 h 1552"/>
              </a:gdLst>
              <a:ahLst/>
              <a:cxnLst>
                <a:cxn ang="0">
                  <a:pos x="T0" y="T1"/>
                </a:cxn>
                <a:cxn ang="0">
                  <a:pos x="T2" y="T3"/>
                </a:cxn>
                <a:cxn ang="0">
                  <a:pos x="T4" y="T5"/>
                </a:cxn>
                <a:cxn ang="0">
                  <a:pos x="T6" y="T7"/>
                </a:cxn>
                <a:cxn ang="0">
                  <a:pos x="T8" y="T9"/>
                </a:cxn>
              </a:cxnLst>
              <a:rect l="0" t="0" r="r" b="b"/>
              <a:pathLst>
                <a:path w="681" h="1552">
                  <a:moveTo>
                    <a:pt x="0" y="62"/>
                  </a:moveTo>
                  <a:lnTo>
                    <a:pt x="194" y="1552"/>
                  </a:lnTo>
                  <a:lnTo>
                    <a:pt x="681" y="1470"/>
                  </a:lnTo>
                  <a:lnTo>
                    <a:pt x="377" y="0"/>
                  </a:lnTo>
                  <a:lnTo>
                    <a:pt x="0" y="6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7" name="Freeform 10"/>
            <p:cNvSpPr>
              <a:spLocks/>
            </p:cNvSpPr>
            <p:nvPr/>
          </p:nvSpPr>
          <p:spPr bwMode="auto">
            <a:xfrm>
              <a:off x="7600950" y="6507163"/>
              <a:ext cx="795338" cy="2409825"/>
            </a:xfrm>
            <a:custGeom>
              <a:avLst/>
              <a:gdLst>
                <a:gd name="T0" fmla="*/ 120 w 501"/>
                <a:gd name="T1" fmla="*/ 0 h 1518"/>
                <a:gd name="T2" fmla="*/ 0 w 501"/>
                <a:gd name="T3" fmla="*/ 1496 h 1518"/>
                <a:gd name="T4" fmla="*/ 493 w 501"/>
                <a:gd name="T5" fmla="*/ 1518 h 1518"/>
                <a:gd name="T6" fmla="*/ 501 w 501"/>
                <a:gd name="T7" fmla="*/ 16 h 1518"/>
                <a:gd name="T8" fmla="*/ 120 w 501"/>
                <a:gd name="T9" fmla="*/ 0 h 1518"/>
              </a:gdLst>
              <a:ahLst/>
              <a:cxnLst>
                <a:cxn ang="0">
                  <a:pos x="T0" y="T1"/>
                </a:cxn>
                <a:cxn ang="0">
                  <a:pos x="T2" y="T3"/>
                </a:cxn>
                <a:cxn ang="0">
                  <a:pos x="T4" y="T5"/>
                </a:cxn>
                <a:cxn ang="0">
                  <a:pos x="T6" y="T7"/>
                </a:cxn>
                <a:cxn ang="0">
                  <a:pos x="T8" y="T9"/>
                </a:cxn>
              </a:cxnLst>
              <a:rect l="0" t="0" r="r" b="b"/>
              <a:pathLst>
                <a:path w="501" h="1518">
                  <a:moveTo>
                    <a:pt x="120" y="0"/>
                  </a:moveTo>
                  <a:lnTo>
                    <a:pt x="0" y="1496"/>
                  </a:lnTo>
                  <a:lnTo>
                    <a:pt x="493" y="1518"/>
                  </a:lnTo>
                  <a:lnTo>
                    <a:pt x="501" y="16"/>
                  </a:lnTo>
                  <a:lnTo>
                    <a:pt x="120"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8" name="Freeform 11"/>
            <p:cNvSpPr>
              <a:spLocks/>
            </p:cNvSpPr>
            <p:nvPr/>
          </p:nvSpPr>
          <p:spPr bwMode="auto">
            <a:xfrm>
              <a:off x="5970588" y="6272213"/>
              <a:ext cx="1270000" cy="2479675"/>
            </a:xfrm>
            <a:custGeom>
              <a:avLst/>
              <a:gdLst>
                <a:gd name="T0" fmla="*/ 429 w 800"/>
                <a:gd name="T1" fmla="*/ 0 h 1562"/>
                <a:gd name="T2" fmla="*/ 0 w 800"/>
                <a:gd name="T3" fmla="*/ 1439 h 1562"/>
                <a:gd name="T4" fmla="*/ 479 w 800"/>
                <a:gd name="T5" fmla="*/ 1562 h 1562"/>
                <a:gd name="T6" fmla="*/ 800 w 800"/>
                <a:gd name="T7" fmla="*/ 94 h 1562"/>
                <a:gd name="T8" fmla="*/ 429 w 800"/>
                <a:gd name="T9" fmla="*/ 0 h 1562"/>
              </a:gdLst>
              <a:ahLst/>
              <a:cxnLst>
                <a:cxn ang="0">
                  <a:pos x="T0" y="T1"/>
                </a:cxn>
                <a:cxn ang="0">
                  <a:pos x="T2" y="T3"/>
                </a:cxn>
                <a:cxn ang="0">
                  <a:pos x="T4" y="T5"/>
                </a:cxn>
                <a:cxn ang="0">
                  <a:pos x="T6" y="T7"/>
                </a:cxn>
                <a:cxn ang="0">
                  <a:pos x="T8" y="T9"/>
                </a:cxn>
              </a:cxnLst>
              <a:rect l="0" t="0" r="r" b="b"/>
              <a:pathLst>
                <a:path w="800" h="1562">
                  <a:moveTo>
                    <a:pt x="429" y="0"/>
                  </a:moveTo>
                  <a:lnTo>
                    <a:pt x="0" y="1439"/>
                  </a:lnTo>
                  <a:lnTo>
                    <a:pt x="479" y="1562"/>
                  </a:lnTo>
                  <a:lnTo>
                    <a:pt x="800" y="94"/>
                  </a:lnTo>
                  <a:lnTo>
                    <a:pt x="42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9" name="Freeform 12"/>
            <p:cNvSpPr>
              <a:spLocks/>
            </p:cNvSpPr>
            <p:nvPr/>
          </p:nvSpPr>
          <p:spPr bwMode="auto">
            <a:xfrm>
              <a:off x="4446588" y="5802313"/>
              <a:ext cx="1684338" cy="2446338"/>
            </a:xfrm>
            <a:custGeom>
              <a:avLst/>
              <a:gdLst>
                <a:gd name="T0" fmla="*/ 718 w 1061"/>
                <a:gd name="T1" fmla="*/ 0 h 1541"/>
                <a:gd name="T2" fmla="*/ 0 w 1061"/>
                <a:gd name="T3" fmla="*/ 1322 h 1541"/>
                <a:gd name="T4" fmla="*/ 441 w 1061"/>
                <a:gd name="T5" fmla="*/ 1541 h 1541"/>
                <a:gd name="T6" fmla="*/ 1061 w 1061"/>
                <a:gd name="T7" fmla="*/ 172 h 1541"/>
                <a:gd name="T8" fmla="*/ 718 w 1061"/>
                <a:gd name="T9" fmla="*/ 0 h 1541"/>
              </a:gdLst>
              <a:ahLst/>
              <a:cxnLst>
                <a:cxn ang="0">
                  <a:pos x="T0" y="T1"/>
                </a:cxn>
                <a:cxn ang="0">
                  <a:pos x="T2" y="T3"/>
                </a:cxn>
                <a:cxn ang="0">
                  <a:pos x="T4" y="T5"/>
                </a:cxn>
                <a:cxn ang="0">
                  <a:pos x="T6" y="T7"/>
                </a:cxn>
                <a:cxn ang="0">
                  <a:pos x="T8" y="T9"/>
                </a:cxn>
              </a:cxnLst>
              <a:rect l="0" t="0" r="r" b="b"/>
              <a:pathLst>
                <a:path w="1061" h="1541">
                  <a:moveTo>
                    <a:pt x="718" y="0"/>
                  </a:moveTo>
                  <a:lnTo>
                    <a:pt x="0" y="1322"/>
                  </a:lnTo>
                  <a:lnTo>
                    <a:pt x="441" y="1541"/>
                  </a:lnTo>
                  <a:lnTo>
                    <a:pt x="1061" y="172"/>
                  </a:lnTo>
                  <a:lnTo>
                    <a:pt x="718"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0" name="Freeform 13"/>
            <p:cNvSpPr>
              <a:spLocks/>
            </p:cNvSpPr>
            <p:nvPr/>
          </p:nvSpPr>
          <p:spPr bwMode="auto">
            <a:xfrm>
              <a:off x="3090863" y="5124450"/>
              <a:ext cx="2027238" cy="2300288"/>
            </a:xfrm>
            <a:custGeom>
              <a:avLst/>
              <a:gdLst>
                <a:gd name="T0" fmla="*/ 978 w 1277"/>
                <a:gd name="T1" fmla="*/ 0 h 1449"/>
                <a:gd name="T2" fmla="*/ 0 w 1277"/>
                <a:gd name="T3" fmla="*/ 1144 h 1449"/>
                <a:gd name="T4" fmla="*/ 387 w 1277"/>
                <a:gd name="T5" fmla="*/ 1449 h 1449"/>
                <a:gd name="T6" fmla="*/ 1277 w 1277"/>
                <a:gd name="T7" fmla="*/ 240 h 1449"/>
                <a:gd name="T8" fmla="*/ 978 w 1277"/>
                <a:gd name="T9" fmla="*/ 0 h 1449"/>
              </a:gdLst>
              <a:ahLst/>
              <a:cxnLst>
                <a:cxn ang="0">
                  <a:pos x="T0" y="T1"/>
                </a:cxn>
                <a:cxn ang="0">
                  <a:pos x="T2" y="T3"/>
                </a:cxn>
                <a:cxn ang="0">
                  <a:pos x="T4" y="T5"/>
                </a:cxn>
                <a:cxn ang="0">
                  <a:pos x="T6" y="T7"/>
                </a:cxn>
                <a:cxn ang="0">
                  <a:pos x="T8" y="T9"/>
                </a:cxn>
              </a:cxnLst>
              <a:rect l="0" t="0" r="r" b="b"/>
              <a:pathLst>
                <a:path w="1277" h="1449">
                  <a:moveTo>
                    <a:pt x="978" y="0"/>
                  </a:moveTo>
                  <a:lnTo>
                    <a:pt x="0" y="1144"/>
                  </a:lnTo>
                  <a:lnTo>
                    <a:pt x="387" y="1449"/>
                  </a:lnTo>
                  <a:lnTo>
                    <a:pt x="1277" y="240"/>
                  </a:lnTo>
                  <a:lnTo>
                    <a:pt x="978"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1" name="Freeform 14"/>
            <p:cNvSpPr>
              <a:spLocks/>
            </p:cNvSpPr>
            <p:nvPr/>
          </p:nvSpPr>
          <p:spPr bwMode="auto">
            <a:xfrm>
              <a:off x="1965325" y="4267200"/>
              <a:ext cx="2281238" cy="2055813"/>
            </a:xfrm>
            <a:custGeom>
              <a:avLst/>
              <a:gdLst>
                <a:gd name="T0" fmla="*/ 1194 w 1437"/>
                <a:gd name="T1" fmla="*/ 0 h 1295"/>
                <a:gd name="T2" fmla="*/ 0 w 1437"/>
                <a:gd name="T3" fmla="*/ 914 h 1295"/>
                <a:gd name="T4" fmla="*/ 314 w 1437"/>
                <a:gd name="T5" fmla="*/ 1295 h 1295"/>
                <a:gd name="T6" fmla="*/ 1437 w 1437"/>
                <a:gd name="T7" fmla="*/ 295 h 1295"/>
                <a:gd name="T8" fmla="*/ 1194 w 1437"/>
                <a:gd name="T9" fmla="*/ 0 h 1295"/>
              </a:gdLst>
              <a:ahLst/>
              <a:cxnLst>
                <a:cxn ang="0">
                  <a:pos x="T0" y="T1"/>
                </a:cxn>
                <a:cxn ang="0">
                  <a:pos x="T2" y="T3"/>
                </a:cxn>
                <a:cxn ang="0">
                  <a:pos x="T4" y="T5"/>
                </a:cxn>
                <a:cxn ang="0">
                  <a:pos x="T6" y="T7"/>
                </a:cxn>
                <a:cxn ang="0">
                  <a:pos x="T8" y="T9"/>
                </a:cxn>
              </a:cxnLst>
              <a:rect l="0" t="0" r="r" b="b"/>
              <a:pathLst>
                <a:path w="1437" h="1295">
                  <a:moveTo>
                    <a:pt x="1194" y="0"/>
                  </a:moveTo>
                  <a:lnTo>
                    <a:pt x="0" y="914"/>
                  </a:lnTo>
                  <a:lnTo>
                    <a:pt x="314" y="1295"/>
                  </a:lnTo>
                  <a:lnTo>
                    <a:pt x="1437" y="295"/>
                  </a:lnTo>
                  <a:lnTo>
                    <a:pt x="1194"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2" name="Freeform 15"/>
            <p:cNvSpPr>
              <a:spLocks/>
            </p:cNvSpPr>
            <p:nvPr/>
          </p:nvSpPr>
          <p:spPr bwMode="auto">
            <a:xfrm>
              <a:off x="1117600" y="3265488"/>
              <a:ext cx="2435225" cy="1717675"/>
            </a:xfrm>
            <a:custGeom>
              <a:avLst/>
              <a:gdLst>
                <a:gd name="T0" fmla="*/ 1357 w 1534"/>
                <a:gd name="T1" fmla="*/ 0 h 1082"/>
                <a:gd name="T2" fmla="*/ 0 w 1534"/>
                <a:gd name="T3" fmla="*/ 645 h 1082"/>
                <a:gd name="T4" fmla="*/ 229 w 1534"/>
                <a:gd name="T5" fmla="*/ 1082 h 1082"/>
                <a:gd name="T6" fmla="*/ 1534 w 1534"/>
                <a:gd name="T7" fmla="*/ 339 h 1082"/>
                <a:gd name="T8" fmla="*/ 1357 w 1534"/>
                <a:gd name="T9" fmla="*/ 0 h 1082"/>
              </a:gdLst>
              <a:ahLst/>
              <a:cxnLst>
                <a:cxn ang="0">
                  <a:pos x="T0" y="T1"/>
                </a:cxn>
                <a:cxn ang="0">
                  <a:pos x="T2" y="T3"/>
                </a:cxn>
                <a:cxn ang="0">
                  <a:pos x="T4" y="T5"/>
                </a:cxn>
                <a:cxn ang="0">
                  <a:pos x="T6" y="T7"/>
                </a:cxn>
                <a:cxn ang="0">
                  <a:pos x="T8" y="T9"/>
                </a:cxn>
              </a:cxnLst>
              <a:rect l="0" t="0" r="r" b="b"/>
              <a:pathLst>
                <a:path w="1534" h="1082">
                  <a:moveTo>
                    <a:pt x="1357" y="0"/>
                  </a:moveTo>
                  <a:lnTo>
                    <a:pt x="0" y="645"/>
                  </a:lnTo>
                  <a:lnTo>
                    <a:pt x="229" y="1082"/>
                  </a:lnTo>
                  <a:lnTo>
                    <a:pt x="1534" y="339"/>
                  </a:lnTo>
                  <a:lnTo>
                    <a:pt x="1357"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3" name="Freeform 16"/>
            <p:cNvSpPr>
              <a:spLocks/>
            </p:cNvSpPr>
            <p:nvPr/>
          </p:nvSpPr>
          <p:spPr bwMode="auto">
            <a:xfrm>
              <a:off x="584200" y="2159000"/>
              <a:ext cx="2484438" cy="1312863"/>
            </a:xfrm>
            <a:custGeom>
              <a:avLst/>
              <a:gdLst>
                <a:gd name="T0" fmla="*/ 1463 w 1565"/>
                <a:gd name="T1" fmla="*/ 0 h 827"/>
                <a:gd name="T2" fmla="*/ 0 w 1565"/>
                <a:gd name="T3" fmla="*/ 350 h 827"/>
                <a:gd name="T4" fmla="*/ 134 w 1565"/>
                <a:gd name="T5" fmla="*/ 827 h 827"/>
                <a:gd name="T6" fmla="*/ 1565 w 1565"/>
                <a:gd name="T7" fmla="*/ 370 h 827"/>
                <a:gd name="T8" fmla="*/ 1463 w 1565"/>
                <a:gd name="T9" fmla="*/ 0 h 827"/>
              </a:gdLst>
              <a:ahLst/>
              <a:cxnLst>
                <a:cxn ang="0">
                  <a:pos x="T0" y="T1"/>
                </a:cxn>
                <a:cxn ang="0">
                  <a:pos x="T2" y="T3"/>
                </a:cxn>
                <a:cxn ang="0">
                  <a:pos x="T4" y="T5"/>
                </a:cxn>
                <a:cxn ang="0">
                  <a:pos x="T6" y="T7"/>
                </a:cxn>
                <a:cxn ang="0">
                  <a:pos x="T8" y="T9"/>
                </a:cxn>
              </a:cxnLst>
              <a:rect l="0" t="0" r="r" b="b"/>
              <a:pathLst>
                <a:path w="1565" h="827">
                  <a:moveTo>
                    <a:pt x="1463" y="0"/>
                  </a:moveTo>
                  <a:lnTo>
                    <a:pt x="0" y="350"/>
                  </a:lnTo>
                  <a:lnTo>
                    <a:pt x="134" y="827"/>
                  </a:lnTo>
                  <a:lnTo>
                    <a:pt x="1565" y="370"/>
                  </a:lnTo>
                  <a:lnTo>
                    <a:pt x="1463"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4" name="Freeform 17"/>
            <p:cNvSpPr>
              <a:spLocks/>
            </p:cNvSpPr>
            <p:nvPr/>
          </p:nvSpPr>
          <p:spPr bwMode="auto">
            <a:xfrm>
              <a:off x="392113" y="1006475"/>
              <a:ext cx="2422525" cy="842963"/>
            </a:xfrm>
            <a:custGeom>
              <a:avLst/>
              <a:gdLst>
                <a:gd name="T0" fmla="*/ 1502 w 1526"/>
                <a:gd name="T1" fmla="*/ 0 h 531"/>
                <a:gd name="T2" fmla="*/ 0 w 1526"/>
                <a:gd name="T3" fmla="*/ 38 h 531"/>
                <a:gd name="T4" fmla="*/ 32 w 1526"/>
                <a:gd name="T5" fmla="*/ 531 h 531"/>
                <a:gd name="T6" fmla="*/ 1526 w 1526"/>
                <a:gd name="T7" fmla="*/ 381 h 531"/>
                <a:gd name="T8" fmla="*/ 1502 w 1526"/>
                <a:gd name="T9" fmla="*/ 0 h 531"/>
              </a:gdLst>
              <a:ahLst/>
              <a:cxnLst>
                <a:cxn ang="0">
                  <a:pos x="T0" y="T1"/>
                </a:cxn>
                <a:cxn ang="0">
                  <a:pos x="T2" y="T3"/>
                </a:cxn>
                <a:cxn ang="0">
                  <a:pos x="T4" y="T5"/>
                </a:cxn>
                <a:cxn ang="0">
                  <a:pos x="T6" y="T7"/>
                </a:cxn>
                <a:cxn ang="0">
                  <a:pos x="T8" y="T9"/>
                </a:cxn>
              </a:cxnLst>
              <a:rect l="0" t="0" r="r" b="b"/>
              <a:pathLst>
                <a:path w="1526" h="531">
                  <a:moveTo>
                    <a:pt x="1502" y="0"/>
                  </a:moveTo>
                  <a:lnTo>
                    <a:pt x="0" y="38"/>
                  </a:lnTo>
                  <a:lnTo>
                    <a:pt x="32" y="531"/>
                  </a:lnTo>
                  <a:lnTo>
                    <a:pt x="1526" y="381"/>
                  </a:lnTo>
                  <a:lnTo>
                    <a:pt x="1502"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5" name="Freeform 18"/>
            <p:cNvSpPr>
              <a:spLocks/>
            </p:cNvSpPr>
            <p:nvPr/>
          </p:nvSpPr>
          <p:spPr bwMode="auto">
            <a:xfrm>
              <a:off x="433388" y="-587375"/>
              <a:ext cx="2457450" cy="1036638"/>
            </a:xfrm>
            <a:custGeom>
              <a:avLst/>
              <a:gdLst>
                <a:gd name="T0" fmla="*/ 1548 w 1548"/>
                <a:gd name="T1" fmla="*/ 273 h 653"/>
                <a:gd name="T2" fmla="*/ 71 w 1548"/>
                <a:gd name="T3" fmla="*/ 0 h 653"/>
                <a:gd name="T4" fmla="*/ 0 w 1548"/>
                <a:gd name="T5" fmla="*/ 487 h 653"/>
                <a:gd name="T6" fmla="*/ 1492 w 1548"/>
                <a:gd name="T7" fmla="*/ 653 h 653"/>
                <a:gd name="T8" fmla="*/ 1548 w 1548"/>
                <a:gd name="T9" fmla="*/ 273 h 653"/>
              </a:gdLst>
              <a:ahLst/>
              <a:cxnLst>
                <a:cxn ang="0">
                  <a:pos x="T0" y="T1"/>
                </a:cxn>
                <a:cxn ang="0">
                  <a:pos x="T2" y="T3"/>
                </a:cxn>
                <a:cxn ang="0">
                  <a:pos x="T4" y="T5"/>
                </a:cxn>
                <a:cxn ang="0">
                  <a:pos x="T6" y="T7"/>
                </a:cxn>
                <a:cxn ang="0">
                  <a:pos x="T8" y="T9"/>
                </a:cxn>
              </a:cxnLst>
              <a:rect l="0" t="0" r="r" b="b"/>
              <a:pathLst>
                <a:path w="1548" h="653">
                  <a:moveTo>
                    <a:pt x="1548" y="273"/>
                  </a:moveTo>
                  <a:lnTo>
                    <a:pt x="71" y="0"/>
                  </a:lnTo>
                  <a:lnTo>
                    <a:pt x="0" y="487"/>
                  </a:lnTo>
                  <a:lnTo>
                    <a:pt x="1492" y="653"/>
                  </a:lnTo>
                  <a:lnTo>
                    <a:pt x="1548" y="273"/>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6" name="Freeform 19"/>
            <p:cNvSpPr>
              <a:spLocks/>
            </p:cNvSpPr>
            <p:nvPr/>
          </p:nvSpPr>
          <p:spPr bwMode="auto">
            <a:xfrm>
              <a:off x="11444288" y="4532313"/>
              <a:ext cx="1890713" cy="2020888"/>
            </a:xfrm>
            <a:custGeom>
              <a:avLst/>
              <a:gdLst>
                <a:gd name="T0" fmla="*/ 0 w 1191"/>
                <a:gd name="T1" fmla="*/ 230 h 1273"/>
                <a:gd name="T2" fmla="*/ 858 w 1191"/>
                <a:gd name="T3" fmla="*/ 1273 h 1273"/>
                <a:gd name="T4" fmla="*/ 1191 w 1191"/>
                <a:gd name="T5" fmla="*/ 978 h 1273"/>
                <a:gd name="T6" fmla="*/ 257 w 1191"/>
                <a:gd name="T7" fmla="*/ 0 h 1273"/>
                <a:gd name="T8" fmla="*/ 0 w 1191"/>
                <a:gd name="T9" fmla="*/ 230 h 1273"/>
              </a:gdLst>
              <a:ahLst/>
              <a:cxnLst>
                <a:cxn ang="0">
                  <a:pos x="T0" y="T1"/>
                </a:cxn>
                <a:cxn ang="0">
                  <a:pos x="T2" y="T3"/>
                </a:cxn>
                <a:cxn ang="0">
                  <a:pos x="T4" y="T5"/>
                </a:cxn>
                <a:cxn ang="0">
                  <a:pos x="T6" y="T7"/>
                </a:cxn>
                <a:cxn ang="0">
                  <a:pos x="T8" y="T9"/>
                </a:cxn>
              </a:cxnLst>
              <a:rect l="0" t="0" r="r" b="b"/>
              <a:pathLst>
                <a:path w="1191" h="1273">
                  <a:moveTo>
                    <a:pt x="0" y="230"/>
                  </a:moveTo>
                  <a:lnTo>
                    <a:pt x="858" y="1273"/>
                  </a:lnTo>
                  <a:lnTo>
                    <a:pt x="1191" y="978"/>
                  </a:lnTo>
                  <a:lnTo>
                    <a:pt x="257" y="0"/>
                  </a:lnTo>
                  <a:lnTo>
                    <a:pt x="0" y="23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7" name="Freeform 20"/>
            <p:cNvSpPr>
              <a:spLocks/>
            </p:cNvSpPr>
            <p:nvPr/>
          </p:nvSpPr>
          <p:spPr bwMode="auto">
            <a:xfrm>
              <a:off x="10560050" y="5184775"/>
              <a:ext cx="1603375" cy="2176463"/>
            </a:xfrm>
            <a:custGeom>
              <a:avLst/>
              <a:gdLst>
                <a:gd name="T0" fmla="*/ 0 w 1010"/>
                <a:gd name="T1" fmla="*/ 170 h 1371"/>
                <a:gd name="T2" fmla="*/ 623 w 1010"/>
                <a:gd name="T3" fmla="*/ 1371 h 1371"/>
                <a:gd name="T4" fmla="*/ 1010 w 1010"/>
                <a:gd name="T5" fmla="*/ 1152 h 1371"/>
                <a:gd name="T6" fmla="*/ 299 w 1010"/>
                <a:gd name="T7" fmla="*/ 0 h 1371"/>
                <a:gd name="T8" fmla="*/ 0 w 1010"/>
                <a:gd name="T9" fmla="*/ 170 h 1371"/>
              </a:gdLst>
              <a:ahLst/>
              <a:cxnLst>
                <a:cxn ang="0">
                  <a:pos x="T0" y="T1"/>
                </a:cxn>
                <a:cxn ang="0">
                  <a:pos x="T2" y="T3"/>
                </a:cxn>
                <a:cxn ang="0">
                  <a:pos x="T4" y="T5"/>
                </a:cxn>
                <a:cxn ang="0">
                  <a:pos x="T6" y="T7"/>
                </a:cxn>
                <a:cxn ang="0">
                  <a:pos x="T8" y="T9"/>
                </a:cxn>
              </a:cxnLst>
              <a:rect l="0" t="0" r="r" b="b"/>
              <a:pathLst>
                <a:path w="1010" h="1371">
                  <a:moveTo>
                    <a:pt x="0" y="170"/>
                  </a:moveTo>
                  <a:lnTo>
                    <a:pt x="623" y="1371"/>
                  </a:lnTo>
                  <a:lnTo>
                    <a:pt x="1010" y="1152"/>
                  </a:lnTo>
                  <a:lnTo>
                    <a:pt x="299" y="0"/>
                  </a:lnTo>
                  <a:lnTo>
                    <a:pt x="0" y="17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8" name="Freeform 21"/>
            <p:cNvSpPr>
              <a:spLocks/>
            </p:cNvSpPr>
            <p:nvPr/>
          </p:nvSpPr>
          <p:spPr bwMode="auto">
            <a:xfrm>
              <a:off x="9577388" y="5654675"/>
              <a:ext cx="1246188" cy="2236788"/>
            </a:xfrm>
            <a:custGeom>
              <a:avLst/>
              <a:gdLst>
                <a:gd name="T0" fmla="*/ 0 w 785"/>
                <a:gd name="T1" fmla="*/ 103 h 1409"/>
                <a:gd name="T2" fmla="*/ 360 w 785"/>
                <a:gd name="T3" fmla="*/ 1409 h 1409"/>
                <a:gd name="T4" fmla="*/ 785 w 785"/>
                <a:gd name="T5" fmla="*/ 1273 h 1409"/>
                <a:gd name="T6" fmla="*/ 330 w 785"/>
                <a:gd name="T7" fmla="*/ 0 h 1409"/>
                <a:gd name="T8" fmla="*/ 0 w 785"/>
                <a:gd name="T9" fmla="*/ 103 h 1409"/>
              </a:gdLst>
              <a:ahLst/>
              <a:cxnLst>
                <a:cxn ang="0">
                  <a:pos x="T0" y="T1"/>
                </a:cxn>
                <a:cxn ang="0">
                  <a:pos x="T2" y="T3"/>
                </a:cxn>
                <a:cxn ang="0">
                  <a:pos x="T4" y="T5"/>
                </a:cxn>
                <a:cxn ang="0">
                  <a:pos x="T6" y="T7"/>
                </a:cxn>
                <a:cxn ang="0">
                  <a:pos x="T8" y="T9"/>
                </a:cxn>
              </a:cxnLst>
              <a:rect l="0" t="0" r="r" b="b"/>
              <a:pathLst>
                <a:path w="785" h="1409">
                  <a:moveTo>
                    <a:pt x="0" y="103"/>
                  </a:moveTo>
                  <a:lnTo>
                    <a:pt x="360" y="1409"/>
                  </a:lnTo>
                  <a:lnTo>
                    <a:pt x="785" y="1273"/>
                  </a:lnTo>
                  <a:lnTo>
                    <a:pt x="330" y="0"/>
                  </a:lnTo>
                  <a:lnTo>
                    <a:pt x="0" y="103"/>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9" name="Freeform 22"/>
            <p:cNvSpPr>
              <a:spLocks/>
            </p:cNvSpPr>
            <p:nvPr/>
          </p:nvSpPr>
          <p:spPr bwMode="auto">
            <a:xfrm>
              <a:off x="8542338" y="5919788"/>
              <a:ext cx="830263" cy="2195513"/>
            </a:xfrm>
            <a:custGeom>
              <a:avLst/>
              <a:gdLst>
                <a:gd name="T0" fmla="*/ 0 w 523"/>
                <a:gd name="T1" fmla="*/ 32 h 1383"/>
                <a:gd name="T2" fmla="*/ 82 w 523"/>
                <a:gd name="T3" fmla="*/ 1383 h 1383"/>
                <a:gd name="T4" fmla="*/ 523 w 523"/>
                <a:gd name="T5" fmla="*/ 1339 h 1383"/>
                <a:gd name="T6" fmla="*/ 343 w 523"/>
                <a:gd name="T7" fmla="*/ 0 h 1383"/>
                <a:gd name="T8" fmla="*/ 0 w 523"/>
                <a:gd name="T9" fmla="*/ 32 h 1383"/>
              </a:gdLst>
              <a:ahLst/>
              <a:cxnLst>
                <a:cxn ang="0">
                  <a:pos x="T0" y="T1"/>
                </a:cxn>
                <a:cxn ang="0">
                  <a:pos x="T2" y="T3"/>
                </a:cxn>
                <a:cxn ang="0">
                  <a:pos x="T4" y="T5"/>
                </a:cxn>
                <a:cxn ang="0">
                  <a:pos x="T6" y="T7"/>
                </a:cxn>
                <a:cxn ang="0">
                  <a:pos x="T8" y="T9"/>
                </a:cxn>
              </a:cxnLst>
              <a:rect l="0" t="0" r="r" b="b"/>
              <a:pathLst>
                <a:path w="523" h="1383">
                  <a:moveTo>
                    <a:pt x="0" y="32"/>
                  </a:moveTo>
                  <a:lnTo>
                    <a:pt x="82" y="1383"/>
                  </a:lnTo>
                  <a:lnTo>
                    <a:pt x="523" y="1339"/>
                  </a:lnTo>
                  <a:lnTo>
                    <a:pt x="343" y="0"/>
                  </a:lnTo>
                  <a:lnTo>
                    <a:pt x="0" y="3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0" name="Freeform 23"/>
            <p:cNvSpPr>
              <a:spLocks/>
            </p:cNvSpPr>
            <p:nvPr/>
          </p:nvSpPr>
          <p:spPr bwMode="auto">
            <a:xfrm>
              <a:off x="7180263" y="5903913"/>
              <a:ext cx="862013" cy="2201863"/>
            </a:xfrm>
            <a:custGeom>
              <a:avLst/>
              <a:gdLst>
                <a:gd name="T0" fmla="*/ 201 w 543"/>
                <a:gd name="T1" fmla="*/ 0 h 1387"/>
                <a:gd name="T2" fmla="*/ 0 w 543"/>
                <a:gd name="T3" fmla="*/ 1337 h 1387"/>
                <a:gd name="T4" fmla="*/ 441 w 543"/>
                <a:gd name="T5" fmla="*/ 1387 h 1387"/>
                <a:gd name="T6" fmla="*/ 543 w 543"/>
                <a:gd name="T7" fmla="*/ 40 h 1387"/>
                <a:gd name="T8" fmla="*/ 201 w 543"/>
                <a:gd name="T9" fmla="*/ 0 h 1387"/>
              </a:gdLst>
              <a:ahLst/>
              <a:cxnLst>
                <a:cxn ang="0">
                  <a:pos x="T0" y="T1"/>
                </a:cxn>
                <a:cxn ang="0">
                  <a:pos x="T2" y="T3"/>
                </a:cxn>
                <a:cxn ang="0">
                  <a:pos x="T4" y="T5"/>
                </a:cxn>
                <a:cxn ang="0">
                  <a:pos x="T6" y="T7"/>
                </a:cxn>
                <a:cxn ang="0">
                  <a:pos x="T8" y="T9"/>
                </a:cxn>
              </a:cxnLst>
              <a:rect l="0" t="0" r="r" b="b"/>
              <a:pathLst>
                <a:path w="543" h="1387">
                  <a:moveTo>
                    <a:pt x="201" y="0"/>
                  </a:moveTo>
                  <a:lnTo>
                    <a:pt x="0" y="1337"/>
                  </a:lnTo>
                  <a:lnTo>
                    <a:pt x="441" y="1387"/>
                  </a:lnTo>
                  <a:lnTo>
                    <a:pt x="543" y="40"/>
                  </a:lnTo>
                  <a:lnTo>
                    <a:pt x="201"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1" name="Freeform 24"/>
            <p:cNvSpPr>
              <a:spLocks/>
            </p:cNvSpPr>
            <p:nvPr/>
          </p:nvSpPr>
          <p:spPr bwMode="auto">
            <a:xfrm>
              <a:off x="5735638" y="5622925"/>
              <a:ext cx="1273175" cy="2233613"/>
            </a:xfrm>
            <a:custGeom>
              <a:avLst/>
              <a:gdLst>
                <a:gd name="T0" fmla="*/ 477 w 802"/>
                <a:gd name="T1" fmla="*/ 0 h 1407"/>
                <a:gd name="T2" fmla="*/ 0 w 802"/>
                <a:gd name="T3" fmla="*/ 1267 h 1407"/>
                <a:gd name="T4" fmla="*/ 423 w 802"/>
                <a:gd name="T5" fmla="*/ 1407 h 1407"/>
                <a:gd name="T6" fmla="*/ 802 w 802"/>
                <a:gd name="T7" fmla="*/ 109 h 1407"/>
                <a:gd name="T8" fmla="*/ 477 w 802"/>
                <a:gd name="T9" fmla="*/ 0 h 1407"/>
              </a:gdLst>
              <a:ahLst/>
              <a:cxnLst>
                <a:cxn ang="0">
                  <a:pos x="T0" y="T1"/>
                </a:cxn>
                <a:cxn ang="0">
                  <a:pos x="T2" y="T3"/>
                </a:cxn>
                <a:cxn ang="0">
                  <a:pos x="T4" y="T5"/>
                </a:cxn>
                <a:cxn ang="0">
                  <a:pos x="T6" y="T7"/>
                </a:cxn>
                <a:cxn ang="0">
                  <a:pos x="T8" y="T9"/>
                </a:cxn>
              </a:cxnLst>
              <a:rect l="0" t="0" r="r" b="b"/>
              <a:pathLst>
                <a:path w="802" h="1407">
                  <a:moveTo>
                    <a:pt x="477" y="0"/>
                  </a:moveTo>
                  <a:lnTo>
                    <a:pt x="0" y="1267"/>
                  </a:lnTo>
                  <a:lnTo>
                    <a:pt x="423" y="1407"/>
                  </a:lnTo>
                  <a:lnTo>
                    <a:pt x="802" y="109"/>
                  </a:lnTo>
                  <a:lnTo>
                    <a:pt x="477"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2" name="Freeform 25"/>
            <p:cNvSpPr>
              <a:spLocks/>
            </p:cNvSpPr>
            <p:nvPr/>
          </p:nvSpPr>
          <p:spPr bwMode="auto">
            <a:xfrm>
              <a:off x="4408488" y="5137150"/>
              <a:ext cx="1628775" cy="2166938"/>
            </a:xfrm>
            <a:custGeom>
              <a:avLst/>
              <a:gdLst>
                <a:gd name="T0" fmla="*/ 728 w 1026"/>
                <a:gd name="T1" fmla="*/ 0 h 1365"/>
                <a:gd name="T2" fmla="*/ 0 w 1026"/>
                <a:gd name="T3" fmla="*/ 1140 h 1365"/>
                <a:gd name="T4" fmla="*/ 383 w 1026"/>
                <a:gd name="T5" fmla="*/ 1365 h 1365"/>
                <a:gd name="T6" fmla="*/ 1026 w 1026"/>
                <a:gd name="T7" fmla="*/ 174 h 1365"/>
                <a:gd name="T8" fmla="*/ 728 w 1026"/>
                <a:gd name="T9" fmla="*/ 0 h 1365"/>
              </a:gdLst>
              <a:ahLst/>
              <a:cxnLst>
                <a:cxn ang="0">
                  <a:pos x="T0" y="T1"/>
                </a:cxn>
                <a:cxn ang="0">
                  <a:pos x="T2" y="T3"/>
                </a:cxn>
                <a:cxn ang="0">
                  <a:pos x="T4" y="T5"/>
                </a:cxn>
                <a:cxn ang="0">
                  <a:pos x="T6" y="T7"/>
                </a:cxn>
                <a:cxn ang="0">
                  <a:pos x="T8" y="T9"/>
                </a:cxn>
              </a:cxnLst>
              <a:rect l="0" t="0" r="r" b="b"/>
              <a:pathLst>
                <a:path w="1026" h="1365">
                  <a:moveTo>
                    <a:pt x="728" y="0"/>
                  </a:moveTo>
                  <a:lnTo>
                    <a:pt x="0" y="1140"/>
                  </a:lnTo>
                  <a:lnTo>
                    <a:pt x="383" y="1365"/>
                  </a:lnTo>
                  <a:lnTo>
                    <a:pt x="1026" y="174"/>
                  </a:lnTo>
                  <a:lnTo>
                    <a:pt x="728"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3" name="Freeform 26"/>
            <p:cNvSpPr>
              <a:spLocks/>
            </p:cNvSpPr>
            <p:nvPr/>
          </p:nvSpPr>
          <p:spPr bwMode="auto">
            <a:xfrm>
              <a:off x="3252788" y="4468813"/>
              <a:ext cx="1909763" cy="2006600"/>
            </a:xfrm>
            <a:custGeom>
              <a:avLst/>
              <a:gdLst>
                <a:gd name="T0" fmla="*/ 949 w 1203"/>
                <a:gd name="T1" fmla="*/ 0 h 1264"/>
                <a:gd name="T2" fmla="*/ 0 w 1203"/>
                <a:gd name="T3" fmla="*/ 964 h 1264"/>
                <a:gd name="T4" fmla="*/ 327 w 1203"/>
                <a:gd name="T5" fmla="*/ 1264 h 1264"/>
                <a:gd name="T6" fmla="*/ 1203 w 1203"/>
                <a:gd name="T7" fmla="*/ 234 h 1264"/>
                <a:gd name="T8" fmla="*/ 949 w 1203"/>
                <a:gd name="T9" fmla="*/ 0 h 1264"/>
              </a:gdLst>
              <a:ahLst/>
              <a:cxnLst>
                <a:cxn ang="0">
                  <a:pos x="T0" y="T1"/>
                </a:cxn>
                <a:cxn ang="0">
                  <a:pos x="T2" y="T3"/>
                </a:cxn>
                <a:cxn ang="0">
                  <a:pos x="T4" y="T5"/>
                </a:cxn>
                <a:cxn ang="0">
                  <a:pos x="T6" y="T7"/>
                </a:cxn>
                <a:cxn ang="0">
                  <a:pos x="T8" y="T9"/>
                </a:cxn>
              </a:cxnLst>
              <a:rect l="0" t="0" r="r" b="b"/>
              <a:pathLst>
                <a:path w="1203" h="1264">
                  <a:moveTo>
                    <a:pt x="949" y="0"/>
                  </a:moveTo>
                  <a:lnTo>
                    <a:pt x="0" y="964"/>
                  </a:lnTo>
                  <a:lnTo>
                    <a:pt x="327" y="1264"/>
                  </a:lnTo>
                  <a:lnTo>
                    <a:pt x="1203" y="234"/>
                  </a:lnTo>
                  <a:lnTo>
                    <a:pt x="94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4" name="Freeform 27"/>
            <p:cNvSpPr>
              <a:spLocks/>
            </p:cNvSpPr>
            <p:nvPr/>
          </p:nvSpPr>
          <p:spPr bwMode="auto">
            <a:xfrm>
              <a:off x="2317750" y="3648075"/>
              <a:ext cx="2109788" cy="1758950"/>
            </a:xfrm>
            <a:custGeom>
              <a:avLst/>
              <a:gdLst>
                <a:gd name="T0" fmla="*/ 1129 w 1329"/>
                <a:gd name="T1" fmla="*/ 0 h 1108"/>
                <a:gd name="T2" fmla="*/ 0 w 1329"/>
                <a:gd name="T3" fmla="*/ 747 h 1108"/>
                <a:gd name="T4" fmla="*/ 259 w 1329"/>
                <a:gd name="T5" fmla="*/ 1108 h 1108"/>
                <a:gd name="T6" fmla="*/ 1329 w 1329"/>
                <a:gd name="T7" fmla="*/ 282 h 1108"/>
                <a:gd name="T8" fmla="*/ 1129 w 1329"/>
                <a:gd name="T9" fmla="*/ 0 h 1108"/>
              </a:gdLst>
              <a:ahLst/>
              <a:cxnLst>
                <a:cxn ang="0">
                  <a:pos x="T0" y="T1"/>
                </a:cxn>
                <a:cxn ang="0">
                  <a:pos x="T2" y="T3"/>
                </a:cxn>
                <a:cxn ang="0">
                  <a:pos x="T4" y="T5"/>
                </a:cxn>
                <a:cxn ang="0">
                  <a:pos x="T6" y="T7"/>
                </a:cxn>
                <a:cxn ang="0">
                  <a:pos x="T8" y="T9"/>
                </a:cxn>
              </a:cxnLst>
              <a:rect l="0" t="0" r="r" b="b"/>
              <a:pathLst>
                <a:path w="1329" h="1108">
                  <a:moveTo>
                    <a:pt x="1129" y="0"/>
                  </a:moveTo>
                  <a:lnTo>
                    <a:pt x="0" y="747"/>
                  </a:lnTo>
                  <a:lnTo>
                    <a:pt x="259" y="1108"/>
                  </a:lnTo>
                  <a:lnTo>
                    <a:pt x="1329" y="282"/>
                  </a:lnTo>
                  <a:lnTo>
                    <a:pt x="112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5" name="Freeform 28"/>
            <p:cNvSpPr>
              <a:spLocks/>
            </p:cNvSpPr>
            <p:nvPr/>
          </p:nvSpPr>
          <p:spPr bwMode="auto">
            <a:xfrm>
              <a:off x="1646238" y="2711450"/>
              <a:ext cx="2217738" cy="1431925"/>
            </a:xfrm>
            <a:custGeom>
              <a:avLst/>
              <a:gdLst>
                <a:gd name="T0" fmla="*/ 1259 w 1397"/>
                <a:gd name="T1" fmla="*/ 0 h 902"/>
                <a:gd name="T2" fmla="*/ 0 w 1397"/>
                <a:gd name="T3" fmla="*/ 495 h 902"/>
                <a:gd name="T4" fmla="*/ 177 w 1397"/>
                <a:gd name="T5" fmla="*/ 902 h 902"/>
                <a:gd name="T6" fmla="*/ 1397 w 1397"/>
                <a:gd name="T7" fmla="*/ 317 h 902"/>
                <a:gd name="T8" fmla="*/ 1259 w 1397"/>
                <a:gd name="T9" fmla="*/ 0 h 902"/>
              </a:gdLst>
              <a:ahLst/>
              <a:cxnLst>
                <a:cxn ang="0">
                  <a:pos x="T0" y="T1"/>
                </a:cxn>
                <a:cxn ang="0">
                  <a:pos x="T2" y="T3"/>
                </a:cxn>
                <a:cxn ang="0">
                  <a:pos x="T4" y="T5"/>
                </a:cxn>
                <a:cxn ang="0">
                  <a:pos x="T6" y="T7"/>
                </a:cxn>
                <a:cxn ang="0">
                  <a:pos x="T8" y="T9"/>
                </a:cxn>
              </a:cxnLst>
              <a:rect l="0" t="0" r="r" b="b"/>
              <a:pathLst>
                <a:path w="1397" h="902">
                  <a:moveTo>
                    <a:pt x="1259" y="0"/>
                  </a:moveTo>
                  <a:lnTo>
                    <a:pt x="0" y="495"/>
                  </a:lnTo>
                  <a:lnTo>
                    <a:pt x="177" y="902"/>
                  </a:lnTo>
                  <a:lnTo>
                    <a:pt x="1397" y="317"/>
                  </a:lnTo>
                  <a:lnTo>
                    <a:pt x="125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6" name="Freeform 29"/>
            <p:cNvSpPr>
              <a:spLocks/>
            </p:cNvSpPr>
            <p:nvPr/>
          </p:nvSpPr>
          <p:spPr bwMode="auto">
            <a:xfrm>
              <a:off x="1268413" y="1697038"/>
              <a:ext cx="2227263" cy="1046163"/>
            </a:xfrm>
            <a:custGeom>
              <a:avLst/>
              <a:gdLst>
                <a:gd name="T0" fmla="*/ 1333 w 1403"/>
                <a:gd name="T1" fmla="*/ 0 h 659"/>
                <a:gd name="T2" fmla="*/ 0 w 1403"/>
                <a:gd name="T3" fmla="*/ 224 h 659"/>
                <a:gd name="T4" fmla="*/ 88 w 1403"/>
                <a:gd name="T5" fmla="*/ 659 h 659"/>
                <a:gd name="T6" fmla="*/ 1403 w 1403"/>
                <a:gd name="T7" fmla="*/ 339 h 659"/>
                <a:gd name="T8" fmla="*/ 1333 w 1403"/>
                <a:gd name="T9" fmla="*/ 0 h 659"/>
              </a:gdLst>
              <a:ahLst/>
              <a:cxnLst>
                <a:cxn ang="0">
                  <a:pos x="T0" y="T1"/>
                </a:cxn>
                <a:cxn ang="0">
                  <a:pos x="T2" y="T3"/>
                </a:cxn>
                <a:cxn ang="0">
                  <a:pos x="T4" y="T5"/>
                </a:cxn>
                <a:cxn ang="0">
                  <a:pos x="T6" y="T7"/>
                </a:cxn>
                <a:cxn ang="0">
                  <a:pos x="T8" y="T9"/>
                </a:cxn>
              </a:cxnLst>
              <a:rect l="0" t="0" r="r" b="b"/>
              <a:pathLst>
                <a:path w="1403" h="659">
                  <a:moveTo>
                    <a:pt x="1333" y="0"/>
                  </a:moveTo>
                  <a:lnTo>
                    <a:pt x="0" y="224"/>
                  </a:lnTo>
                  <a:lnTo>
                    <a:pt x="88" y="659"/>
                  </a:lnTo>
                  <a:lnTo>
                    <a:pt x="1403" y="339"/>
                  </a:lnTo>
                  <a:lnTo>
                    <a:pt x="1333"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7" name="Freeform 30"/>
            <p:cNvSpPr>
              <a:spLocks/>
            </p:cNvSpPr>
            <p:nvPr/>
          </p:nvSpPr>
          <p:spPr bwMode="auto">
            <a:xfrm>
              <a:off x="1193800" y="557213"/>
              <a:ext cx="2149475" cy="706438"/>
            </a:xfrm>
            <a:custGeom>
              <a:avLst/>
              <a:gdLst>
                <a:gd name="T0" fmla="*/ 1354 w 1354"/>
                <a:gd name="T1" fmla="*/ 59 h 445"/>
                <a:gd name="T2" fmla="*/ 4 w 1354"/>
                <a:gd name="T3" fmla="*/ 0 h 445"/>
                <a:gd name="T4" fmla="*/ 0 w 1354"/>
                <a:gd name="T5" fmla="*/ 445 h 445"/>
                <a:gd name="T6" fmla="*/ 1352 w 1354"/>
                <a:gd name="T7" fmla="*/ 405 h 445"/>
                <a:gd name="T8" fmla="*/ 1354 w 1354"/>
                <a:gd name="T9" fmla="*/ 59 h 445"/>
              </a:gdLst>
              <a:ahLst/>
              <a:cxnLst>
                <a:cxn ang="0">
                  <a:pos x="T0" y="T1"/>
                </a:cxn>
                <a:cxn ang="0">
                  <a:pos x="T2" y="T3"/>
                </a:cxn>
                <a:cxn ang="0">
                  <a:pos x="T4" y="T5"/>
                </a:cxn>
                <a:cxn ang="0">
                  <a:pos x="T6" y="T7"/>
                </a:cxn>
                <a:cxn ang="0">
                  <a:pos x="T8" y="T9"/>
                </a:cxn>
              </a:cxnLst>
              <a:rect l="0" t="0" r="r" b="b"/>
              <a:pathLst>
                <a:path w="1354" h="445">
                  <a:moveTo>
                    <a:pt x="1354" y="59"/>
                  </a:moveTo>
                  <a:lnTo>
                    <a:pt x="4" y="0"/>
                  </a:lnTo>
                  <a:lnTo>
                    <a:pt x="0" y="445"/>
                  </a:lnTo>
                  <a:lnTo>
                    <a:pt x="1352" y="405"/>
                  </a:lnTo>
                  <a:lnTo>
                    <a:pt x="1354" y="59"/>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8" name="Freeform 31"/>
            <p:cNvSpPr>
              <a:spLocks/>
            </p:cNvSpPr>
            <p:nvPr/>
          </p:nvSpPr>
          <p:spPr bwMode="auto">
            <a:xfrm>
              <a:off x="12336463" y="5213350"/>
              <a:ext cx="2389188" cy="2452688"/>
            </a:xfrm>
            <a:custGeom>
              <a:avLst/>
              <a:gdLst>
                <a:gd name="T0" fmla="*/ 0 w 1505"/>
                <a:gd name="T1" fmla="*/ 294 h 1545"/>
                <a:gd name="T2" fmla="*/ 1106 w 1505"/>
                <a:gd name="T3" fmla="*/ 1545 h 1545"/>
                <a:gd name="T4" fmla="*/ 1505 w 1505"/>
                <a:gd name="T5" fmla="*/ 1168 h 1545"/>
                <a:gd name="T6" fmla="*/ 310 w 1505"/>
                <a:gd name="T7" fmla="*/ 0 h 1545"/>
                <a:gd name="T8" fmla="*/ 0 w 1505"/>
                <a:gd name="T9" fmla="*/ 294 h 1545"/>
              </a:gdLst>
              <a:ahLst/>
              <a:cxnLst>
                <a:cxn ang="0">
                  <a:pos x="T0" y="T1"/>
                </a:cxn>
                <a:cxn ang="0">
                  <a:pos x="T2" y="T3"/>
                </a:cxn>
                <a:cxn ang="0">
                  <a:pos x="T4" y="T5"/>
                </a:cxn>
                <a:cxn ang="0">
                  <a:pos x="T6" y="T7"/>
                </a:cxn>
                <a:cxn ang="0">
                  <a:pos x="T8" y="T9"/>
                </a:cxn>
              </a:cxnLst>
              <a:rect l="0" t="0" r="r" b="b"/>
              <a:pathLst>
                <a:path w="1505" h="1545">
                  <a:moveTo>
                    <a:pt x="0" y="294"/>
                  </a:moveTo>
                  <a:lnTo>
                    <a:pt x="1106" y="1545"/>
                  </a:lnTo>
                  <a:lnTo>
                    <a:pt x="1505" y="1168"/>
                  </a:lnTo>
                  <a:lnTo>
                    <a:pt x="310" y="0"/>
                  </a:lnTo>
                  <a:lnTo>
                    <a:pt x="0" y="294"/>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9" name="Freeform 32"/>
            <p:cNvSpPr>
              <a:spLocks/>
            </p:cNvSpPr>
            <p:nvPr/>
          </p:nvSpPr>
          <p:spPr bwMode="auto">
            <a:xfrm>
              <a:off x="11272838" y="6056313"/>
              <a:ext cx="2043113" cy="2662238"/>
            </a:xfrm>
            <a:custGeom>
              <a:avLst/>
              <a:gdLst>
                <a:gd name="T0" fmla="*/ 0 w 1287"/>
                <a:gd name="T1" fmla="*/ 222 h 1677"/>
                <a:gd name="T2" fmla="*/ 820 w 1287"/>
                <a:gd name="T3" fmla="*/ 1677 h 1677"/>
                <a:gd name="T4" fmla="*/ 1287 w 1287"/>
                <a:gd name="T5" fmla="*/ 1389 h 1677"/>
                <a:gd name="T6" fmla="*/ 361 w 1287"/>
                <a:gd name="T7" fmla="*/ 0 h 1677"/>
                <a:gd name="T8" fmla="*/ 0 w 1287"/>
                <a:gd name="T9" fmla="*/ 222 h 1677"/>
              </a:gdLst>
              <a:ahLst/>
              <a:cxnLst>
                <a:cxn ang="0">
                  <a:pos x="T0" y="T1"/>
                </a:cxn>
                <a:cxn ang="0">
                  <a:pos x="T2" y="T3"/>
                </a:cxn>
                <a:cxn ang="0">
                  <a:pos x="T4" y="T5"/>
                </a:cxn>
                <a:cxn ang="0">
                  <a:pos x="T6" y="T7"/>
                </a:cxn>
                <a:cxn ang="0">
                  <a:pos x="T8" y="T9"/>
                </a:cxn>
              </a:cxnLst>
              <a:rect l="0" t="0" r="r" b="b"/>
              <a:pathLst>
                <a:path w="1287" h="1677">
                  <a:moveTo>
                    <a:pt x="0" y="222"/>
                  </a:moveTo>
                  <a:lnTo>
                    <a:pt x="820" y="1677"/>
                  </a:lnTo>
                  <a:lnTo>
                    <a:pt x="1287" y="1389"/>
                  </a:lnTo>
                  <a:lnTo>
                    <a:pt x="361" y="0"/>
                  </a:lnTo>
                  <a:lnTo>
                    <a:pt x="0" y="22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0" name="Freeform 33"/>
            <p:cNvSpPr>
              <a:spLocks/>
            </p:cNvSpPr>
            <p:nvPr/>
          </p:nvSpPr>
          <p:spPr bwMode="auto">
            <a:xfrm>
              <a:off x="10079038" y="6673850"/>
              <a:ext cx="1611313" cy="2754313"/>
            </a:xfrm>
            <a:custGeom>
              <a:avLst/>
              <a:gdLst>
                <a:gd name="T0" fmla="*/ 0 w 1015"/>
                <a:gd name="T1" fmla="*/ 142 h 1735"/>
                <a:gd name="T2" fmla="*/ 499 w 1015"/>
                <a:gd name="T3" fmla="*/ 1735 h 1735"/>
                <a:gd name="T4" fmla="*/ 1015 w 1015"/>
                <a:gd name="T5" fmla="*/ 1551 h 1735"/>
                <a:gd name="T6" fmla="*/ 401 w 1015"/>
                <a:gd name="T7" fmla="*/ 0 h 1735"/>
                <a:gd name="T8" fmla="*/ 0 w 1015"/>
                <a:gd name="T9" fmla="*/ 142 h 1735"/>
              </a:gdLst>
              <a:ahLst/>
              <a:cxnLst>
                <a:cxn ang="0">
                  <a:pos x="T0" y="T1"/>
                </a:cxn>
                <a:cxn ang="0">
                  <a:pos x="T2" y="T3"/>
                </a:cxn>
                <a:cxn ang="0">
                  <a:pos x="T4" y="T5"/>
                </a:cxn>
                <a:cxn ang="0">
                  <a:pos x="T6" y="T7"/>
                </a:cxn>
                <a:cxn ang="0">
                  <a:pos x="T8" y="T9"/>
                </a:cxn>
              </a:cxnLst>
              <a:rect l="0" t="0" r="r" b="b"/>
              <a:pathLst>
                <a:path w="1015" h="1735">
                  <a:moveTo>
                    <a:pt x="0" y="142"/>
                  </a:moveTo>
                  <a:lnTo>
                    <a:pt x="499" y="1735"/>
                  </a:lnTo>
                  <a:lnTo>
                    <a:pt x="1015" y="1551"/>
                  </a:lnTo>
                  <a:lnTo>
                    <a:pt x="401" y="0"/>
                  </a:lnTo>
                  <a:lnTo>
                    <a:pt x="0" y="14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1" name="Freeform 34"/>
            <p:cNvSpPr>
              <a:spLocks/>
            </p:cNvSpPr>
            <p:nvPr/>
          </p:nvSpPr>
          <p:spPr bwMode="auto">
            <a:xfrm>
              <a:off x="8805863" y="7042150"/>
              <a:ext cx="1114425" cy="2727325"/>
            </a:xfrm>
            <a:custGeom>
              <a:avLst/>
              <a:gdLst>
                <a:gd name="T0" fmla="*/ 0 w 702"/>
                <a:gd name="T1" fmla="*/ 56 h 1718"/>
                <a:gd name="T2" fmla="*/ 159 w 702"/>
                <a:gd name="T3" fmla="*/ 1718 h 1718"/>
                <a:gd name="T4" fmla="*/ 702 w 702"/>
                <a:gd name="T5" fmla="*/ 1646 h 1718"/>
                <a:gd name="T6" fmla="*/ 423 w 702"/>
                <a:gd name="T7" fmla="*/ 0 h 1718"/>
                <a:gd name="T8" fmla="*/ 0 w 702"/>
                <a:gd name="T9" fmla="*/ 56 h 1718"/>
              </a:gdLst>
              <a:ahLst/>
              <a:cxnLst>
                <a:cxn ang="0">
                  <a:pos x="T0" y="T1"/>
                </a:cxn>
                <a:cxn ang="0">
                  <a:pos x="T2" y="T3"/>
                </a:cxn>
                <a:cxn ang="0">
                  <a:pos x="T4" y="T5"/>
                </a:cxn>
                <a:cxn ang="0">
                  <a:pos x="T6" y="T7"/>
                </a:cxn>
                <a:cxn ang="0">
                  <a:pos x="T8" y="T9"/>
                </a:cxn>
              </a:cxnLst>
              <a:rect l="0" t="0" r="r" b="b"/>
              <a:pathLst>
                <a:path w="702" h="1718">
                  <a:moveTo>
                    <a:pt x="0" y="56"/>
                  </a:moveTo>
                  <a:lnTo>
                    <a:pt x="159" y="1718"/>
                  </a:lnTo>
                  <a:lnTo>
                    <a:pt x="702" y="1646"/>
                  </a:lnTo>
                  <a:lnTo>
                    <a:pt x="423" y="0"/>
                  </a:lnTo>
                  <a:lnTo>
                    <a:pt x="0" y="56"/>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2" name="Freeform 35"/>
            <p:cNvSpPr>
              <a:spLocks/>
            </p:cNvSpPr>
            <p:nvPr/>
          </p:nvSpPr>
          <p:spPr bwMode="auto">
            <a:xfrm>
              <a:off x="7212013" y="7096125"/>
              <a:ext cx="974725" cy="2698750"/>
            </a:xfrm>
            <a:custGeom>
              <a:avLst/>
              <a:gdLst>
                <a:gd name="T0" fmla="*/ 191 w 614"/>
                <a:gd name="T1" fmla="*/ 0 h 1700"/>
                <a:gd name="T2" fmla="*/ 0 w 614"/>
                <a:gd name="T3" fmla="*/ 1658 h 1700"/>
                <a:gd name="T4" fmla="*/ 547 w 614"/>
                <a:gd name="T5" fmla="*/ 1700 h 1700"/>
                <a:gd name="T6" fmla="*/ 614 w 614"/>
                <a:gd name="T7" fmla="*/ 32 h 1700"/>
                <a:gd name="T8" fmla="*/ 191 w 614"/>
                <a:gd name="T9" fmla="*/ 0 h 1700"/>
              </a:gdLst>
              <a:ahLst/>
              <a:cxnLst>
                <a:cxn ang="0">
                  <a:pos x="T0" y="T1"/>
                </a:cxn>
                <a:cxn ang="0">
                  <a:pos x="T2" y="T3"/>
                </a:cxn>
                <a:cxn ang="0">
                  <a:pos x="T4" y="T5"/>
                </a:cxn>
                <a:cxn ang="0">
                  <a:pos x="T6" y="T7"/>
                </a:cxn>
                <a:cxn ang="0">
                  <a:pos x="T8" y="T9"/>
                </a:cxn>
              </a:cxnLst>
              <a:rect l="0" t="0" r="r" b="b"/>
              <a:pathLst>
                <a:path w="614" h="1700">
                  <a:moveTo>
                    <a:pt x="191" y="0"/>
                  </a:moveTo>
                  <a:lnTo>
                    <a:pt x="0" y="1658"/>
                  </a:lnTo>
                  <a:lnTo>
                    <a:pt x="547" y="1700"/>
                  </a:lnTo>
                  <a:lnTo>
                    <a:pt x="614" y="32"/>
                  </a:lnTo>
                  <a:lnTo>
                    <a:pt x="191"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3" name="Freeform 36"/>
            <p:cNvSpPr>
              <a:spLocks/>
            </p:cNvSpPr>
            <p:nvPr/>
          </p:nvSpPr>
          <p:spPr bwMode="auto">
            <a:xfrm>
              <a:off x="5414963" y="6788150"/>
              <a:ext cx="1492250" cy="2759075"/>
            </a:xfrm>
            <a:custGeom>
              <a:avLst/>
              <a:gdLst>
                <a:gd name="T0" fmla="*/ 533 w 940"/>
                <a:gd name="T1" fmla="*/ 0 h 1738"/>
                <a:gd name="T2" fmla="*/ 0 w 940"/>
                <a:gd name="T3" fmla="*/ 1585 h 1738"/>
                <a:gd name="T4" fmla="*/ 527 w 940"/>
                <a:gd name="T5" fmla="*/ 1738 h 1738"/>
                <a:gd name="T6" fmla="*/ 940 w 940"/>
                <a:gd name="T7" fmla="*/ 122 h 1738"/>
                <a:gd name="T8" fmla="*/ 533 w 940"/>
                <a:gd name="T9" fmla="*/ 0 h 1738"/>
              </a:gdLst>
              <a:ahLst/>
              <a:cxnLst>
                <a:cxn ang="0">
                  <a:pos x="T0" y="T1"/>
                </a:cxn>
                <a:cxn ang="0">
                  <a:pos x="T2" y="T3"/>
                </a:cxn>
                <a:cxn ang="0">
                  <a:pos x="T4" y="T5"/>
                </a:cxn>
                <a:cxn ang="0">
                  <a:pos x="T6" y="T7"/>
                </a:cxn>
                <a:cxn ang="0">
                  <a:pos x="T8" y="T9"/>
                </a:cxn>
              </a:cxnLst>
              <a:rect l="0" t="0" r="r" b="b"/>
              <a:pathLst>
                <a:path w="940" h="1738">
                  <a:moveTo>
                    <a:pt x="533" y="0"/>
                  </a:moveTo>
                  <a:lnTo>
                    <a:pt x="0" y="1585"/>
                  </a:lnTo>
                  <a:lnTo>
                    <a:pt x="527" y="1738"/>
                  </a:lnTo>
                  <a:lnTo>
                    <a:pt x="940" y="122"/>
                  </a:lnTo>
                  <a:lnTo>
                    <a:pt x="533"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4" name="Freeform 37"/>
            <p:cNvSpPr>
              <a:spLocks/>
            </p:cNvSpPr>
            <p:nvPr/>
          </p:nvSpPr>
          <p:spPr bwMode="auto">
            <a:xfrm>
              <a:off x="3746500" y="6230938"/>
              <a:ext cx="1941513" cy="2695575"/>
            </a:xfrm>
            <a:custGeom>
              <a:avLst/>
              <a:gdLst>
                <a:gd name="T0" fmla="*/ 850 w 1223"/>
                <a:gd name="T1" fmla="*/ 0 h 1698"/>
                <a:gd name="T2" fmla="*/ 0 w 1223"/>
                <a:gd name="T3" fmla="*/ 1437 h 1698"/>
                <a:gd name="T4" fmla="*/ 483 w 1223"/>
                <a:gd name="T5" fmla="*/ 1698 h 1698"/>
                <a:gd name="T6" fmla="*/ 1223 w 1223"/>
                <a:gd name="T7" fmla="*/ 203 h 1698"/>
                <a:gd name="T8" fmla="*/ 850 w 1223"/>
                <a:gd name="T9" fmla="*/ 0 h 1698"/>
              </a:gdLst>
              <a:ahLst/>
              <a:cxnLst>
                <a:cxn ang="0">
                  <a:pos x="T0" y="T1"/>
                </a:cxn>
                <a:cxn ang="0">
                  <a:pos x="T2" y="T3"/>
                </a:cxn>
                <a:cxn ang="0">
                  <a:pos x="T4" y="T5"/>
                </a:cxn>
                <a:cxn ang="0">
                  <a:pos x="T6" y="T7"/>
                </a:cxn>
                <a:cxn ang="0">
                  <a:pos x="T8" y="T9"/>
                </a:cxn>
              </a:cxnLst>
              <a:rect l="0" t="0" r="r" b="b"/>
              <a:pathLst>
                <a:path w="1223" h="1698">
                  <a:moveTo>
                    <a:pt x="850" y="0"/>
                  </a:moveTo>
                  <a:lnTo>
                    <a:pt x="0" y="1437"/>
                  </a:lnTo>
                  <a:lnTo>
                    <a:pt x="483" y="1698"/>
                  </a:lnTo>
                  <a:lnTo>
                    <a:pt x="1223" y="203"/>
                  </a:lnTo>
                  <a:lnTo>
                    <a:pt x="850"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5" name="Freeform 38"/>
            <p:cNvSpPr>
              <a:spLocks/>
            </p:cNvSpPr>
            <p:nvPr/>
          </p:nvSpPr>
          <p:spPr bwMode="auto">
            <a:xfrm>
              <a:off x="2279650" y="5441950"/>
              <a:ext cx="2306638" cy="2516188"/>
            </a:xfrm>
            <a:custGeom>
              <a:avLst/>
              <a:gdLst>
                <a:gd name="T0" fmla="*/ 1129 w 1453"/>
                <a:gd name="T1" fmla="*/ 0 h 1585"/>
                <a:gd name="T2" fmla="*/ 0 w 1453"/>
                <a:gd name="T3" fmla="*/ 1229 h 1585"/>
                <a:gd name="T4" fmla="*/ 417 w 1453"/>
                <a:gd name="T5" fmla="*/ 1585 h 1585"/>
                <a:gd name="T6" fmla="*/ 1453 w 1453"/>
                <a:gd name="T7" fmla="*/ 275 h 1585"/>
                <a:gd name="T8" fmla="*/ 1129 w 1453"/>
                <a:gd name="T9" fmla="*/ 0 h 1585"/>
              </a:gdLst>
              <a:ahLst/>
              <a:cxnLst>
                <a:cxn ang="0">
                  <a:pos x="T0" y="T1"/>
                </a:cxn>
                <a:cxn ang="0">
                  <a:pos x="T2" y="T3"/>
                </a:cxn>
                <a:cxn ang="0">
                  <a:pos x="T4" y="T5"/>
                </a:cxn>
                <a:cxn ang="0">
                  <a:pos x="T6" y="T7"/>
                </a:cxn>
                <a:cxn ang="0">
                  <a:pos x="T8" y="T9"/>
                </a:cxn>
              </a:cxnLst>
              <a:rect l="0" t="0" r="r" b="b"/>
              <a:pathLst>
                <a:path w="1453" h="1585">
                  <a:moveTo>
                    <a:pt x="1129" y="0"/>
                  </a:moveTo>
                  <a:lnTo>
                    <a:pt x="0" y="1229"/>
                  </a:lnTo>
                  <a:lnTo>
                    <a:pt x="417" y="1585"/>
                  </a:lnTo>
                  <a:lnTo>
                    <a:pt x="1453" y="275"/>
                  </a:lnTo>
                  <a:lnTo>
                    <a:pt x="112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6" name="Freeform 39"/>
            <p:cNvSpPr>
              <a:spLocks/>
            </p:cNvSpPr>
            <p:nvPr/>
          </p:nvSpPr>
          <p:spPr bwMode="auto">
            <a:xfrm>
              <a:off x="1076325" y="4456113"/>
              <a:ext cx="2571750" cy="2227263"/>
            </a:xfrm>
            <a:custGeom>
              <a:avLst/>
              <a:gdLst>
                <a:gd name="T0" fmla="*/ 1361 w 1620"/>
                <a:gd name="T1" fmla="*/ 0 h 1403"/>
                <a:gd name="T2" fmla="*/ 0 w 1620"/>
                <a:gd name="T3" fmla="*/ 968 h 1403"/>
                <a:gd name="T4" fmla="*/ 335 w 1620"/>
                <a:gd name="T5" fmla="*/ 1403 h 1403"/>
                <a:gd name="T6" fmla="*/ 1620 w 1620"/>
                <a:gd name="T7" fmla="*/ 338 h 1403"/>
                <a:gd name="T8" fmla="*/ 1361 w 1620"/>
                <a:gd name="T9" fmla="*/ 0 h 1403"/>
              </a:gdLst>
              <a:ahLst/>
              <a:cxnLst>
                <a:cxn ang="0">
                  <a:pos x="T0" y="T1"/>
                </a:cxn>
                <a:cxn ang="0">
                  <a:pos x="T2" y="T3"/>
                </a:cxn>
                <a:cxn ang="0">
                  <a:pos x="T4" y="T5"/>
                </a:cxn>
                <a:cxn ang="0">
                  <a:pos x="T6" y="T7"/>
                </a:cxn>
                <a:cxn ang="0">
                  <a:pos x="T8" y="T9"/>
                </a:cxn>
              </a:cxnLst>
              <a:rect l="0" t="0" r="r" b="b"/>
              <a:pathLst>
                <a:path w="1620" h="1403">
                  <a:moveTo>
                    <a:pt x="1361" y="0"/>
                  </a:moveTo>
                  <a:lnTo>
                    <a:pt x="0" y="968"/>
                  </a:lnTo>
                  <a:lnTo>
                    <a:pt x="335" y="1403"/>
                  </a:lnTo>
                  <a:lnTo>
                    <a:pt x="1620" y="338"/>
                  </a:lnTo>
                  <a:lnTo>
                    <a:pt x="1361"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7" name="Freeform 40"/>
            <p:cNvSpPr>
              <a:spLocks/>
            </p:cNvSpPr>
            <p:nvPr/>
          </p:nvSpPr>
          <p:spPr bwMode="auto">
            <a:xfrm>
              <a:off x="192088" y="3319463"/>
              <a:ext cx="2720975" cy="1839913"/>
            </a:xfrm>
            <a:custGeom>
              <a:avLst/>
              <a:gdLst>
                <a:gd name="T0" fmla="*/ 1530 w 1714"/>
                <a:gd name="T1" fmla="*/ 0 h 1159"/>
                <a:gd name="T2" fmla="*/ 0 w 1714"/>
                <a:gd name="T3" fmla="*/ 664 h 1159"/>
                <a:gd name="T4" fmla="*/ 235 w 1714"/>
                <a:gd name="T5" fmla="*/ 1159 h 1159"/>
                <a:gd name="T6" fmla="*/ 1714 w 1714"/>
                <a:gd name="T7" fmla="*/ 385 h 1159"/>
                <a:gd name="T8" fmla="*/ 1530 w 1714"/>
                <a:gd name="T9" fmla="*/ 0 h 1159"/>
              </a:gdLst>
              <a:ahLst/>
              <a:cxnLst>
                <a:cxn ang="0">
                  <a:pos x="T0" y="T1"/>
                </a:cxn>
                <a:cxn ang="0">
                  <a:pos x="T2" y="T3"/>
                </a:cxn>
                <a:cxn ang="0">
                  <a:pos x="T4" y="T5"/>
                </a:cxn>
                <a:cxn ang="0">
                  <a:pos x="T6" y="T7"/>
                </a:cxn>
                <a:cxn ang="0">
                  <a:pos x="T8" y="T9"/>
                </a:cxn>
              </a:cxnLst>
              <a:rect l="0" t="0" r="r" b="b"/>
              <a:pathLst>
                <a:path w="1714" h="1159">
                  <a:moveTo>
                    <a:pt x="1530" y="0"/>
                  </a:moveTo>
                  <a:lnTo>
                    <a:pt x="0" y="664"/>
                  </a:lnTo>
                  <a:lnTo>
                    <a:pt x="235" y="1159"/>
                  </a:lnTo>
                  <a:lnTo>
                    <a:pt x="1714" y="385"/>
                  </a:lnTo>
                  <a:lnTo>
                    <a:pt x="1530"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8" name="Freeform 41"/>
            <p:cNvSpPr>
              <a:spLocks/>
            </p:cNvSpPr>
            <p:nvPr/>
          </p:nvSpPr>
          <p:spPr bwMode="auto">
            <a:xfrm>
              <a:off x="-336550" y="2079625"/>
              <a:ext cx="2755900" cy="1373188"/>
            </a:xfrm>
            <a:custGeom>
              <a:avLst/>
              <a:gdLst>
                <a:gd name="T0" fmla="*/ 1636 w 1736"/>
                <a:gd name="T1" fmla="*/ 0 h 865"/>
                <a:gd name="T2" fmla="*/ 0 w 1736"/>
                <a:gd name="T3" fmla="*/ 332 h 865"/>
                <a:gd name="T4" fmla="*/ 128 w 1736"/>
                <a:gd name="T5" fmla="*/ 865 h 865"/>
                <a:gd name="T6" fmla="*/ 1736 w 1736"/>
                <a:gd name="T7" fmla="*/ 414 h 865"/>
                <a:gd name="T8" fmla="*/ 1636 w 1736"/>
                <a:gd name="T9" fmla="*/ 0 h 865"/>
              </a:gdLst>
              <a:ahLst/>
              <a:cxnLst>
                <a:cxn ang="0">
                  <a:pos x="T0" y="T1"/>
                </a:cxn>
                <a:cxn ang="0">
                  <a:pos x="T2" y="T3"/>
                </a:cxn>
                <a:cxn ang="0">
                  <a:pos x="T4" y="T5"/>
                </a:cxn>
                <a:cxn ang="0">
                  <a:pos x="T6" y="T7"/>
                </a:cxn>
                <a:cxn ang="0">
                  <a:pos x="T8" y="T9"/>
                </a:cxn>
              </a:cxnLst>
              <a:rect l="0" t="0" r="r" b="b"/>
              <a:pathLst>
                <a:path w="1736" h="865">
                  <a:moveTo>
                    <a:pt x="1636" y="0"/>
                  </a:moveTo>
                  <a:lnTo>
                    <a:pt x="0" y="332"/>
                  </a:lnTo>
                  <a:lnTo>
                    <a:pt x="128" y="865"/>
                  </a:lnTo>
                  <a:lnTo>
                    <a:pt x="1736" y="414"/>
                  </a:lnTo>
                  <a:lnTo>
                    <a:pt x="1636"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9" name="Freeform 42"/>
            <p:cNvSpPr>
              <a:spLocks/>
            </p:cNvSpPr>
            <p:nvPr/>
          </p:nvSpPr>
          <p:spPr bwMode="auto">
            <a:xfrm>
              <a:off x="-488950" y="765175"/>
              <a:ext cx="2670175" cy="871538"/>
            </a:xfrm>
            <a:custGeom>
              <a:avLst/>
              <a:gdLst>
                <a:gd name="T0" fmla="*/ 1670 w 1682"/>
                <a:gd name="T1" fmla="*/ 18 h 549"/>
                <a:gd name="T2" fmla="*/ 0 w 1682"/>
                <a:gd name="T3" fmla="*/ 0 h 549"/>
                <a:gd name="T4" fmla="*/ 16 w 1682"/>
                <a:gd name="T5" fmla="*/ 549 h 549"/>
                <a:gd name="T6" fmla="*/ 1682 w 1682"/>
                <a:gd name="T7" fmla="*/ 443 h 549"/>
                <a:gd name="T8" fmla="*/ 1670 w 1682"/>
                <a:gd name="T9" fmla="*/ 18 h 549"/>
              </a:gdLst>
              <a:ahLst/>
              <a:cxnLst>
                <a:cxn ang="0">
                  <a:pos x="T0" y="T1"/>
                </a:cxn>
                <a:cxn ang="0">
                  <a:pos x="T2" y="T3"/>
                </a:cxn>
                <a:cxn ang="0">
                  <a:pos x="T4" y="T5"/>
                </a:cxn>
                <a:cxn ang="0">
                  <a:pos x="T6" y="T7"/>
                </a:cxn>
                <a:cxn ang="0">
                  <a:pos x="T8" y="T9"/>
                </a:cxn>
              </a:cxnLst>
              <a:rect l="0" t="0" r="r" b="b"/>
              <a:pathLst>
                <a:path w="1682" h="549">
                  <a:moveTo>
                    <a:pt x="1670" y="18"/>
                  </a:moveTo>
                  <a:lnTo>
                    <a:pt x="0" y="0"/>
                  </a:lnTo>
                  <a:lnTo>
                    <a:pt x="16" y="549"/>
                  </a:lnTo>
                  <a:lnTo>
                    <a:pt x="1682" y="443"/>
                  </a:lnTo>
                  <a:lnTo>
                    <a:pt x="1670" y="18"/>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grpSp>
      <p:sp>
        <p:nvSpPr>
          <p:cNvPr id="4" name="Rectangle 3"/>
          <p:cNvSpPr/>
          <p:nvPr userDrawn="1"/>
        </p:nvSpPr>
        <p:spPr>
          <a:xfrm>
            <a:off x="0" y="0"/>
            <a:ext cx="12192000" cy="18961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solidFill>
                <a:srgbClr val="FFFFFF"/>
              </a:solidFill>
            </a:endParaRPr>
          </a:p>
        </p:txBody>
      </p:sp>
      <p:sp>
        <p:nvSpPr>
          <p:cNvPr id="7" name="Title 1"/>
          <p:cNvSpPr>
            <a:spLocks noGrp="1"/>
          </p:cNvSpPr>
          <p:nvPr>
            <p:ph type="ctrTitle"/>
          </p:nvPr>
        </p:nvSpPr>
        <p:spPr>
          <a:xfrm>
            <a:off x="1240800" y="2044305"/>
            <a:ext cx="9653336" cy="1554145"/>
          </a:xfrm>
        </p:spPr>
        <p:txBody>
          <a:bodyPr anchor="b">
            <a:normAutofit/>
          </a:bodyPr>
          <a:lstStyle>
            <a:lvl1pPr algn="l">
              <a:defRPr sz="5000">
                <a:solidFill>
                  <a:schemeClr val="bg2"/>
                </a:solidFill>
              </a:defRPr>
            </a:lvl1pPr>
          </a:lstStyle>
          <a:p>
            <a:r>
              <a:rPr lang="en-US"/>
              <a:t>Click to edit Master title style</a:t>
            </a:r>
            <a:endParaRPr lang="en-IE" dirty="0"/>
          </a:p>
        </p:txBody>
      </p:sp>
      <p:sp>
        <p:nvSpPr>
          <p:cNvPr id="8" name="Subtitle 2"/>
          <p:cNvSpPr>
            <a:spLocks noGrp="1"/>
          </p:cNvSpPr>
          <p:nvPr>
            <p:ph type="subTitle" idx="1"/>
          </p:nvPr>
        </p:nvSpPr>
        <p:spPr>
          <a:xfrm>
            <a:off x="1240800" y="3788851"/>
            <a:ext cx="9653336" cy="1655762"/>
          </a:xfrm>
        </p:spPr>
        <p:txBody>
          <a:bodyPr>
            <a:normAutofit/>
          </a:bodyPr>
          <a:lstStyle>
            <a:lvl1pPr marL="0" indent="0" algn="l">
              <a:buNone/>
              <a:defRPr sz="2800" b="1">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dirty="0"/>
          </a:p>
        </p:txBody>
      </p:sp>
      <p:sp>
        <p:nvSpPr>
          <p:cNvPr id="10" name="Date Placeholder 3"/>
          <p:cNvSpPr>
            <a:spLocks noGrp="1"/>
          </p:cNvSpPr>
          <p:nvPr>
            <p:ph type="dt" sz="half" idx="10"/>
          </p:nvPr>
        </p:nvSpPr>
        <p:spPr>
          <a:xfrm>
            <a:off x="1240800" y="5864714"/>
            <a:ext cx="2880000" cy="365125"/>
          </a:xfrm>
          <a:prstGeom prst="rect">
            <a:avLst/>
          </a:prstGeom>
        </p:spPr>
        <p:txBody>
          <a:bodyPr/>
          <a:lstStyle>
            <a:lvl1pPr>
              <a:defRPr>
                <a:solidFill>
                  <a:schemeClr val="bg2"/>
                </a:solidFill>
              </a:defRPr>
            </a:lvl1pPr>
          </a:lstStyle>
          <a:p>
            <a:endParaRPr lang="en-IE" dirty="0">
              <a:solidFill>
                <a:srgbClr val="FFFFFF"/>
              </a:solidFill>
            </a:endParaRPr>
          </a:p>
        </p:txBody>
      </p:sp>
      <p:sp>
        <p:nvSpPr>
          <p:cNvPr id="11" name="Footer Placeholder 4"/>
          <p:cNvSpPr>
            <a:spLocks noGrp="1"/>
          </p:cNvSpPr>
          <p:nvPr>
            <p:ph type="ftr" sz="quarter" idx="3"/>
          </p:nvPr>
        </p:nvSpPr>
        <p:spPr>
          <a:xfrm>
            <a:off x="4414136" y="5864714"/>
            <a:ext cx="6480000" cy="365125"/>
          </a:xfrm>
          <a:prstGeom prst="rect">
            <a:avLst/>
          </a:prstGeom>
        </p:spPr>
        <p:txBody>
          <a:bodyPr vert="horz" lIns="91440" tIns="45720" rIns="91440" bIns="45720" rtlCol="0" anchor="ctr"/>
          <a:lstStyle>
            <a:lvl1pPr algn="r">
              <a:defRPr sz="1800">
                <a:solidFill>
                  <a:schemeClr val="bg2"/>
                </a:solidFill>
              </a:defRPr>
            </a:lvl1pPr>
          </a:lstStyle>
          <a:p>
            <a:endParaRPr lang="en-IE" dirty="0">
              <a:solidFill>
                <a:srgbClr val="FFFFFF"/>
              </a:solidFill>
            </a:endParaRPr>
          </a:p>
        </p:txBody>
      </p:sp>
      <p:pic>
        <p:nvPicPr>
          <p:cNvPr id="90" name="Picture 8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91692" y="574335"/>
            <a:ext cx="2922416" cy="1130400"/>
          </a:xfrm>
          <a:prstGeom prst="rect">
            <a:avLst/>
          </a:prstGeom>
        </p:spPr>
      </p:pic>
      <p:pic>
        <p:nvPicPr>
          <p:cNvPr id="91" name="Picture 9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3668" y="863211"/>
            <a:ext cx="1298451" cy="213360"/>
          </a:xfrm>
          <a:prstGeom prst="rect">
            <a:avLst/>
          </a:prstGeom>
        </p:spPr>
      </p:pic>
    </p:spTree>
    <p:extLst>
      <p:ext uri="{BB962C8B-B14F-4D97-AF65-F5344CB8AC3E}">
        <p14:creationId xmlns:p14="http://schemas.microsoft.com/office/powerpoint/2010/main" val="244128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ub-title slide G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26D9E0-8DC8-47CD-96E8-7524545408A6}"/>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CA4EC5C3-ACA3-46C3-991E-970B810CFD0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96506" y="361836"/>
            <a:ext cx="1891404" cy="952050"/>
          </a:xfrm>
          <a:prstGeom prst="rect">
            <a:avLst/>
          </a:prstGeom>
        </p:spPr>
      </p:pic>
    </p:spTree>
    <p:extLst>
      <p:ext uri="{BB962C8B-B14F-4D97-AF65-F5344CB8AC3E}">
        <p14:creationId xmlns:p14="http://schemas.microsoft.com/office/powerpoint/2010/main" val="328328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Section Header Aqua">
    <p:bg>
      <p:bgPr>
        <a:solidFill>
          <a:schemeClr val="bg1"/>
        </a:solidFill>
        <a:effectLst/>
      </p:bgPr>
    </p:bg>
    <p:spTree>
      <p:nvGrpSpPr>
        <p:cNvPr id="1" name=""/>
        <p:cNvGrpSpPr/>
        <p:nvPr/>
      </p:nvGrpSpPr>
      <p:grpSpPr>
        <a:xfrm>
          <a:off x="0" y="0"/>
          <a:ext cx="0" cy="0"/>
          <a:chOff x="0" y="0"/>
          <a:chExt cx="0" cy="0"/>
        </a:xfrm>
      </p:grpSpPr>
      <p:sp>
        <p:nvSpPr>
          <p:cNvPr id="50" name="Rectangle 49"/>
          <p:cNvSpPr/>
          <p:nvPr userDrawn="1"/>
        </p:nvSpPr>
        <p:spPr>
          <a:xfrm>
            <a:off x="330600" y="322200"/>
            <a:ext cx="11530800" cy="6213600"/>
          </a:xfrm>
          <a:prstGeom prst="rect">
            <a:avLst/>
          </a:prstGeom>
          <a:gradFill>
            <a:gsLst>
              <a:gs pos="80000">
                <a:srgbClr val="009AD8"/>
              </a:gs>
              <a:gs pos="100000">
                <a:srgbClr val="0099FF"/>
              </a:gs>
              <a:gs pos="60000">
                <a:srgbClr val="009BBE"/>
              </a:gs>
              <a:gs pos="25000">
                <a:srgbClr val="009CA9"/>
              </a:gs>
              <a:gs pos="0">
                <a:srgbClr val="009CA6"/>
              </a:gs>
            </a:gsLst>
            <a:lin ang="201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solidFill>
                <a:srgbClr val="FFFFFF"/>
              </a:solidFill>
            </a:endParaRPr>
          </a:p>
        </p:txBody>
      </p:sp>
      <p:grpSp>
        <p:nvGrpSpPr>
          <p:cNvPr id="51" name="Group 50"/>
          <p:cNvGrpSpPr/>
          <p:nvPr userDrawn="1"/>
        </p:nvGrpSpPr>
        <p:grpSpPr>
          <a:xfrm>
            <a:off x="-492125" y="-590550"/>
            <a:ext cx="15217776" cy="10388600"/>
            <a:chOff x="-492125" y="-590550"/>
            <a:chExt cx="15217776" cy="10388600"/>
          </a:xfrm>
        </p:grpSpPr>
        <p:sp>
          <p:nvSpPr>
            <p:cNvPr id="52" name="AutoShape 3"/>
            <p:cNvSpPr>
              <a:spLocks noChangeAspect="1" noChangeArrowheads="1" noTextEdit="1"/>
            </p:cNvSpPr>
            <p:nvPr/>
          </p:nvSpPr>
          <p:spPr bwMode="auto">
            <a:xfrm>
              <a:off x="-492125" y="-590550"/>
              <a:ext cx="15214600" cy="1038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3" name="Freeform 6"/>
            <p:cNvSpPr>
              <a:spLocks/>
            </p:cNvSpPr>
            <p:nvPr/>
          </p:nvSpPr>
          <p:spPr bwMode="auto">
            <a:xfrm>
              <a:off x="12084050" y="4646613"/>
              <a:ext cx="2189163" cy="2166938"/>
            </a:xfrm>
            <a:custGeom>
              <a:avLst/>
              <a:gdLst>
                <a:gd name="T0" fmla="*/ 0 w 1379"/>
                <a:gd name="T1" fmla="*/ 273 h 1365"/>
                <a:gd name="T2" fmla="*/ 1033 w 1379"/>
                <a:gd name="T3" fmla="*/ 1365 h 1365"/>
                <a:gd name="T4" fmla="*/ 1379 w 1379"/>
                <a:gd name="T5" fmla="*/ 1012 h 1365"/>
                <a:gd name="T6" fmla="*/ 267 w 1379"/>
                <a:gd name="T7" fmla="*/ 0 h 1365"/>
                <a:gd name="T8" fmla="*/ 0 w 1379"/>
                <a:gd name="T9" fmla="*/ 273 h 1365"/>
              </a:gdLst>
              <a:ahLst/>
              <a:cxnLst>
                <a:cxn ang="0">
                  <a:pos x="T0" y="T1"/>
                </a:cxn>
                <a:cxn ang="0">
                  <a:pos x="T2" y="T3"/>
                </a:cxn>
                <a:cxn ang="0">
                  <a:pos x="T4" y="T5"/>
                </a:cxn>
                <a:cxn ang="0">
                  <a:pos x="T6" y="T7"/>
                </a:cxn>
                <a:cxn ang="0">
                  <a:pos x="T8" y="T9"/>
                </a:cxn>
              </a:cxnLst>
              <a:rect l="0" t="0" r="r" b="b"/>
              <a:pathLst>
                <a:path w="1379" h="1365">
                  <a:moveTo>
                    <a:pt x="0" y="273"/>
                  </a:moveTo>
                  <a:lnTo>
                    <a:pt x="1033" y="1365"/>
                  </a:lnTo>
                  <a:lnTo>
                    <a:pt x="1379" y="1012"/>
                  </a:lnTo>
                  <a:lnTo>
                    <a:pt x="267" y="0"/>
                  </a:lnTo>
                  <a:lnTo>
                    <a:pt x="0" y="273"/>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4" name="Freeform 7"/>
            <p:cNvSpPr>
              <a:spLocks/>
            </p:cNvSpPr>
            <p:nvPr/>
          </p:nvSpPr>
          <p:spPr bwMode="auto">
            <a:xfrm>
              <a:off x="11145838" y="5432425"/>
              <a:ext cx="1897063" cy="2373313"/>
            </a:xfrm>
            <a:custGeom>
              <a:avLst/>
              <a:gdLst>
                <a:gd name="T0" fmla="*/ 0 w 1195"/>
                <a:gd name="T1" fmla="*/ 214 h 1495"/>
                <a:gd name="T2" fmla="*/ 784 w 1195"/>
                <a:gd name="T3" fmla="*/ 1495 h 1495"/>
                <a:gd name="T4" fmla="*/ 1195 w 1195"/>
                <a:gd name="T5" fmla="*/ 1221 h 1495"/>
                <a:gd name="T6" fmla="*/ 319 w 1195"/>
                <a:gd name="T7" fmla="*/ 0 h 1495"/>
                <a:gd name="T8" fmla="*/ 0 w 1195"/>
                <a:gd name="T9" fmla="*/ 214 h 1495"/>
              </a:gdLst>
              <a:ahLst/>
              <a:cxnLst>
                <a:cxn ang="0">
                  <a:pos x="T0" y="T1"/>
                </a:cxn>
                <a:cxn ang="0">
                  <a:pos x="T2" y="T3"/>
                </a:cxn>
                <a:cxn ang="0">
                  <a:pos x="T4" y="T5"/>
                </a:cxn>
                <a:cxn ang="0">
                  <a:pos x="T6" y="T7"/>
                </a:cxn>
                <a:cxn ang="0">
                  <a:pos x="T8" y="T9"/>
                </a:cxn>
              </a:cxnLst>
              <a:rect l="0" t="0" r="r" b="b"/>
              <a:pathLst>
                <a:path w="1195" h="1495">
                  <a:moveTo>
                    <a:pt x="0" y="214"/>
                  </a:moveTo>
                  <a:lnTo>
                    <a:pt x="784" y="1495"/>
                  </a:lnTo>
                  <a:lnTo>
                    <a:pt x="1195" y="1221"/>
                  </a:lnTo>
                  <a:lnTo>
                    <a:pt x="319" y="0"/>
                  </a:lnTo>
                  <a:lnTo>
                    <a:pt x="0" y="214"/>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5" name="Freeform 8"/>
            <p:cNvSpPr>
              <a:spLocks/>
            </p:cNvSpPr>
            <p:nvPr/>
          </p:nvSpPr>
          <p:spPr bwMode="auto">
            <a:xfrm>
              <a:off x="10088563" y="6024563"/>
              <a:ext cx="1524000" cy="2474913"/>
            </a:xfrm>
            <a:custGeom>
              <a:avLst/>
              <a:gdLst>
                <a:gd name="T0" fmla="*/ 0 w 960"/>
                <a:gd name="T1" fmla="*/ 142 h 1559"/>
                <a:gd name="T2" fmla="*/ 501 w 960"/>
                <a:gd name="T3" fmla="*/ 1559 h 1559"/>
                <a:gd name="T4" fmla="*/ 960 w 960"/>
                <a:gd name="T5" fmla="*/ 1377 h 1559"/>
                <a:gd name="T6" fmla="*/ 357 w 960"/>
                <a:gd name="T7" fmla="*/ 0 h 1559"/>
                <a:gd name="T8" fmla="*/ 0 w 960"/>
                <a:gd name="T9" fmla="*/ 142 h 1559"/>
              </a:gdLst>
              <a:ahLst/>
              <a:cxnLst>
                <a:cxn ang="0">
                  <a:pos x="T0" y="T1"/>
                </a:cxn>
                <a:cxn ang="0">
                  <a:pos x="T2" y="T3"/>
                </a:cxn>
                <a:cxn ang="0">
                  <a:pos x="T4" y="T5"/>
                </a:cxn>
                <a:cxn ang="0">
                  <a:pos x="T6" y="T7"/>
                </a:cxn>
                <a:cxn ang="0">
                  <a:pos x="T8" y="T9"/>
                </a:cxn>
              </a:cxnLst>
              <a:rect l="0" t="0" r="r" b="b"/>
              <a:pathLst>
                <a:path w="960" h="1559">
                  <a:moveTo>
                    <a:pt x="0" y="142"/>
                  </a:moveTo>
                  <a:lnTo>
                    <a:pt x="501" y="1559"/>
                  </a:lnTo>
                  <a:lnTo>
                    <a:pt x="960" y="1377"/>
                  </a:lnTo>
                  <a:lnTo>
                    <a:pt x="357" y="0"/>
                  </a:lnTo>
                  <a:lnTo>
                    <a:pt x="0" y="14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6" name="Freeform 9"/>
            <p:cNvSpPr>
              <a:spLocks/>
            </p:cNvSpPr>
            <p:nvPr/>
          </p:nvSpPr>
          <p:spPr bwMode="auto">
            <a:xfrm>
              <a:off x="8953500" y="6399213"/>
              <a:ext cx="1081088" cy="2463800"/>
            </a:xfrm>
            <a:custGeom>
              <a:avLst/>
              <a:gdLst>
                <a:gd name="T0" fmla="*/ 0 w 681"/>
                <a:gd name="T1" fmla="*/ 62 h 1552"/>
                <a:gd name="T2" fmla="*/ 194 w 681"/>
                <a:gd name="T3" fmla="*/ 1552 h 1552"/>
                <a:gd name="T4" fmla="*/ 681 w 681"/>
                <a:gd name="T5" fmla="*/ 1470 h 1552"/>
                <a:gd name="T6" fmla="*/ 377 w 681"/>
                <a:gd name="T7" fmla="*/ 0 h 1552"/>
                <a:gd name="T8" fmla="*/ 0 w 681"/>
                <a:gd name="T9" fmla="*/ 62 h 1552"/>
              </a:gdLst>
              <a:ahLst/>
              <a:cxnLst>
                <a:cxn ang="0">
                  <a:pos x="T0" y="T1"/>
                </a:cxn>
                <a:cxn ang="0">
                  <a:pos x="T2" y="T3"/>
                </a:cxn>
                <a:cxn ang="0">
                  <a:pos x="T4" y="T5"/>
                </a:cxn>
                <a:cxn ang="0">
                  <a:pos x="T6" y="T7"/>
                </a:cxn>
                <a:cxn ang="0">
                  <a:pos x="T8" y="T9"/>
                </a:cxn>
              </a:cxnLst>
              <a:rect l="0" t="0" r="r" b="b"/>
              <a:pathLst>
                <a:path w="681" h="1552">
                  <a:moveTo>
                    <a:pt x="0" y="62"/>
                  </a:moveTo>
                  <a:lnTo>
                    <a:pt x="194" y="1552"/>
                  </a:lnTo>
                  <a:lnTo>
                    <a:pt x="681" y="1470"/>
                  </a:lnTo>
                  <a:lnTo>
                    <a:pt x="377" y="0"/>
                  </a:lnTo>
                  <a:lnTo>
                    <a:pt x="0" y="6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7" name="Freeform 10"/>
            <p:cNvSpPr>
              <a:spLocks/>
            </p:cNvSpPr>
            <p:nvPr/>
          </p:nvSpPr>
          <p:spPr bwMode="auto">
            <a:xfrm>
              <a:off x="7600950" y="6507163"/>
              <a:ext cx="795338" cy="2409825"/>
            </a:xfrm>
            <a:custGeom>
              <a:avLst/>
              <a:gdLst>
                <a:gd name="T0" fmla="*/ 120 w 501"/>
                <a:gd name="T1" fmla="*/ 0 h 1518"/>
                <a:gd name="T2" fmla="*/ 0 w 501"/>
                <a:gd name="T3" fmla="*/ 1496 h 1518"/>
                <a:gd name="T4" fmla="*/ 493 w 501"/>
                <a:gd name="T5" fmla="*/ 1518 h 1518"/>
                <a:gd name="T6" fmla="*/ 501 w 501"/>
                <a:gd name="T7" fmla="*/ 16 h 1518"/>
                <a:gd name="T8" fmla="*/ 120 w 501"/>
                <a:gd name="T9" fmla="*/ 0 h 1518"/>
              </a:gdLst>
              <a:ahLst/>
              <a:cxnLst>
                <a:cxn ang="0">
                  <a:pos x="T0" y="T1"/>
                </a:cxn>
                <a:cxn ang="0">
                  <a:pos x="T2" y="T3"/>
                </a:cxn>
                <a:cxn ang="0">
                  <a:pos x="T4" y="T5"/>
                </a:cxn>
                <a:cxn ang="0">
                  <a:pos x="T6" y="T7"/>
                </a:cxn>
                <a:cxn ang="0">
                  <a:pos x="T8" y="T9"/>
                </a:cxn>
              </a:cxnLst>
              <a:rect l="0" t="0" r="r" b="b"/>
              <a:pathLst>
                <a:path w="501" h="1518">
                  <a:moveTo>
                    <a:pt x="120" y="0"/>
                  </a:moveTo>
                  <a:lnTo>
                    <a:pt x="0" y="1496"/>
                  </a:lnTo>
                  <a:lnTo>
                    <a:pt x="493" y="1518"/>
                  </a:lnTo>
                  <a:lnTo>
                    <a:pt x="501" y="16"/>
                  </a:lnTo>
                  <a:lnTo>
                    <a:pt x="120"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8" name="Freeform 11"/>
            <p:cNvSpPr>
              <a:spLocks/>
            </p:cNvSpPr>
            <p:nvPr/>
          </p:nvSpPr>
          <p:spPr bwMode="auto">
            <a:xfrm>
              <a:off x="5970588" y="6272213"/>
              <a:ext cx="1270000" cy="2479675"/>
            </a:xfrm>
            <a:custGeom>
              <a:avLst/>
              <a:gdLst>
                <a:gd name="T0" fmla="*/ 429 w 800"/>
                <a:gd name="T1" fmla="*/ 0 h 1562"/>
                <a:gd name="T2" fmla="*/ 0 w 800"/>
                <a:gd name="T3" fmla="*/ 1439 h 1562"/>
                <a:gd name="T4" fmla="*/ 479 w 800"/>
                <a:gd name="T5" fmla="*/ 1562 h 1562"/>
                <a:gd name="T6" fmla="*/ 800 w 800"/>
                <a:gd name="T7" fmla="*/ 94 h 1562"/>
                <a:gd name="T8" fmla="*/ 429 w 800"/>
                <a:gd name="T9" fmla="*/ 0 h 1562"/>
              </a:gdLst>
              <a:ahLst/>
              <a:cxnLst>
                <a:cxn ang="0">
                  <a:pos x="T0" y="T1"/>
                </a:cxn>
                <a:cxn ang="0">
                  <a:pos x="T2" y="T3"/>
                </a:cxn>
                <a:cxn ang="0">
                  <a:pos x="T4" y="T5"/>
                </a:cxn>
                <a:cxn ang="0">
                  <a:pos x="T6" y="T7"/>
                </a:cxn>
                <a:cxn ang="0">
                  <a:pos x="T8" y="T9"/>
                </a:cxn>
              </a:cxnLst>
              <a:rect l="0" t="0" r="r" b="b"/>
              <a:pathLst>
                <a:path w="800" h="1562">
                  <a:moveTo>
                    <a:pt x="429" y="0"/>
                  </a:moveTo>
                  <a:lnTo>
                    <a:pt x="0" y="1439"/>
                  </a:lnTo>
                  <a:lnTo>
                    <a:pt x="479" y="1562"/>
                  </a:lnTo>
                  <a:lnTo>
                    <a:pt x="800" y="94"/>
                  </a:lnTo>
                  <a:lnTo>
                    <a:pt x="42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59" name="Freeform 12"/>
            <p:cNvSpPr>
              <a:spLocks/>
            </p:cNvSpPr>
            <p:nvPr/>
          </p:nvSpPr>
          <p:spPr bwMode="auto">
            <a:xfrm>
              <a:off x="4446588" y="5802313"/>
              <a:ext cx="1684338" cy="2446338"/>
            </a:xfrm>
            <a:custGeom>
              <a:avLst/>
              <a:gdLst>
                <a:gd name="T0" fmla="*/ 718 w 1061"/>
                <a:gd name="T1" fmla="*/ 0 h 1541"/>
                <a:gd name="T2" fmla="*/ 0 w 1061"/>
                <a:gd name="T3" fmla="*/ 1322 h 1541"/>
                <a:gd name="T4" fmla="*/ 441 w 1061"/>
                <a:gd name="T5" fmla="*/ 1541 h 1541"/>
                <a:gd name="T6" fmla="*/ 1061 w 1061"/>
                <a:gd name="T7" fmla="*/ 172 h 1541"/>
                <a:gd name="T8" fmla="*/ 718 w 1061"/>
                <a:gd name="T9" fmla="*/ 0 h 1541"/>
              </a:gdLst>
              <a:ahLst/>
              <a:cxnLst>
                <a:cxn ang="0">
                  <a:pos x="T0" y="T1"/>
                </a:cxn>
                <a:cxn ang="0">
                  <a:pos x="T2" y="T3"/>
                </a:cxn>
                <a:cxn ang="0">
                  <a:pos x="T4" y="T5"/>
                </a:cxn>
                <a:cxn ang="0">
                  <a:pos x="T6" y="T7"/>
                </a:cxn>
                <a:cxn ang="0">
                  <a:pos x="T8" y="T9"/>
                </a:cxn>
              </a:cxnLst>
              <a:rect l="0" t="0" r="r" b="b"/>
              <a:pathLst>
                <a:path w="1061" h="1541">
                  <a:moveTo>
                    <a:pt x="718" y="0"/>
                  </a:moveTo>
                  <a:lnTo>
                    <a:pt x="0" y="1322"/>
                  </a:lnTo>
                  <a:lnTo>
                    <a:pt x="441" y="1541"/>
                  </a:lnTo>
                  <a:lnTo>
                    <a:pt x="1061" y="172"/>
                  </a:lnTo>
                  <a:lnTo>
                    <a:pt x="718"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0" name="Freeform 13"/>
            <p:cNvSpPr>
              <a:spLocks/>
            </p:cNvSpPr>
            <p:nvPr/>
          </p:nvSpPr>
          <p:spPr bwMode="auto">
            <a:xfrm>
              <a:off x="3090863" y="5124450"/>
              <a:ext cx="2027238" cy="2300288"/>
            </a:xfrm>
            <a:custGeom>
              <a:avLst/>
              <a:gdLst>
                <a:gd name="T0" fmla="*/ 978 w 1277"/>
                <a:gd name="T1" fmla="*/ 0 h 1449"/>
                <a:gd name="T2" fmla="*/ 0 w 1277"/>
                <a:gd name="T3" fmla="*/ 1144 h 1449"/>
                <a:gd name="T4" fmla="*/ 387 w 1277"/>
                <a:gd name="T5" fmla="*/ 1449 h 1449"/>
                <a:gd name="T6" fmla="*/ 1277 w 1277"/>
                <a:gd name="T7" fmla="*/ 240 h 1449"/>
                <a:gd name="T8" fmla="*/ 978 w 1277"/>
                <a:gd name="T9" fmla="*/ 0 h 1449"/>
              </a:gdLst>
              <a:ahLst/>
              <a:cxnLst>
                <a:cxn ang="0">
                  <a:pos x="T0" y="T1"/>
                </a:cxn>
                <a:cxn ang="0">
                  <a:pos x="T2" y="T3"/>
                </a:cxn>
                <a:cxn ang="0">
                  <a:pos x="T4" y="T5"/>
                </a:cxn>
                <a:cxn ang="0">
                  <a:pos x="T6" y="T7"/>
                </a:cxn>
                <a:cxn ang="0">
                  <a:pos x="T8" y="T9"/>
                </a:cxn>
              </a:cxnLst>
              <a:rect l="0" t="0" r="r" b="b"/>
              <a:pathLst>
                <a:path w="1277" h="1449">
                  <a:moveTo>
                    <a:pt x="978" y="0"/>
                  </a:moveTo>
                  <a:lnTo>
                    <a:pt x="0" y="1144"/>
                  </a:lnTo>
                  <a:lnTo>
                    <a:pt x="387" y="1449"/>
                  </a:lnTo>
                  <a:lnTo>
                    <a:pt x="1277" y="240"/>
                  </a:lnTo>
                  <a:lnTo>
                    <a:pt x="978"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1" name="Freeform 14"/>
            <p:cNvSpPr>
              <a:spLocks/>
            </p:cNvSpPr>
            <p:nvPr/>
          </p:nvSpPr>
          <p:spPr bwMode="auto">
            <a:xfrm>
              <a:off x="1965325" y="4267200"/>
              <a:ext cx="2281238" cy="2055813"/>
            </a:xfrm>
            <a:custGeom>
              <a:avLst/>
              <a:gdLst>
                <a:gd name="T0" fmla="*/ 1194 w 1437"/>
                <a:gd name="T1" fmla="*/ 0 h 1295"/>
                <a:gd name="T2" fmla="*/ 0 w 1437"/>
                <a:gd name="T3" fmla="*/ 914 h 1295"/>
                <a:gd name="T4" fmla="*/ 314 w 1437"/>
                <a:gd name="T5" fmla="*/ 1295 h 1295"/>
                <a:gd name="T6" fmla="*/ 1437 w 1437"/>
                <a:gd name="T7" fmla="*/ 295 h 1295"/>
                <a:gd name="T8" fmla="*/ 1194 w 1437"/>
                <a:gd name="T9" fmla="*/ 0 h 1295"/>
              </a:gdLst>
              <a:ahLst/>
              <a:cxnLst>
                <a:cxn ang="0">
                  <a:pos x="T0" y="T1"/>
                </a:cxn>
                <a:cxn ang="0">
                  <a:pos x="T2" y="T3"/>
                </a:cxn>
                <a:cxn ang="0">
                  <a:pos x="T4" y="T5"/>
                </a:cxn>
                <a:cxn ang="0">
                  <a:pos x="T6" y="T7"/>
                </a:cxn>
                <a:cxn ang="0">
                  <a:pos x="T8" y="T9"/>
                </a:cxn>
              </a:cxnLst>
              <a:rect l="0" t="0" r="r" b="b"/>
              <a:pathLst>
                <a:path w="1437" h="1295">
                  <a:moveTo>
                    <a:pt x="1194" y="0"/>
                  </a:moveTo>
                  <a:lnTo>
                    <a:pt x="0" y="914"/>
                  </a:lnTo>
                  <a:lnTo>
                    <a:pt x="314" y="1295"/>
                  </a:lnTo>
                  <a:lnTo>
                    <a:pt x="1437" y="295"/>
                  </a:lnTo>
                  <a:lnTo>
                    <a:pt x="1194"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2" name="Freeform 15"/>
            <p:cNvSpPr>
              <a:spLocks/>
            </p:cNvSpPr>
            <p:nvPr/>
          </p:nvSpPr>
          <p:spPr bwMode="auto">
            <a:xfrm>
              <a:off x="1117600" y="3265488"/>
              <a:ext cx="2435225" cy="1717675"/>
            </a:xfrm>
            <a:custGeom>
              <a:avLst/>
              <a:gdLst>
                <a:gd name="T0" fmla="*/ 1357 w 1534"/>
                <a:gd name="T1" fmla="*/ 0 h 1082"/>
                <a:gd name="T2" fmla="*/ 0 w 1534"/>
                <a:gd name="T3" fmla="*/ 645 h 1082"/>
                <a:gd name="T4" fmla="*/ 229 w 1534"/>
                <a:gd name="T5" fmla="*/ 1082 h 1082"/>
                <a:gd name="T6" fmla="*/ 1534 w 1534"/>
                <a:gd name="T7" fmla="*/ 339 h 1082"/>
                <a:gd name="T8" fmla="*/ 1357 w 1534"/>
                <a:gd name="T9" fmla="*/ 0 h 1082"/>
              </a:gdLst>
              <a:ahLst/>
              <a:cxnLst>
                <a:cxn ang="0">
                  <a:pos x="T0" y="T1"/>
                </a:cxn>
                <a:cxn ang="0">
                  <a:pos x="T2" y="T3"/>
                </a:cxn>
                <a:cxn ang="0">
                  <a:pos x="T4" y="T5"/>
                </a:cxn>
                <a:cxn ang="0">
                  <a:pos x="T6" y="T7"/>
                </a:cxn>
                <a:cxn ang="0">
                  <a:pos x="T8" y="T9"/>
                </a:cxn>
              </a:cxnLst>
              <a:rect l="0" t="0" r="r" b="b"/>
              <a:pathLst>
                <a:path w="1534" h="1082">
                  <a:moveTo>
                    <a:pt x="1357" y="0"/>
                  </a:moveTo>
                  <a:lnTo>
                    <a:pt x="0" y="645"/>
                  </a:lnTo>
                  <a:lnTo>
                    <a:pt x="229" y="1082"/>
                  </a:lnTo>
                  <a:lnTo>
                    <a:pt x="1534" y="339"/>
                  </a:lnTo>
                  <a:lnTo>
                    <a:pt x="1357"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3" name="Freeform 16"/>
            <p:cNvSpPr>
              <a:spLocks/>
            </p:cNvSpPr>
            <p:nvPr/>
          </p:nvSpPr>
          <p:spPr bwMode="auto">
            <a:xfrm>
              <a:off x="584200" y="2159000"/>
              <a:ext cx="2484438" cy="1312863"/>
            </a:xfrm>
            <a:custGeom>
              <a:avLst/>
              <a:gdLst>
                <a:gd name="T0" fmla="*/ 1463 w 1565"/>
                <a:gd name="T1" fmla="*/ 0 h 827"/>
                <a:gd name="T2" fmla="*/ 0 w 1565"/>
                <a:gd name="T3" fmla="*/ 350 h 827"/>
                <a:gd name="T4" fmla="*/ 134 w 1565"/>
                <a:gd name="T5" fmla="*/ 827 h 827"/>
                <a:gd name="T6" fmla="*/ 1565 w 1565"/>
                <a:gd name="T7" fmla="*/ 370 h 827"/>
                <a:gd name="T8" fmla="*/ 1463 w 1565"/>
                <a:gd name="T9" fmla="*/ 0 h 827"/>
              </a:gdLst>
              <a:ahLst/>
              <a:cxnLst>
                <a:cxn ang="0">
                  <a:pos x="T0" y="T1"/>
                </a:cxn>
                <a:cxn ang="0">
                  <a:pos x="T2" y="T3"/>
                </a:cxn>
                <a:cxn ang="0">
                  <a:pos x="T4" y="T5"/>
                </a:cxn>
                <a:cxn ang="0">
                  <a:pos x="T6" y="T7"/>
                </a:cxn>
                <a:cxn ang="0">
                  <a:pos x="T8" y="T9"/>
                </a:cxn>
              </a:cxnLst>
              <a:rect l="0" t="0" r="r" b="b"/>
              <a:pathLst>
                <a:path w="1565" h="827">
                  <a:moveTo>
                    <a:pt x="1463" y="0"/>
                  </a:moveTo>
                  <a:lnTo>
                    <a:pt x="0" y="350"/>
                  </a:lnTo>
                  <a:lnTo>
                    <a:pt x="134" y="827"/>
                  </a:lnTo>
                  <a:lnTo>
                    <a:pt x="1565" y="370"/>
                  </a:lnTo>
                  <a:lnTo>
                    <a:pt x="1463"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4" name="Freeform 17"/>
            <p:cNvSpPr>
              <a:spLocks/>
            </p:cNvSpPr>
            <p:nvPr/>
          </p:nvSpPr>
          <p:spPr bwMode="auto">
            <a:xfrm>
              <a:off x="392113" y="1006475"/>
              <a:ext cx="2422525" cy="842963"/>
            </a:xfrm>
            <a:custGeom>
              <a:avLst/>
              <a:gdLst>
                <a:gd name="T0" fmla="*/ 1502 w 1526"/>
                <a:gd name="T1" fmla="*/ 0 h 531"/>
                <a:gd name="T2" fmla="*/ 0 w 1526"/>
                <a:gd name="T3" fmla="*/ 38 h 531"/>
                <a:gd name="T4" fmla="*/ 32 w 1526"/>
                <a:gd name="T5" fmla="*/ 531 h 531"/>
                <a:gd name="T6" fmla="*/ 1526 w 1526"/>
                <a:gd name="T7" fmla="*/ 381 h 531"/>
                <a:gd name="T8" fmla="*/ 1502 w 1526"/>
                <a:gd name="T9" fmla="*/ 0 h 531"/>
              </a:gdLst>
              <a:ahLst/>
              <a:cxnLst>
                <a:cxn ang="0">
                  <a:pos x="T0" y="T1"/>
                </a:cxn>
                <a:cxn ang="0">
                  <a:pos x="T2" y="T3"/>
                </a:cxn>
                <a:cxn ang="0">
                  <a:pos x="T4" y="T5"/>
                </a:cxn>
                <a:cxn ang="0">
                  <a:pos x="T6" y="T7"/>
                </a:cxn>
                <a:cxn ang="0">
                  <a:pos x="T8" y="T9"/>
                </a:cxn>
              </a:cxnLst>
              <a:rect l="0" t="0" r="r" b="b"/>
              <a:pathLst>
                <a:path w="1526" h="531">
                  <a:moveTo>
                    <a:pt x="1502" y="0"/>
                  </a:moveTo>
                  <a:lnTo>
                    <a:pt x="0" y="38"/>
                  </a:lnTo>
                  <a:lnTo>
                    <a:pt x="32" y="531"/>
                  </a:lnTo>
                  <a:lnTo>
                    <a:pt x="1526" y="381"/>
                  </a:lnTo>
                  <a:lnTo>
                    <a:pt x="1502"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5" name="Freeform 18"/>
            <p:cNvSpPr>
              <a:spLocks/>
            </p:cNvSpPr>
            <p:nvPr/>
          </p:nvSpPr>
          <p:spPr bwMode="auto">
            <a:xfrm>
              <a:off x="433388" y="-587375"/>
              <a:ext cx="2457450" cy="1036638"/>
            </a:xfrm>
            <a:custGeom>
              <a:avLst/>
              <a:gdLst>
                <a:gd name="T0" fmla="*/ 1548 w 1548"/>
                <a:gd name="T1" fmla="*/ 273 h 653"/>
                <a:gd name="T2" fmla="*/ 71 w 1548"/>
                <a:gd name="T3" fmla="*/ 0 h 653"/>
                <a:gd name="T4" fmla="*/ 0 w 1548"/>
                <a:gd name="T5" fmla="*/ 487 h 653"/>
                <a:gd name="T6" fmla="*/ 1492 w 1548"/>
                <a:gd name="T7" fmla="*/ 653 h 653"/>
                <a:gd name="T8" fmla="*/ 1548 w 1548"/>
                <a:gd name="T9" fmla="*/ 273 h 653"/>
              </a:gdLst>
              <a:ahLst/>
              <a:cxnLst>
                <a:cxn ang="0">
                  <a:pos x="T0" y="T1"/>
                </a:cxn>
                <a:cxn ang="0">
                  <a:pos x="T2" y="T3"/>
                </a:cxn>
                <a:cxn ang="0">
                  <a:pos x="T4" y="T5"/>
                </a:cxn>
                <a:cxn ang="0">
                  <a:pos x="T6" y="T7"/>
                </a:cxn>
                <a:cxn ang="0">
                  <a:pos x="T8" y="T9"/>
                </a:cxn>
              </a:cxnLst>
              <a:rect l="0" t="0" r="r" b="b"/>
              <a:pathLst>
                <a:path w="1548" h="653">
                  <a:moveTo>
                    <a:pt x="1548" y="273"/>
                  </a:moveTo>
                  <a:lnTo>
                    <a:pt x="71" y="0"/>
                  </a:lnTo>
                  <a:lnTo>
                    <a:pt x="0" y="487"/>
                  </a:lnTo>
                  <a:lnTo>
                    <a:pt x="1492" y="653"/>
                  </a:lnTo>
                  <a:lnTo>
                    <a:pt x="1548" y="273"/>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6" name="Freeform 19"/>
            <p:cNvSpPr>
              <a:spLocks/>
            </p:cNvSpPr>
            <p:nvPr/>
          </p:nvSpPr>
          <p:spPr bwMode="auto">
            <a:xfrm>
              <a:off x="11444288" y="4532313"/>
              <a:ext cx="1890713" cy="2020888"/>
            </a:xfrm>
            <a:custGeom>
              <a:avLst/>
              <a:gdLst>
                <a:gd name="T0" fmla="*/ 0 w 1191"/>
                <a:gd name="T1" fmla="*/ 230 h 1273"/>
                <a:gd name="T2" fmla="*/ 858 w 1191"/>
                <a:gd name="T3" fmla="*/ 1273 h 1273"/>
                <a:gd name="T4" fmla="*/ 1191 w 1191"/>
                <a:gd name="T5" fmla="*/ 978 h 1273"/>
                <a:gd name="T6" fmla="*/ 257 w 1191"/>
                <a:gd name="T7" fmla="*/ 0 h 1273"/>
                <a:gd name="T8" fmla="*/ 0 w 1191"/>
                <a:gd name="T9" fmla="*/ 230 h 1273"/>
              </a:gdLst>
              <a:ahLst/>
              <a:cxnLst>
                <a:cxn ang="0">
                  <a:pos x="T0" y="T1"/>
                </a:cxn>
                <a:cxn ang="0">
                  <a:pos x="T2" y="T3"/>
                </a:cxn>
                <a:cxn ang="0">
                  <a:pos x="T4" y="T5"/>
                </a:cxn>
                <a:cxn ang="0">
                  <a:pos x="T6" y="T7"/>
                </a:cxn>
                <a:cxn ang="0">
                  <a:pos x="T8" y="T9"/>
                </a:cxn>
              </a:cxnLst>
              <a:rect l="0" t="0" r="r" b="b"/>
              <a:pathLst>
                <a:path w="1191" h="1273">
                  <a:moveTo>
                    <a:pt x="0" y="230"/>
                  </a:moveTo>
                  <a:lnTo>
                    <a:pt x="858" y="1273"/>
                  </a:lnTo>
                  <a:lnTo>
                    <a:pt x="1191" y="978"/>
                  </a:lnTo>
                  <a:lnTo>
                    <a:pt x="257" y="0"/>
                  </a:lnTo>
                  <a:lnTo>
                    <a:pt x="0" y="23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7" name="Freeform 20"/>
            <p:cNvSpPr>
              <a:spLocks/>
            </p:cNvSpPr>
            <p:nvPr/>
          </p:nvSpPr>
          <p:spPr bwMode="auto">
            <a:xfrm>
              <a:off x="10560050" y="5184775"/>
              <a:ext cx="1603375" cy="2176463"/>
            </a:xfrm>
            <a:custGeom>
              <a:avLst/>
              <a:gdLst>
                <a:gd name="T0" fmla="*/ 0 w 1010"/>
                <a:gd name="T1" fmla="*/ 170 h 1371"/>
                <a:gd name="T2" fmla="*/ 623 w 1010"/>
                <a:gd name="T3" fmla="*/ 1371 h 1371"/>
                <a:gd name="T4" fmla="*/ 1010 w 1010"/>
                <a:gd name="T5" fmla="*/ 1152 h 1371"/>
                <a:gd name="T6" fmla="*/ 299 w 1010"/>
                <a:gd name="T7" fmla="*/ 0 h 1371"/>
                <a:gd name="T8" fmla="*/ 0 w 1010"/>
                <a:gd name="T9" fmla="*/ 170 h 1371"/>
              </a:gdLst>
              <a:ahLst/>
              <a:cxnLst>
                <a:cxn ang="0">
                  <a:pos x="T0" y="T1"/>
                </a:cxn>
                <a:cxn ang="0">
                  <a:pos x="T2" y="T3"/>
                </a:cxn>
                <a:cxn ang="0">
                  <a:pos x="T4" y="T5"/>
                </a:cxn>
                <a:cxn ang="0">
                  <a:pos x="T6" y="T7"/>
                </a:cxn>
                <a:cxn ang="0">
                  <a:pos x="T8" y="T9"/>
                </a:cxn>
              </a:cxnLst>
              <a:rect l="0" t="0" r="r" b="b"/>
              <a:pathLst>
                <a:path w="1010" h="1371">
                  <a:moveTo>
                    <a:pt x="0" y="170"/>
                  </a:moveTo>
                  <a:lnTo>
                    <a:pt x="623" y="1371"/>
                  </a:lnTo>
                  <a:lnTo>
                    <a:pt x="1010" y="1152"/>
                  </a:lnTo>
                  <a:lnTo>
                    <a:pt x="299" y="0"/>
                  </a:lnTo>
                  <a:lnTo>
                    <a:pt x="0" y="17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8" name="Freeform 21"/>
            <p:cNvSpPr>
              <a:spLocks/>
            </p:cNvSpPr>
            <p:nvPr/>
          </p:nvSpPr>
          <p:spPr bwMode="auto">
            <a:xfrm>
              <a:off x="9577388" y="5654675"/>
              <a:ext cx="1246188" cy="2236788"/>
            </a:xfrm>
            <a:custGeom>
              <a:avLst/>
              <a:gdLst>
                <a:gd name="T0" fmla="*/ 0 w 785"/>
                <a:gd name="T1" fmla="*/ 103 h 1409"/>
                <a:gd name="T2" fmla="*/ 360 w 785"/>
                <a:gd name="T3" fmla="*/ 1409 h 1409"/>
                <a:gd name="T4" fmla="*/ 785 w 785"/>
                <a:gd name="T5" fmla="*/ 1273 h 1409"/>
                <a:gd name="T6" fmla="*/ 330 w 785"/>
                <a:gd name="T7" fmla="*/ 0 h 1409"/>
                <a:gd name="T8" fmla="*/ 0 w 785"/>
                <a:gd name="T9" fmla="*/ 103 h 1409"/>
              </a:gdLst>
              <a:ahLst/>
              <a:cxnLst>
                <a:cxn ang="0">
                  <a:pos x="T0" y="T1"/>
                </a:cxn>
                <a:cxn ang="0">
                  <a:pos x="T2" y="T3"/>
                </a:cxn>
                <a:cxn ang="0">
                  <a:pos x="T4" y="T5"/>
                </a:cxn>
                <a:cxn ang="0">
                  <a:pos x="T6" y="T7"/>
                </a:cxn>
                <a:cxn ang="0">
                  <a:pos x="T8" y="T9"/>
                </a:cxn>
              </a:cxnLst>
              <a:rect l="0" t="0" r="r" b="b"/>
              <a:pathLst>
                <a:path w="785" h="1409">
                  <a:moveTo>
                    <a:pt x="0" y="103"/>
                  </a:moveTo>
                  <a:lnTo>
                    <a:pt x="360" y="1409"/>
                  </a:lnTo>
                  <a:lnTo>
                    <a:pt x="785" y="1273"/>
                  </a:lnTo>
                  <a:lnTo>
                    <a:pt x="330" y="0"/>
                  </a:lnTo>
                  <a:lnTo>
                    <a:pt x="0" y="103"/>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69" name="Freeform 22"/>
            <p:cNvSpPr>
              <a:spLocks/>
            </p:cNvSpPr>
            <p:nvPr/>
          </p:nvSpPr>
          <p:spPr bwMode="auto">
            <a:xfrm>
              <a:off x="8542338" y="5919788"/>
              <a:ext cx="830263" cy="2195513"/>
            </a:xfrm>
            <a:custGeom>
              <a:avLst/>
              <a:gdLst>
                <a:gd name="T0" fmla="*/ 0 w 523"/>
                <a:gd name="T1" fmla="*/ 32 h 1383"/>
                <a:gd name="T2" fmla="*/ 82 w 523"/>
                <a:gd name="T3" fmla="*/ 1383 h 1383"/>
                <a:gd name="T4" fmla="*/ 523 w 523"/>
                <a:gd name="T5" fmla="*/ 1339 h 1383"/>
                <a:gd name="T6" fmla="*/ 343 w 523"/>
                <a:gd name="T7" fmla="*/ 0 h 1383"/>
                <a:gd name="T8" fmla="*/ 0 w 523"/>
                <a:gd name="T9" fmla="*/ 32 h 1383"/>
              </a:gdLst>
              <a:ahLst/>
              <a:cxnLst>
                <a:cxn ang="0">
                  <a:pos x="T0" y="T1"/>
                </a:cxn>
                <a:cxn ang="0">
                  <a:pos x="T2" y="T3"/>
                </a:cxn>
                <a:cxn ang="0">
                  <a:pos x="T4" y="T5"/>
                </a:cxn>
                <a:cxn ang="0">
                  <a:pos x="T6" y="T7"/>
                </a:cxn>
                <a:cxn ang="0">
                  <a:pos x="T8" y="T9"/>
                </a:cxn>
              </a:cxnLst>
              <a:rect l="0" t="0" r="r" b="b"/>
              <a:pathLst>
                <a:path w="523" h="1383">
                  <a:moveTo>
                    <a:pt x="0" y="32"/>
                  </a:moveTo>
                  <a:lnTo>
                    <a:pt x="82" y="1383"/>
                  </a:lnTo>
                  <a:lnTo>
                    <a:pt x="523" y="1339"/>
                  </a:lnTo>
                  <a:lnTo>
                    <a:pt x="343" y="0"/>
                  </a:lnTo>
                  <a:lnTo>
                    <a:pt x="0" y="3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0" name="Freeform 23"/>
            <p:cNvSpPr>
              <a:spLocks/>
            </p:cNvSpPr>
            <p:nvPr/>
          </p:nvSpPr>
          <p:spPr bwMode="auto">
            <a:xfrm>
              <a:off x="7180263" y="5903913"/>
              <a:ext cx="862013" cy="2201863"/>
            </a:xfrm>
            <a:custGeom>
              <a:avLst/>
              <a:gdLst>
                <a:gd name="T0" fmla="*/ 201 w 543"/>
                <a:gd name="T1" fmla="*/ 0 h 1387"/>
                <a:gd name="T2" fmla="*/ 0 w 543"/>
                <a:gd name="T3" fmla="*/ 1337 h 1387"/>
                <a:gd name="T4" fmla="*/ 441 w 543"/>
                <a:gd name="T5" fmla="*/ 1387 h 1387"/>
                <a:gd name="T6" fmla="*/ 543 w 543"/>
                <a:gd name="T7" fmla="*/ 40 h 1387"/>
                <a:gd name="T8" fmla="*/ 201 w 543"/>
                <a:gd name="T9" fmla="*/ 0 h 1387"/>
              </a:gdLst>
              <a:ahLst/>
              <a:cxnLst>
                <a:cxn ang="0">
                  <a:pos x="T0" y="T1"/>
                </a:cxn>
                <a:cxn ang="0">
                  <a:pos x="T2" y="T3"/>
                </a:cxn>
                <a:cxn ang="0">
                  <a:pos x="T4" y="T5"/>
                </a:cxn>
                <a:cxn ang="0">
                  <a:pos x="T6" y="T7"/>
                </a:cxn>
                <a:cxn ang="0">
                  <a:pos x="T8" y="T9"/>
                </a:cxn>
              </a:cxnLst>
              <a:rect l="0" t="0" r="r" b="b"/>
              <a:pathLst>
                <a:path w="543" h="1387">
                  <a:moveTo>
                    <a:pt x="201" y="0"/>
                  </a:moveTo>
                  <a:lnTo>
                    <a:pt x="0" y="1337"/>
                  </a:lnTo>
                  <a:lnTo>
                    <a:pt x="441" y="1387"/>
                  </a:lnTo>
                  <a:lnTo>
                    <a:pt x="543" y="40"/>
                  </a:lnTo>
                  <a:lnTo>
                    <a:pt x="201"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1" name="Freeform 24"/>
            <p:cNvSpPr>
              <a:spLocks/>
            </p:cNvSpPr>
            <p:nvPr/>
          </p:nvSpPr>
          <p:spPr bwMode="auto">
            <a:xfrm>
              <a:off x="5735638" y="5622925"/>
              <a:ext cx="1273175" cy="2233613"/>
            </a:xfrm>
            <a:custGeom>
              <a:avLst/>
              <a:gdLst>
                <a:gd name="T0" fmla="*/ 477 w 802"/>
                <a:gd name="T1" fmla="*/ 0 h 1407"/>
                <a:gd name="T2" fmla="*/ 0 w 802"/>
                <a:gd name="T3" fmla="*/ 1267 h 1407"/>
                <a:gd name="T4" fmla="*/ 423 w 802"/>
                <a:gd name="T5" fmla="*/ 1407 h 1407"/>
                <a:gd name="T6" fmla="*/ 802 w 802"/>
                <a:gd name="T7" fmla="*/ 109 h 1407"/>
                <a:gd name="T8" fmla="*/ 477 w 802"/>
                <a:gd name="T9" fmla="*/ 0 h 1407"/>
              </a:gdLst>
              <a:ahLst/>
              <a:cxnLst>
                <a:cxn ang="0">
                  <a:pos x="T0" y="T1"/>
                </a:cxn>
                <a:cxn ang="0">
                  <a:pos x="T2" y="T3"/>
                </a:cxn>
                <a:cxn ang="0">
                  <a:pos x="T4" y="T5"/>
                </a:cxn>
                <a:cxn ang="0">
                  <a:pos x="T6" y="T7"/>
                </a:cxn>
                <a:cxn ang="0">
                  <a:pos x="T8" y="T9"/>
                </a:cxn>
              </a:cxnLst>
              <a:rect l="0" t="0" r="r" b="b"/>
              <a:pathLst>
                <a:path w="802" h="1407">
                  <a:moveTo>
                    <a:pt x="477" y="0"/>
                  </a:moveTo>
                  <a:lnTo>
                    <a:pt x="0" y="1267"/>
                  </a:lnTo>
                  <a:lnTo>
                    <a:pt x="423" y="1407"/>
                  </a:lnTo>
                  <a:lnTo>
                    <a:pt x="802" y="109"/>
                  </a:lnTo>
                  <a:lnTo>
                    <a:pt x="477"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2" name="Freeform 25"/>
            <p:cNvSpPr>
              <a:spLocks/>
            </p:cNvSpPr>
            <p:nvPr/>
          </p:nvSpPr>
          <p:spPr bwMode="auto">
            <a:xfrm>
              <a:off x="4408488" y="5137150"/>
              <a:ext cx="1628775" cy="2166938"/>
            </a:xfrm>
            <a:custGeom>
              <a:avLst/>
              <a:gdLst>
                <a:gd name="T0" fmla="*/ 728 w 1026"/>
                <a:gd name="T1" fmla="*/ 0 h 1365"/>
                <a:gd name="T2" fmla="*/ 0 w 1026"/>
                <a:gd name="T3" fmla="*/ 1140 h 1365"/>
                <a:gd name="T4" fmla="*/ 383 w 1026"/>
                <a:gd name="T5" fmla="*/ 1365 h 1365"/>
                <a:gd name="T6" fmla="*/ 1026 w 1026"/>
                <a:gd name="T7" fmla="*/ 174 h 1365"/>
                <a:gd name="T8" fmla="*/ 728 w 1026"/>
                <a:gd name="T9" fmla="*/ 0 h 1365"/>
              </a:gdLst>
              <a:ahLst/>
              <a:cxnLst>
                <a:cxn ang="0">
                  <a:pos x="T0" y="T1"/>
                </a:cxn>
                <a:cxn ang="0">
                  <a:pos x="T2" y="T3"/>
                </a:cxn>
                <a:cxn ang="0">
                  <a:pos x="T4" y="T5"/>
                </a:cxn>
                <a:cxn ang="0">
                  <a:pos x="T6" y="T7"/>
                </a:cxn>
                <a:cxn ang="0">
                  <a:pos x="T8" y="T9"/>
                </a:cxn>
              </a:cxnLst>
              <a:rect l="0" t="0" r="r" b="b"/>
              <a:pathLst>
                <a:path w="1026" h="1365">
                  <a:moveTo>
                    <a:pt x="728" y="0"/>
                  </a:moveTo>
                  <a:lnTo>
                    <a:pt x="0" y="1140"/>
                  </a:lnTo>
                  <a:lnTo>
                    <a:pt x="383" y="1365"/>
                  </a:lnTo>
                  <a:lnTo>
                    <a:pt x="1026" y="174"/>
                  </a:lnTo>
                  <a:lnTo>
                    <a:pt x="728"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3" name="Freeform 26"/>
            <p:cNvSpPr>
              <a:spLocks/>
            </p:cNvSpPr>
            <p:nvPr/>
          </p:nvSpPr>
          <p:spPr bwMode="auto">
            <a:xfrm>
              <a:off x="3252788" y="4468813"/>
              <a:ext cx="1909763" cy="2006600"/>
            </a:xfrm>
            <a:custGeom>
              <a:avLst/>
              <a:gdLst>
                <a:gd name="T0" fmla="*/ 949 w 1203"/>
                <a:gd name="T1" fmla="*/ 0 h 1264"/>
                <a:gd name="T2" fmla="*/ 0 w 1203"/>
                <a:gd name="T3" fmla="*/ 964 h 1264"/>
                <a:gd name="T4" fmla="*/ 327 w 1203"/>
                <a:gd name="T5" fmla="*/ 1264 h 1264"/>
                <a:gd name="T6" fmla="*/ 1203 w 1203"/>
                <a:gd name="T7" fmla="*/ 234 h 1264"/>
                <a:gd name="T8" fmla="*/ 949 w 1203"/>
                <a:gd name="T9" fmla="*/ 0 h 1264"/>
              </a:gdLst>
              <a:ahLst/>
              <a:cxnLst>
                <a:cxn ang="0">
                  <a:pos x="T0" y="T1"/>
                </a:cxn>
                <a:cxn ang="0">
                  <a:pos x="T2" y="T3"/>
                </a:cxn>
                <a:cxn ang="0">
                  <a:pos x="T4" y="T5"/>
                </a:cxn>
                <a:cxn ang="0">
                  <a:pos x="T6" y="T7"/>
                </a:cxn>
                <a:cxn ang="0">
                  <a:pos x="T8" y="T9"/>
                </a:cxn>
              </a:cxnLst>
              <a:rect l="0" t="0" r="r" b="b"/>
              <a:pathLst>
                <a:path w="1203" h="1264">
                  <a:moveTo>
                    <a:pt x="949" y="0"/>
                  </a:moveTo>
                  <a:lnTo>
                    <a:pt x="0" y="964"/>
                  </a:lnTo>
                  <a:lnTo>
                    <a:pt x="327" y="1264"/>
                  </a:lnTo>
                  <a:lnTo>
                    <a:pt x="1203" y="234"/>
                  </a:lnTo>
                  <a:lnTo>
                    <a:pt x="94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4" name="Freeform 27"/>
            <p:cNvSpPr>
              <a:spLocks/>
            </p:cNvSpPr>
            <p:nvPr/>
          </p:nvSpPr>
          <p:spPr bwMode="auto">
            <a:xfrm>
              <a:off x="2317750" y="3648075"/>
              <a:ext cx="2109788" cy="1758950"/>
            </a:xfrm>
            <a:custGeom>
              <a:avLst/>
              <a:gdLst>
                <a:gd name="T0" fmla="*/ 1129 w 1329"/>
                <a:gd name="T1" fmla="*/ 0 h 1108"/>
                <a:gd name="T2" fmla="*/ 0 w 1329"/>
                <a:gd name="T3" fmla="*/ 747 h 1108"/>
                <a:gd name="T4" fmla="*/ 259 w 1329"/>
                <a:gd name="T5" fmla="*/ 1108 h 1108"/>
                <a:gd name="T6" fmla="*/ 1329 w 1329"/>
                <a:gd name="T7" fmla="*/ 282 h 1108"/>
                <a:gd name="T8" fmla="*/ 1129 w 1329"/>
                <a:gd name="T9" fmla="*/ 0 h 1108"/>
              </a:gdLst>
              <a:ahLst/>
              <a:cxnLst>
                <a:cxn ang="0">
                  <a:pos x="T0" y="T1"/>
                </a:cxn>
                <a:cxn ang="0">
                  <a:pos x="T2" y="T3"/>
                </a:cxn>
                <a:cxn ang="0">
                  <a:pos x="T4" y="T5"/>
                </a:cxn>
                <a:cxn ang="0">
                  <a:pos x="T6" y="T7"/>
                </a:cxn>
                <a:cxn ang="0">
                  <a:pos x="T8" y="T9"/>
                </a:cxn>
              </a:cxnLst>
              <a:rect l="0" t="0" r="r" b="b"/>
              <a:pathLst>
                <a:path w="1329" h="1108">
                  <a:moveTo>
                    <a:pt x="1129" y="0"/>
                  </a:moveTo>
                  <a:lnTo>
                    <a:pt x="0" y="747"/>
                  </a:lnTo>
                  <a:lnTo>
                    <a:pt x="259" y="1108"/>
                  </a:lnTo>
                  <a:lnTo>
                    <a:pt x="1329" y="282"/>
                  </a:lnTo>
                  <a:lnTo>
                    <a:pt x="112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5" name="Freeform 28"/>
            <p:cNvSpPr>
              <a:spLocks/>
            </p:cNvSpPr>
            <p:nvPr/>
          </p:nvSpPr>
          <p:spPr bwMode="auto">
            <a:xfrm>
              <a:off x="1646238" y="2711450"/>
              <a:ext cx="2217738" cy="1431925"/>
            </a:xfrm>
            <a:custGeom>
              <a:avLst/>
              <a:gdLst>
                <a:gd name="T0" fmla="*/ 1259 w 1397"/>
                <a:gd name="T1" fmla="*/ 0 h 902"/>
                <a:gd name="T2" fmla="*/ 0 w 1397"/>
                <a:gd name="T3" fmla="*/ 495 h 902"/>
                <a:gd name="T4" fmla="*/ 177 w 1397"/>
                <a:gd name="T5" fmla="*/ 902 h 902"/>
                <a:gd name="T6" fmla="*/ 1397 w 1397"/>
                <a:gd name="T7" fmla="*/ 317 h 902"/>
                <a:gd name="T8" fmla="*/ 1259 w 1397"/>
                <a:gd name="T9" fmla="*/ 0 h 902"/>
              </a:gdLst>
              <a:ahLst/>
              <a:cxnLst>
                <a:cxn ang="0">
                  <a:pos x="T0" y="T1"/>
                </a:cxn>
                <a:cxn ang="0">
                  <a:pos x="T2" y="T3"/>
                </a:cxn>
                <a:cxn ang="0">
                  <a:pos x="T4" y="T5"/>
                </a:cxn>
                <a:cxn ang="0">
                  <a:pos x="T6" y="T7"/>
                </a:cxn>
                <a:cxn ang="0">
                  <a:pos x="T8" y="T9"/>
                </a:cxn>
              </a:cxnLst>
              <a:rect l="0" t="0" r="r" b="b"/>
              <a:pathLst>
                <a:path w="1397" h="902">
                  <a:moveTo>
                    <a:pt x="1259" y="0"/>
                  </a:moveTo>
                  <a:lnTo>
                    <a:pt x="0" y="495"/>
                  </a:lnTo>
                  <a:lnTo>
                    <a:pt x="177" y="902"/>
                  </a:lnTo>
                  <a:lnTo>
                    <a:pt x="1397" y="317"/>
                  </a:lnTo>
                  <a:lnTo>
                    <a:pt x="125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6" name="Freeform 29"/>
            <p:cNvSpPr>
              <a:spLocks/>
            </p:cNvSpPr>
            <p:nvPr/>
          </p:nvSpPr>
          <p:spPr bwMode="auto">
            <a:xfrm>
              <a:off x="1268413" y="1697038"/>
              <a:ext cx="2227263" cy="1046163"/>
            </a:xfrm>
            <a:custGeom>
              <a:avLst/>
              <a:gdLst>
                <a:gd name="T0" fmla="*/ 1333 w 1403"/>
                <a:gd name="T1" fmla="*/ 0 h 659"/>
                <a:gd name="T2" fmla="*/ 0 w 1403"/>
                <a:gd name="T3" fmla="*/ 224 h 659"/>
                <a:gd name="T4" fmla="*/ 88 w 1403"/>
                <a:gd name="T5" fmla="*/ 659 h 659"/>
                <a:gd name="T6" fmla="*/ 1403 w 1403"/>
                <a:gd name="T7" fmla="*/ 339 h 659"/>
                <a:gd name="T8" fmla="*/ 1333 w 1403"/>
                <a:gd name="T9" fmla="*/ 0 h 659"/>
              </a:gdLst>
              <a:ahLst/>
              <a:cxnLst>
                <a:cxn ang="0">
                  <a:pos x="T0" y="T1"/>
                </a:cxn>
                <a:cxn ang="0">
                  <a:pos x="T2" y="T3"/>
                </a:cxn>
                <a:cxn ang="0">
                  <a:pos x="T4" y="T5"/>
                </a:cxn>
                <a:cxn ang="0">
                  <a:pos x="T6" y="T7"/>
                </a:cxn>
                <a:cxn ang="0">
                  <a:pos x="T8" y="T9"/>
                </a:cxn>
              </a:cxnLst>
              <a:rect l="0" t="0" r="r" b="b"/>
              <a:pathLst>
                <a:path w="1403" h="659">
                  <a:moveTo>
                    <a:pt x="1333" y="0"/>
                  </a:moveTo>
                  <a:lnTo>
                    <a:pt x="0" y="224"/>
                  </a:lnTo>
                  <a:lnTo>
                    <a:pt x="88" y="659"/>
                  </a:lnTo>
                  <a:lnTo>
                    <a:pt x="1403" y="339"/>
                  </a:lnTo>
                  <a:lnTo>
                    <a:pt x="1333"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7" name="Freeform 30"/>
            <p:cNvSpPr>
              <a:spLocks/>
            </p:cNvSpPr>
            <p:nvPr/>
          </p:nvSpPr>
          <p:spPr bwMode="auto">
            <a:xfrm>
              <a:off x="1193800" y="557213"/>
              <a:ext cx="2149475" cy="706438"/>
            </a:xfrm>
            <a:custGeom>
              <a:avLst/>
              <a:gdLst>
                <a:gd name="T0" fmla="*/ 1354 w 1354"/>
                <a:gd name="T1" fmla="*/ 59 h 445"/>
                <a:gd name="T2" fmla="*/ 4 w 1354"/>
                <a:gd name="T3" fmla="*/ 0 h 445"/>
                <a:gd name="T4" fmla="*/ 0 w 1354"/>
                <a:gd name="T5" fmla="*/ 445 h 445"/>
                <a:gd name="T6" fmla="*/ 1352 w 1354"/>
                <a:gd name="T7" fmla="*/ 405 h 445"/>
                <a:gd name="T8" fmla="*/ 1354 w 1354"/>
                <a:gd name="T9" fmla="*/ 59 h 445"/>
              </a:gdLst>
              <a:ahLst/>
              <a:cxnLst>
                <a:cxn ang="0">
                  <a:pos x="T0" y="T1"/>
                </a:cxn>
                <a:cxn ang="0">
                  <a:pos x="T2" y="T3"/>
                </a:cxn>
                <a:cxn ang="0">
                  <a:pos x="T4" y="T5"/>
                </a:cxn>
                <a:cxn ang="0">
                  <a:pos x="T6" y="T7"/>
                </a:cxn>
                <a:cxn ang="0">
                  <a:pos x="T8" y="T9"/>
                </a:cxn>
              </a:cxnLst>
              <a:rect l="0" t="0" r="r" b="b"/>
              <a:pathLst>
                <a:path w="1354" h="445">
                  <a:moveTo>
                    <a:pt x="1354" y="59"/>
                  </a:moveTo>
                  <a:lnTo>
                    <a:pt x="4" y="0"/>
                  </a:lnTo>
                  <a:lnTo>
                    <a:pt x="0" y="445"/>
                  </a:lnTo>
                  <a:lnTo>
                    <a:pt x="1352" y="405"/>
                  </a:lnTo>
                  <a:lnTo>
                    <a:pt x="1354" y="59"/>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8" name="Freeform 31"/>
            <p:cNvSpPr>
              <a:spLocks/>
            </p:cNvSpPr>
            <p:nvPr/>
          </p:nvSpPr>
          <p:spPr bwMode="auto">
            <a:xfrm>
              <a:off x="12336463" y="5213350"/>
              <a:ext cx="2389188" cy="2452688"/>
            </a:xfrm>
            <a:custGeom>
              <a:avLst/>
              <a:gdLst>
                <a:gd name="T0" fmla="*/ 0 w 1505"/>
                <a:gd name="T1" fmla="*/ 294 h 1545"/>
                <a:gd name="T2" fmla="*/ 1106 w 1505"/>
                <a:gd name="T3" fmla="*/ 1545 h 1545"/>
                <a:gd name="T4" fmla="*/ 1505 w 1505"/>
                <a:gd name="T5" fmla="*/ 1168 h 1545"/>
                <a:gd name="T6" fmla="*/ 310 w 1505"/>
                <a:gd name="T7" fmla="*/ 0 h 1545"/>
                <a:gd name="T8" fmla="*/ 0 w 1505"/>
                <a:gd name="T9" fmla="*/ 294 h 1545"/>
              </a:gdLst>
              <a:ahLst/>
              <a:cxnLst>
                <a:cxn ang="0">
                  <a:pos x="T0" y="T1"/>
                </a:cxn>
                <a:cxn ang="0">
                  <a:pos x="T2" y="T3"/>
                </a:cxn>
                <a:cxn ang="0">
                  <a:pos x="T4" y="T5"/>
                </a:cxn>
                <a:cxn ang="0">
                  <a:pos x="T6" y="T7"/>
                </a:cxn>
                <a:cxn ang="0">
                  <a:pos x="T8" y="T9"/>
                </a:cxn>
              </a:cxnLst>
              <a:rect l="0" t="0" r="r" b="b"/>
              <a:pathLst>
                <a:path w="1505" h="1545">
                  <a:moveTo>
                    <a:pt x="0" y="294"/>
                  </a:moveTo>
                  <a:lnTo>
                    <a:pt x="1106" y="1545"/>
                  </a:lnTo>
                  <a:lnTo>
                    <a:pt x="1505" y="1168"/>
                  </a:lnTo>
                  <a:lnTo>
                    <a:pt x="310" y="0"/>
                  </a:lnTo>
                  <a:lnTo>
                    <a:pt x="0" y="294"/>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79" name="Freeform 32"/>
            <p:cNvSpPr>
              <a:spLocks/>
            </p:cNvSpPr>
            <p:nvPr/>
          </p:nvSpPr>
          <p:spPr bwMode="auto">
            <a:xfrm>
              <a:off x="11272838" y="6056313"/>
              <a:ext cx="2043113" cy="2662238"/>
            </a:xfrm>
            <a:custGeom>
              <a:avLst/>
              <a:gdLst>
                <a:gd name="T0" fmla="*/ 0 w 1287"/>
                <a:gd name="T1" fmla="*/ 222 h 1677"/>
                <a:gd name="T2" fmla="*/ 820 w 1287"/>
                <a:gd name="T3" fmla="*/ 1677 h 1677"/>
                <a:gd name="T4" fmla="*/ 1287 w 1287"/>
                <a:gd name="T5" fmla="*/ 1389 h 1677"/>
                <a:gd name="T6" fmla="*/ 361 w 1287"/>
                <a:gd name="T7" fmla="*/ 0 h 1677"/>
                <a:gd name="T8" fmla="*/ 0 w 1287"/>
                <a:gd name="T9" fmla="*/ 222 h 1677"/>
              </a:gdLst>
              <a:ahLst/>
              <a:cxnLst>
                <a:cxn ang="0">
                  <a:pos x="T0" y="T1"/>
                </a:cxn>
                <a:cxn ang="0">
                  <a:pos x="T2" y="T3"/>
                </a:cxn>
                <a:cxn ang="0">
                  <a:pos x="T4" y="T5"/>
                </a:cxn>
                <a:cxn ang="0">
                  <a:pos x="T6" y="T7"/>
                </a:cxn>
                <a:cxn ang="0">
                  <a:pos x="T8" y="T9"/>
                </a:cxn>
              </a:cxnLst>
              <a:rect l="0" t="0" r="r" b="b"/>
              <a:pathLst>
                <a:path w="1287" h="1677">
                  <a:moveTo>
                    <a:pt x="0" y="222"/>
                  </a:moveTo>
                  <a:lnTo>
                    <a:pt x="820" y="1677"/>
                  </a:lnTo>
                  <a:lnTo>
                    <a:pt x="1287" y="1389"/>
                  </a:lnTo>
                  <a:lnTo>
                    <a:pt x="361" y="0"/>
                  </a:lnTo>
                  <a:lnTo>
                    <a:pt x="0" y="22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0" name="Freeform 33"/>
            <p:cNvSpPr>
              <a:spLocks/>
            </p:cNvSpPr>
            <p:nvPr/>
          </p:nvSpPr>
          <p:spPr bwMode="auto">
            <a:xfrm>
              <a:off x="10079038" y="6673850"/>
              <a:ext cx="1611313" cy="2754313"/>
            </a:xfrm>
            <a:custGeom>
              <a:avLst/>
              <a:gdLst>
                <a:gd name="T0" fmla="*/ 0 w 1015"/>
                <a:gd name="T1" fmla="*/ 142 h 1735"/>
                <a:gd name="T2" fmla="*/ 499 w 1015"/>
                <a:gd name="T3" fmla="*/ 1735 h 1735"/>
                <a:gd name="T4" fmla="*/ 1015 w 1015"/>
                <a:gd name="T5" fmla="*/ 1551 h 1735"/>
                <a:gd name="T6" fmla="*/ 401 w 1015"/>
                <a:gd name="T7" fmla="*/ 0 h 1735"/>
                <a:gd name="T8" fmla="*/ 0 w 1015"/>
                <a:gd name="T9" fmla="*/ 142 h 1735"/>
              </a:gdLst>
              <a:ahLst/>
              <a:cxnLst>
                <a:cxn ang="0">
                  <a:pos x="T0" y="T1"/>
                </a:cxn>
                <a:cxn ang="0">
                  <a:pos x="T2" y="T3"/>
                </a:cxn>
                <a:cxn ang="0">
                  <a:pos x="T4" y="T5"/>
                </a:cxn>
                <a:cxn ang="0">
                  <a:pos x="T6" y="T7"/>
                </a:cxn>
                <a:cxn ang="0">
                  <a:pos x="T8" y="T9"/>
                </a:cxn>
              </a:cxnLst>
              <a:rect l="0" t="0" r="r" b="b"/>
              <a:pathLst>
                <a:path w="1015" h="1735">
                  <a:moveTo>
                    <a:pt x="0" y="142"/>
                  </a:moveTo>
                  <a:lnTo>
                    <a:pt x="499" y="1735"/>
                  </a:lnTo>
                  <a:lnTo>
                    <a:pt x="1015" y="1551"/>
                  </a:lnTo>
                  <a:lnTo>
                    <a:pt x="401" y="0"/>
                  </a:lnTo>
                  <a:lnTo>
                    <a:pt x="0" y="142"/>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1" name="Freeform 34"/>
            <p:cNvSpPr>
              <a:spLocks/>
            </p:cNvSpPr>
            <p:nvPr/>
          </p:nvSpPr>
          <p:spPr bwMode="auto">
            <a:xfrm>
              <a:off x="8805863" y="7042150"/>
              <a:ext cx="1114425" cy="2727325"/>
            </a:xfrm>
            <a:custGeom>
              <a:avLst/>
              <a:gdLst>
                <a:gd name="T0" fmla="*/ 0 w 702"/>
                <a:gd name="T1" fmla="*/ 56 h 1718"/>
                <a:gd name="T2" fmla="*/ 159 w 702"/>
                <a:gd name="T3" fmla="*/ 1718 h 1718"/>
                <a:gd name="T4" fmla="*/ 702 w 702"/>
                <a:gd name="T5" fmla="*/ 1646 h 1718"/>
                <a:gd name="T6" fmla="*/ 423 w 702"/>
                <a:gd name="T7" fmla="*/ 0 h 1718"/>
                <a:gd name="T8" fmla="*/ 0 w 702"/>
                <a:gd name="T9" fmla="*/ 56 h 1718"/>
              </a:gdLst>
              <a:ahLst/>
              <a:cxnLst>
                <a:cxn ang="0">
                  <a:pos x="T0" y="T1"/>
                </a:cxn>
                <a:cxn ang="0">
                  <a:pos x="T2" y="T3"/>
                </a:cxn>
                <a:cxn ang="0">
                  <a:pos x="T4" y="T5"/>
                </a:cxn>
                <a:cxn ang="0">
                  <a:pos x="T6" y="T7"/>
                </a:cxn>
                <a:cxn ang="0">
                  <a:pos x="T8" y="T9"/>
                </a:cxn>
              </a:cxnLst>
              <a:rect l="0" t="0" r="r" b="b"/>
              <a:pathLst>
                <a:path w="702" h="1718">
                  <a:moveTo>
                    <a:pt x="0" y="56"/>
                  </a:moveTo>
                  <a:lnTo>
                    <a:pt x="159" y="1718"/>
                  </a:lnTo>
                  <a:lnTo>
                    <a:pt x="702" y="1646"/>
                  </a:lnTo>
                  <a:lnTo>
                    <a:pt x="423" y="0"/>
                  </a:lnTo>
                  <a:lnTo>
                    <a:pt x="0" y="56"/>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2" name="Freeform 35"/>
            <p:cNvSpPr>
              <a:spLocks/>
            </p:cNvSpPr>
            <p:nvPr/>
          </p:nvSpPr>
          <p:spPr bwMode="auto">
            <a:xfrm>
              <a:off x="7212013" y="7096125"/>
              <a:ext cx="974725" cy="2698750"/>
            </a:xfrm>
            <a:custGeom>
              <a:avLst/>
              <a:gdLst>
                <a:gd name="T0" fmla="*/ 191 w 614"/>
                <a:gd name="T1" fmla="*/ 0 h 1700"/>
                <a:gd name="T2" fmla="*/ 0 w 614"/>
                <a:gd name="T3" fmla="*/ 1658 h 1700"/>
                <a:gd name="T4" fmla="*/ 547 w 614"/>
                <a:gd name="T5" fmla="*/ 1700 h 1700"/>
                <a:gd name="T6" fmla="*/ 614 w 614"/>
                <a:gd name="T7" fmla="*/ 32 h 1700"/>
                <a:gd name="T8" fmla="*/ 191 w 614"/>
                <a:gd name="T9" fmla="*/ 0 h 1700"/>
              </a:gdLst>
              <a:ahLst/>
              <a:cxnLst>
                <a:cxn ang="0">
                  <a:pos x="T0" y="T1"/>
                </a:cxn>
                <a:cxn ang="0">
                  <a:pos x="T2" y="T3"/>
                </a:cxn>
                <a:cxn ang="0">
                  <a:pos x="T4" y="T5"/>
                </a:cxn>
                <a:cxn ang="0">
                  <a:pos x="T6" y="T7"/>
                </a:cxn>
                <a:cxn ang="0">
                  <a:pos x="T8" y="T9"/>
                </a:cxn>
              </a:cxnLst>
              <a:rect l="0" t="0" r="r" b="b"/>
              <a:pathLst>
                <a:path w="614" h="1700">
                  <a:moveTo>
                    <a:pt x="191" y="0"/>
                  </a:moveTo>
                  <a:lnTo>
                    <a:pt x="0" y="1658"/>
                  </a:lnTo>
                  <a:lnTo>
                    <a:pt x="547" y="1700"/>
                  </a:lnTo>
                  <a:lnTo>
                    <a:pt x="614" y="32"/>
                  </a:lnTo>
                  <a:lnTo>
                    <a:pt x="191"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3" name="Freeform 36"/>
            <p:cNvSpPr>
              <a:spLocks/>
            </p:cNvSpPr>
            <p:nvPr/>
          </p:nvSpPr>
          <p:spPr bwMode="auto">
            <a:xfrm>
              <a:off x="5414963" y="6788150"/>
              <a:ext cx="1492250" cy="2759075"/>
            </a:xfrm>
            <a:custGeom>
              <a:avLst/>
              <a:gdLst>
                <a:gd name="T0" fmla="*/ 533 w 940"/>
                <a:gd name="T1" fmla="*/ 0 h 1738"/>
                <a:gd name="T2" fmla="*/ 0 w 940"/>
                <a:gd name="T3" fmla="*/ 1585 h 1738"/>
                <a:gd name="T4" fmla="*/ 527 w 940"/>
                <a:gd name="T5" fmla="*/ 1738 h 1738"/>
                <a:gd name="T6" fmla="*/ 940 w 940"/>
                <a:gd name="T7" fmla="*/ 122 h 1738"/>
                <a:gd name="T8" fmla="*/ 533 w 940"/>
                <a:gd name="T9" fmla="*/ 0 h 1738"/>
              </a:gdLst>
              <a:ahLst/>
              <a:cxnLst>
                <a:cxn ang="0">
                  <a:pos x="T0" y="T1"/>
                </a:cxn>
                <a:cxn ang="0">
                  <a:pos x="T2" y="T3"/>
                </a:cxn>
                <a:cxn ang="0">
                  <a:pos x="T4" y="T5"/>
                </a:cxn>
                <a:cxn ang="0">
                  <a:pos x="T6" y="T7"/>
                </a:cxn>
                <a:cxn ang="0">
                  <a:pos x="T8" y="T9"/>
                </a:cxn>
              </a:cxnLst>
              <a:rect l="0" t="0" r="r" b="b"/>
              <a:pathLst>
                <a:path w="940" h="1738">
                  <a:moveTo>
                    <a:pt x="533" y="0"/>
                  </a:moveTo>
                  <a:lnTo>
                    <a:pt x="0" y="1585"/>
                  </a:lnTo>
                  <a:lnTo>
                    <a:pt x="527" y="1738"/>
                  </a:lnTo>
                  <a:lnTo>
                    <a:pt x="940" y="122"/>
                  </a:lnTo>
                  <a:lnTo>
                    <a:pt x="533"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4" name="Freeform 37"/>
            <p:cNvSpPr>
              <a:spLocks/>
            </p:cNvSpPr>
            <p:nvPr/>
          </p:nvSpPr>
          <p:spPr bwMode="auto">
            <a:xfrm>
              <a:off x="3746500" y="6230938"/>
              <a:ext cx="1941513" cy="2695575"/>
            </a:xfrm>
            <a:custGeom>
              <a:avLst/>
              <a:gdLst>
                <a:gd name="T0" fmla="*/ 850 w 1223"/>
                <a:gd name="T1" fmla="*/ 0 h 1698"/>
                <a:gd name="T2" fmla="*/ 0 w 1223"/>
                <a:gd name="T3" fmla="*/ 1437 h 1698"/>
                <a:gd name="T4" fmla="*/ 483 w 1223"/>
                <a:gd name="T5" fmla="*/ 1698 h 1698"/>
                <a:gd name="T6" fmla="*/ 1223 w 1223"/>
                <a:gd name="T7" fmla="*/ 203 h 1698"/>
                <a:gd name="T8" fmla="*/ 850 w 1223"/>
                <a:gd name="T9" fmla="*/ 0 h 1698"/>
              </a:gdLst>
              <a:ahLst/>
              <a:cxnLst>
                <a:cxn ang="0">
                  <a:pos x="T0" y="T1"/>
                </a:cxn>
                <a:cxn ang="0">
                  <a:pos x="T2" y="T3"/>
                </a:cxn>
                <a:cxn ang="0">
                  <a:pos x="T4" y="T5"/>
                </a:cxn>
                <a:cxn ang="0">
                  <a:pos x="T6" y="T7"/>
                </a:cxn>
                <a:cxn ang="0">
                  <a:pos x="T8" y="T9"/>
                </a:cxn>
              </a:cxnLst>
              <a:rect l="0" t="0" r="r" b="b"/>
              <a:pathLst>
                <a:path w="1223" h="1698">
                  <a:moveTo>
                    <a:pt x="850" y="0"/>
                  </a:moveTo>
                  <a:lnTo>
                    <a:pt x="0" y="1437"/>
                  </a:lnTo>
                  <a:lnTo>
                    <a:pt x="483" y="1698"/>
                  </a:lnTo>
                  <a:lnTo>
                    <a:pt x="1223" y="203"/>
                  </a:lnTo>
                  <a:lnTo>
                    <a:pt x="850"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5" name="Freeform 38"/>
            <p:cNvSpPr>
              <a:spLocks/>
            </p:cNvSpPr>
            <p:nvPr/>
          </p:nvSpPr>
          <p:spPr bwMode="auto">
            <a:xfrm>
              <a:off x="2279650" y="5441950"/>
              <a:ext cx="2306638" cy="2516188"/>
            </a:xfrm>
            <a:custGeom>
              <a:avLst/>
              <a:gdLst>
                <a:gd name="T0" fmla="*/ 1129 w 1453"/>
                <a:gd name="T1" fmla="*/ 0 h 1585"/>
                <a:gd name="T2" fmla="*/ 0 w 1453"/>
                <a:gd name="T3" fmla="*/ 1229 h 1585"/>
                <a:gd name="T4" fmla="*/ 417 w 1453"/>
                <a:gd name="T5" fmla="*/ 1585 h 1585"/>
                <a:gd name="T6" fmla="*/ 1453 w 1453"/>
                <a:gd name="T7" fmla="*/ 275 h 1585"/>
                <a:gd name="T8" fmla="*/ 1129 w 1453"/>
                <a:gd name="T9" fmla="*/ 0 h 1585"/>
              </a:gdLst>
              <a:ahLst/>
              <a:cxnLst>
                <a:cxn ang="0">
                  <a:pos x="T0" y="T1"/>
                </a:cxn>
                <a:cxn ang="0">
                  <a:pos x="T2" y="T3"/>
                </a:cxn>
                <a:cxn ang="0">
                  <a:pos x="T4" y="T5"/>
                </a:cxn>
                <a:cxn ang="0">
                  <a:pos x="T6" y="T7"/>
                </a:cxn>
                <a:cxn ang="0">
                  <a:pos x="T8" y="T9"/>
                </a:cxn>
              </a:cxnLst>
              <a:rect l="0" t="0" r="r" b="b"/>
              <a:pathLst>
                <a:path w="1453" h="1585">
                  <a:moveTo>
                    <a:pt x="1129" y="0"/>
                  </a:moveTo>
                  <a:lnTo>
                    <a:pt x="0" y="1229"/>
                  </a:lnTo>
                  <a:lnTo>
                    <a:pt x="417" y="1585"/>
                  </a:lnTo>
                  <a:lnTo>
                    <a:pt x="1453" y="275"/>
                  </a:lnTo>
                  <a:lnTo>
                    <a:pt x="1129"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6" name="Freeform 39"/>
            <p:cNvSpPr>
              <a:spLocks/>
            </p:cNvSpPr>
            <p:nvPr/>
          </p:nvSpPr>
          <p:spPr bwMode="auto">
            <a:xfrm>
              <a:off x="1076325" y="4456113"/>
              <a:ext cx="2571750" cy="2227263"/>
            </a:xfrm>
            <a:custGeom>
              <a:avLst/>
              <a:gdLst>
                <a:gd name="T0" fmla="*/ 1361 w 1620"/>
                <a:gd name="T1" fmla="*/ 0 h 1403"/>
                <a:gd name="T2" fmla="*/ 0 w 1620"/>
                <a:gd name="T3" fmla="*/ 968 h 1403"/>
                <a:gd name="T4" fmla="*/ 335 w 1620"/>
                <a:gd name="T5" fmla="*/ 1403 h 1403"/>
                <a:gd name="T6" fmla="*/ 1620 w 1620"/>
                <a:gd name="T7" fmla="*/ 338 h 1403"/>
                <a:gd name="T8" fmla="*/ 1361 w 1620"/>
                <a:gd name="T9" fmla="*/ 0 h 1403"/>
              </a:gdLst>
              <a:ahLst/>
              <a:cxnLst>
                <a:cxn ang="0">
                  <a:pos x="T0" y="T1"/>
                </a:cxn>
                <a:cxn ang="0">
                  <a:pos x="T2" y="T3"/>
                </a:cxn>
                <a:cxn ang="0">
                  <a:pos x="T4" y="T5"/>
                </a:cxn>
                <a:cxn ang="0">
                  <a:pos x="T6" y="T7"/>
                </a:cxn>
                <a:cxn ang="0">
                  <a:pos x="T8" y="T9"/>
                </a:cxn>
              </a:cxnLst>
              <a:rect l="0" t="0" r="r" b="b"/>
              <a:pathLst>
                <a:path w="1620" h="1403">
                  <a:moveTo>
                    <a:pt x="1361" y="0"/>
                  </a:moveTo>
                  <a:lnTo>
                    <a:pt x="0" y="968"/>
                  </a:lnTo>
                  <a:lnTo>
                    <a:pt x="335" y="1403"/>
                  </a:lnTo>
                  <a:lnTo>
                    <a:pt x="1620" y="338"/>
                  </a:lnTo>
                  <a:lnTo>
                    <a:pt x="1361"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7" name="Freeform 40"/>
            <p:cNvSpPr>
              <a:spLocks/>
            </p:cNvSpPr>
            <p:nvPr/>
          </p:nvSpPr>
          <p:spPr bwMode="auto">
            <a:xfrm>
              <a:off x="192088" y="3319463"/>
              <a:ext cx="2720975" cy="1839913"/>
            </a:xfrm>
            <a:custGeom>
              <a:avLst/>
              <a:gdLst>
                <a:gd name="T0" fmla="*/ 1530 w 1714"/>
                <a:gd name="T1" fmla="*/ 0 h 1159"/>
                <a:gd name="T2" fmla="*/ 0 w 1714"/>
                <a:gd name="T3" fmla="*/ 664 h 1159"/>
                <a:gd name="T4" fmla="*/ 235 w 1714"/>
                <a:gd name="T5" fmla="*/ 1159 h 1159"/>
                <a:gd name="T6" fmla="*/ 1714 w 1714"/>
                <a:gd name="T7" fmla="*/ 385 h 1159"/>
                <a:gd name="T8" fmla="*/ 1530 w 1714"/>
                <a:gd name="T9" fmla="*/ 0 h 1159"/>
              </a:gdLst>
              <a:ahLst/>
              <a:cxnLst>
                <a:cxn ang="0">
                  <a:pos x="T0" y="T1"/>
                </a:cxn>
                <a:cxn ang="0">
                  <a:pos x="T2" y="T3"/>
                </a:cxn>
                <a:cxn ang="0">
                  <a:pos x="T4" y="T5"/>
                </a:cxn>
                <a:cxn ang="0">
                  <a:pos x="T6" y="T7"/>
                </a:cxn>
                <a:cxn ang="0">
                  <a:pos x="T8" y="T9"/>
                </a:cxn>
              </a:cxnLst>
              <a:rect l="0" t="0" r="r" b="b"/>
              <a:pathLst>
                <a:path w="1714" h="1159">
                  <a:moveTo>
                    <a:pt x="1530" y="0"/>
                  </a:moveTo>
                  <a:lnTo>
                    <a:pt x="0" y="664"/>
                  </a:lnTo>
                  <a:lnTo>
                    <a:pt x="235" y="1159"/>
                  </a:lnTo>
                  <a:lnTo>
                    <a:pt x="1714" y="385"/>
                  </a:lnTo>
                  <a:lnTo>
                    <a:pt x="1530"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8" name="Freeform 41"/>
            <p:cNvSpPr>
              <a:spLocks/>
            </p:cNvSpPr>
            <p:nvPr/>
          </p:nvSpPr>
          <p:spPr bwMode="auto">
            <a:xfrm>
              <a:off x="-336550" y="2079625"/>
              <a:ext cx="2755900" cy="1373188"/>
            </a:xfrm>
            <a:custGeom>
              <a:avLst/>
              <a:gdLst>
                <a:gd name="T0" fmla="*/ 1636 w 1736"/>
                <a:gd name="T1" fmla="*/ 0 h 865"/>
                <a:gd name="T2" fmla="*/ 0 w 1736"/>
                <a:gd name="T3" fmla="*/ 332 h 865"/>
                <a:gd name="T4" fmla="*/ 128 w 1736"/>
                <a:gd name="T5" fmla="*/ 865 h 865"/>
                <a:gd name="T6" fmla="*/ 1736 w 1736"/>
                <a:gd name="T7" fmla="*/ 414 h 865"/>
                <a:gd name="T8" fmla="*/ 1636 w 1736"/>
                <a:gd name="T9" fmla="*/ 0 h 865"/>
              </a:gdLst>
              <a:ahLst/>
              <a:cxnLst>
                <a:cxn ang="0">
                  <a:pos x="T0" y="T1"/>
                </a:cxn>
                <a:cxn ang="0">
                  <a:pos x="T2" y="T3"/>
                </a:cxn>
                <a:cxn ang="0">
                  <a:pos x="T4" y="T5"/>
                </a:cxn>
                <a:cxn ang="0">
                  <a:pos x="T6" y="T7"/>
                </a:cxn>
                <a:cxn ang="0">
                  <a:pos x="T8" y="T9"/>
                </a:cxn>
              </a:cxnLst>
              <a:rect l="0" t="0" r="r" b="b"/>
              <a:pathLst>
                <a:path w="1736" h="865">
                  <a:moveTo>
                    <a:pt x="1636" y="0"/>
                  </a:moveTo>
                  <a:lnTo>
                    <a:pt x="0" y="332"/>
                  </a:lnTo>
                  <a:lnTo>
                    <a:pt x="128" y="865"/>
                  </a:lnTo>
                  <a:lnTo>
                    <a:pt x="1736" y="414"/>
                  </a:lnTo>
                  <a:lnTo>
                    <a:pt x="1636" y="0"/>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sp>
          <p:nvSpPr>
            <p:cNvPr id="89" name="Freeform 42"/>
            <p:cNvSpPr>
              <a:spLocks/>
            </p:cNvSpPr>
            <p:nvPr/>
          </p:nvSpPr>
          <p:spPr bwMode="auto">
            <a:xfrm>
              <a:off x="-488950" y="765175"/>
              <a:ext cx="2670175" cy="871538"/>
            </a:xfrm>
            <a:custGeom>
              <a:avLst/>
              <a:gdLst>
                <a:gd name="T0" fmla="*/ 1670 w 1682"/>
                <a:gd name="T1" fmla="*/ 18 h 549"/>
                <a:gd name="T2" fmla="*/ 0 w 1682"/>
                <a:gd name="T3" fmla="*/ 0 h 549"/>
                <a:gd name="T4" fmla="*/ 16 w 1682"/>
                <a:gd name="T5" fmla="*/ 549 h 549"/>
                <a:gd name="T6" fmla="*/ 1682 w 1682"/>
                <a:gd name="T7" fmla="*/ 443 h 549"/>
                <a:gd name="T8" fmla="*/ 1670 w 1682"/>
                <a:gd name="T9" fmla="*/ 18 h 549"/>
              </a:gdLst>
              <a:ahLst/>
              <a:cxnLst>
                <a:cxn ang="0">
                  <a:pos x="T0" y="T1"/>
                </a:cxn>
                <a:cxn ang="0">
                  <a:pos x="T2" y="T3"/>
                </a:cxn>
                <a:cxn ang="0">
                  <a:pos x="T4" y="T5"/>
                </a:cxn>
                <a:cxn ang="0">
                  <a:pos x="T6" y="T7"/>
                </a:cxn>
                <a:cxn ang="0">
                  <a:pos x="T8" y="T9"/>
                </a:cxn>
              </a:cxnLst>
              <a:rect l="0" t="0" r="r" b="b"/>
              <a:pathLst>
                <a:path w="1682" h="549">
                  <a:moveTo>
                    <a:pt x="1670" y="18"/>
                  </a:moveTo>
                  <a:lnTo>
                    <a:pt x="0" y="0"/>
                  </a:lnTo>
                  <a:lnTo>
                    <a:pt x="16" y="549"/>
                  </a:lnTo>
                  <a:lnTo>
                    <a:pt x="1682" y="443"/>
                  </a:lnTo>
                  <a:lnTo>
                    <a:pt x="1670" y="18"/>
                  </a:lnTo>
                  <a:close/>
                </a:path>
              </a:pathLst>
            </a:custGeom>
            <a:solidFill>
              <a:srgbClr val="FFFFFF">
                <a:alpha val="8000"/>
              </a:srgbClr>
            </a:solidFill>
            <a:ln>
              <a:noFill/>
            </a:ln>
          </p:spPr>
          <p:txBody>
            <a:bodyPr vert="horz" wrap="square" lIns="91440" tIns="45720" rIns="91440" bIns="45720" numCol="1" anchor="t" anchorCtr="0" compatLnSpc="1">
              <a:prstTxWarp prst="textNoShape">
                <a:avLst/>
              </a:prstTxWarp>
            </a:bodyPr>
            <a:lstStyle/>
            <a:p>
              <a:endParaRPr lang="en-IE" dirty="0">
                <a:solidFill>
                  <a:srgbClr val="000000"/>
                </a:solidFill>
              </a:endParaRPr>
            </a:p>
          </p:txBody>
        </p:sp>
      </p:grpSp>
      <p:sp>
        <p:nvSpPr>
          <p:cNvPr id="4" name="Rectangle 3"/>
          <p:cNvSpPr/>
          <p:nvPr userDrawn="1"/>
        </p:nvSpPr>
        <p:spPr>
          <a:xfrm>
            <a:off x="0" y="0"/>
            <a:ext cx="12192000" cy="18961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solidFill>
                <a:srgbClr val="FFFFFF"/>
              </a:solidFill>
            </a:endParaRPr>
          </a:p>
        </p:txBody>
      </p:sp>
      <p:sp>
        <p:nvSpPr>
          <p:cNvPr id="7" name="Title 1"/>
          <p:cNvSpPr>
            <a:spLocks noGrp="1"/>
          </p:cNvSpPr>
          <p:nvPr>
            <p:ph type="ctrTitle"/>
          </p:nvPr>
        </p:nvSpPr>
        <p:spPr>
          <a:xfrm>
            <a:off x="1240800" y="2044305"/>
            <a:ext cx="9653336" cy="1554145"/>
          </a:xfrm>
        </p:spPr>
        <p:txBody>
          <a:bodyPr anchor="b">
            <a:normAutofit/>
          </a:bodyPr>
          <a:lstStyle>
            <a:lvl1pPr algn="l">
              <a:defRPr sz="5000">
                <a:solidFill>
                  <a:schemeClr val="bg2"/>
                </a:solidFill>
              </a:defRPr>
            </a:lvl1pPr>
          </a:lstStyle>
          <a:p>
            <a:r>
              <a:rPr lang="en-US"/>
              <a:t>Click to edit Master title style</a:t>
            </a:r>
            <a:endParaRPr lang="en-IE" dirty="0"/>
          </a:p>
        </p:txBody>
      </p:sp>
      <p:sp>
        <p:nvSpPr>
          <p:cNvPr id="8" name="Subtitle 2"/>
          <p:cNvSpPr>
            <a:spLocks noGrp="1"/>
          </p:cNvSpPr>
          <p:nvPr>
            <p:ph type="subTitle" idx="1"/>
          </p:nvPr>
        </p:nvSpPr>
        <p:spPr>
          <a:xfrm>
            <a:off x="1240800" y="3788851"/>
            <a:ext cx="9653336" cy="1655762"/>
          </a:xfrm>
        </p:spPr>
        <p:txBody>
          <a:bodyPr>
            <a:normAutofit/>
          </a:bodyPr>
          <a:lstStyle>
            <a:lvl1pPr marL="0" indent="0" algn="l">
              <a:buNone/>
              <a:defRPr sz="2800" b="1">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E" dirty="0"/>
          </a:p>
        </p:txBody>
      </p:sp>
      <p:sp>
        <p:nvSpPr>
          <p:cNvPr id="10" name="Date Placeholder 3"/>
          <p:cNvSpPr>
            <a:spLocks noGrp="1"/>
          </p:cNvSpPr>
          <p:nvPr>
            <p:ph type="dt" sz="half" idx="10"/>
          </p:nvPr>
        </p:nvSpPr>
        <p:spPr>
          <a:xfrm>
            <a:off x="1240800" y="5864714"/>
            <a:ext cx="2880000" cy="365125"/>
          </a:xfrm>
          <a:prstGeom prst="rect">
            <a:avLst/>
          </a:prstGeom>
        </p:spPr>
        <p:txBody>
          <a:bodyPr/>
          <a:lstStyle>
            <a:lvl1pPr>
              <a:defRPr>
                <a:solidFill>
                  <a:schemeClr val="bg2"/>
                </a:solidFill>
              </a:defRPr>
            </a:lvl1pPr>
          </a:lstStyle>
          <a:p>
            <a:endParaRPr lang="en-IE" dirty="0">
              <a:solidFill>
                <a:srgbClr val="FFFFFF"/>
              </a:solidFill>
            </a:endParaRPr>
          </a:p>
        </p:txBody>
      </p:sp>
      <p:sp>
        <p:nvSpPr>
          <p:cNvPr id="11" name="Footer Placeholder 4"/>
          <p:cNvSpPr>
            <a:spLocks noGrp="1"/>
          </p:cNvSpPr>
          <p:nvPr>
            <p:ph type="ftr" sz="quarter" idx="3"/>
          </p:nvPr>
        </p:nvSpPr>
        <p:spPr>
          <a:xfrm>
            <a:off x="4414136" y="5864714"/>
            <a:ext cx="6480000" cy="365125"/>
          </a:xfrm>
          <a:prstGeom prst="rect">
            <a:avLst/>
          </a:prstGeom>
        </p:spPr>
        <p:txBody>
          <a:bodyPr vert="horz" lIns="91440" tIns="45720" rIns="91440" bIns="45720" rtlCol="0" anchor="ctr"/>
          <a:lstStyle>
            <a:lvl1pPr algn="r">
              <a:defRPr sz="1800">
                <a:solidFill>
                  <a:schemeClr val="bg2"/>
                </a:solidFill>
              </a:defRPr>
            </a:lvl1pPr>
          </a:lstStyle>
          <a:p>
            <a:endParaRPr lang="en-IE" dirty="0">
              <a:solidFill>
                <a:srgbClr val="FFFFFF"/>
              </a:solidFill>
            </a:endParaRPr>
          </a:p>
        </p:txBody>
      </p:sp>
      <p:pic>
        <p:nvPicPr>
          <p:cNvPr id="90" name="Picture 8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91692" y="574335"/>
            <a:ext cx="2922416" cy="1130400"/>
          </a:xfrm>
          <a:prstGeom prst="rect">
            <a:avLst/>
          </a:prstGeom>
        </p:spPr>
      </p:pic>
      <p:pic>
        <p:nvPicPr>
          <p:cNvPr id="91" name="Picture 9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3668" y="863211"/>
            <a:ext cx="1298451" cy="213360"/>
          </a:xfrm>
          <a:prstGeom prst="rect">
            <a:avLst/>
          </a:prstGeom>
        </p:spPr>
      </p:pic>
    </p:spTree>
    <p:extLst>
      <p:ext uri="{BB962C8B-B14F-4D97-AF65-F5344CB8AC3E}">
        <p14:creationId xmlns:p14="http://schemas.microsoft.com/office/powerpoint/2010/main" val="1817024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60000" y="365126"/>
            <a:ext cx="10872000" cy="936000"/>
          </a:xfrm>
        </p:spPr>
        <p:txBody>
          <a:bodyPr/>
          <a:lstStyle/>
          <a:p>
            <a:r>
              <a:rPr lang="en-US"/>
              <a:t>Click to edit Master title style</a:t>
            </a:r>
            <a:endParaRPr lang="en-IE"/>
          </a:p>
        </p:txBody>
      </p:sp>
      <p:sp>
        <p:nvSpPr>
          <p:cNvPr id="3" name="Content Placeholder 2"/>
          <p:cNvSpPr>
            <a:spLocks noGrp="1"/>
          </p:cNvSpPr>
          <p:nvPr>
            <p:ph idx="1"/>
          </p:nvPr>
        </p:nvSpPr>
        <p:spPr>
          <a:xfrm>
            <a:off x="660000" y="1589127"/>
            <a:ext cx="5364000" cy="4120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5" name="Footer Placeholder 4"/>
          <p:cNvSpPr>
            <a:spLocks noGrp="1"/>
          </p:cNvSpPr>
          <p:nvPr>
            <p:ph type="ftr" sz="quarter" idx="11"/>
          </p:nvPr>
        </p:nvSpPr>
        <p:spPr/>
        <p:txBody>
          <a:bodyPr/>
          <a:lstStyle/>
          <a:p>
            <a:endParaRPr lang="en-IE" dirty="0">
              <a:solidFill>
                <a:srgbClr val="B2B4B2"/>
              </a:solidFill>
            </a:endParaRPr>
          </a:p>
        </p:txBody>
      </p:sp>
      <p:sp>
        <p:nvSpPr>
          <p:cNvPr id="6" name="Slide Number Placeholder 5"/>
          <p:cNvSpPr>
            <a:spLocks noGrp="1"/>
          </p:cNvSpPr>
          <p:nvPr>
            <p:ph type="sldNum" sz="quarter" idx="12"/>
          </p:nvPr>
        </p:nvSpPr>
        <p:spPr/>
        <p:txBody>
          <a:bodyPr/>
          <a:lstStyle/>
          <a:p>
            <a:fld id="{BDD9C4D5-18C8-4FD5-8DD3-707473F66EE9}" type="slidenum">
              <a:rPr lang="en-IE" smtClean="0">
                <a:solidFill>
                  <a:srgbClr val="06038D"/>
                </a:solidFill>
              </a:rPr>
              <a:pPr/>
              <a:t>‹#›</a:t>
            </a:fld>
            <a:endParaRPr lang="en-IE" dirty="0">
              <a:solidFill>
                <a:srgbClr val="06038D"/>
              </a:solidFill>
            </a:endParaRPr>
          </a:p>
        </p:txBody>
      </p:sp>
      <p:sp>
        <p:nvSpPr>
          <p:cNvPr id="7" name="Content Placeholder 2"/>
          <p:cNvSpPr>
            <a:spLocks noGrp="1"/>
          </p:cNvSpPr>
          <p:nvPr>
            <p:ph idx="13"/>
          </p:nvPr>
        </p:nvSpPr>
        <p:spPr>
          <a:xfrm>
            <a:off x="6168000" y="1589127"/>
            <a:ext cx="5364000" cy="4120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Tree>
    <p:extLst>
      <p:ext uri="{BB962C8B-B14F-4D97-AF65-F5344CB8AC3E}">
        <p14:creationId xmlns:p14="http://schemas.microsoft.com/office/powerpoint/2010/main" val="3127355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Content and Pictur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168000" y="1589127"/>
            <a:ext cx="5364000" cy="4120814"/>
          </a:xfrm>
        </p:spPr>
        <p:txBody>
          <a:bodyPr/>
          <a:lstStyle/>
          <a:p>
            <a:r>
              <a:rPr lang="en-US" dirty="0"/>
              <a:t>Click icon to add picture</a:t>
            </a:r>
            <a:endParaRPr lang="en-IE" dirty="0"/>
          </a:p>
        </p:txBody>
      </p:sp>
      <p:sp>
        <p:nvSpPr>
          <p:cNvPr id="2" name="Title 1"/>
          <p:cNvSpPr>
            <a:spLocks noGrp="1"/>
          </p:cNvSpPr>
          <p:nvPr>
            <p:ph type="title"/>
          </p:nvPr>
        </p:nvSpPr>
        <p:spPr>
          <a:xfrm>
            <a:off x="660000" y="365126"/>
            <a:ext cx="10872000" cy="936000"/>
          </a:xfrm>
        </p:spPr>
        <p:txBody>
          <a:bodyPr/>
          <a:lstStyle/>
          <a:p>
            <a:r>
              <a:rPr lang="en-US"/>
              <a:t>Click to edit Master title style</a:t>
            </a:r>
            <a:endParaRPr lang="en-IE"/>
          </a:p>
        </p:txBody>
      </p:sp>
      <p:sp>
        <p:nvSpPr>
          <p:cNvPr id="3" name="Content Placeholder 2"/>
          <p:cNvSpPr>
            <a:spLocks noGrp="1"/>
          </p:cNvSpPr>
          <p:nvPr>
            <p:ph idx="1"/>
          </p:nvPr>
        </p:nvSpPr>
        <p:spPr>
          <a:xfrm>
            <a:off x="660000" y="1589127"/>
            <a:ext cx="5364000" cy="4120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5" name="Footer Placeholder 4"/>
          <p:cNvSpPr>
            <a:spLocks noGrp="1"/>
          </p:cNvSpPr>
          <p:nvPr>
            <p:ph type="ftr" sz="quarter" idx="11"/>
          </p:nvPr>
        </p:nvSpPr>
        <p:spPr/>
        <p:txBody>
          <a:bodyPr/>
          <a:lstStyle/>
          <a:p>
            <a:endParaRPr lang="en-IE" dirty="0">
              <a:solidFill>
                <a:srgbClr val="B2B4B2"/>
              </a:solidFill>
            </a:endParaRPr>
          </a:p>
        </p:txBody>
      </p:sp>
      <p:sp>
        <p:nvSpPr>
          <p:cNvPr id="6" name="Slide Number Placeholder 5"/>
          <p:cNvSpPr>
            <a:spLocks noGrp="1"/>
          </p:cNvSpPr>
          <p:nvPr>
            <p:ph type="sldNum" sz="quarter" idx="12"/>
          </p:nvPr>
        </p:nvSpPr>
        <p:spPr/>
        <p:txBody>
          <a:bodyPr/>
          <a:lstStyle/>
          <a:p>
            <a:fld id="{BDD9C4D5-18C8-4FD5-8DD3-707473F66EE9}" type="slidenum">
              <a:rPr lang="en-IE" smtClean="0">
                <a:solidFill>
                  <a:srgbClr val="06038D"/>
                </a:solidFill>
              </a:rPr>
              <a:pPr/>
              <a:t>‹#›</a:t>
            </a:fld>
            <a:endParaRPr lang="en-IE" dirty="0">
              <a:solidFill>
                <a:srgbClr val="06038D"/>
              </a:solidFill>
            </a:endParaRPr>
          </a:p>
        </p:txBody>
      </p:sp>
    </p:spTree>
    <p:extLst>
      <p:ext uri="{BB962C8B-B14F-4D97-AF65-F5344CB8AC3E}">
        <p14:creationId xmlns:p14="http://schemas.microsoft.com/office/powerpoint/2010/main" val="133799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nd 3 Content">
    <p:spTree>
      <p:nvGrpSpPr>
        <p:cNvPr id="1" name=""/>
        <p:cNvGrpSpPr/>
        <p:nvPr/>
      </p:nvGrpSpPr>
      <p:grpSpPr>
        <a:xfrm>
          <a:off x="0" y="0"/>
          <a:ext cx="0" cy="0"/>
          <a:chOff x="0" y="0"/>
          <a:chExt cx="0" cy="0"/>
        </a:xfrm>
      </p:grpSpPr>
      <p:sp>
        <p:nvSpPr>
          <p:cNvPr id="2" name="Title 1"/>
          <p:cNvSpPr>
            <a:spLocks noGrp="1"/>
          </p:cNvSpPr>
          <p:nvPr>
            <p:ph type="title"/>
          </p:nvPr>
        </p:nvSpPr>
        <p:spPr>
          <a:xfrm>
            <a:off x="660000" y="365126"/>
            <a:ext cx="10872000" cy="936000"/>
          </a:xfrm>
        </p:spPr>
        <p:txBody>
          <a:bodyPr/>
          <a:lstStyle/>
          <a:p>
            <a:r>
              <a:rPr lang="en-US"/>
              <a:t>Click to edit Master title style</a:t>
            </a:r>
            <a:endParaRPr lang="en-IE"/>
          </a:p>
        </p:txBody>
      </p:sp>
      <p:sp>
        <p:nvSpPr>
          <p:cNvPr id="3" name="Content Placeholder 2"/>
          <p:cNvSpPr>
            <a:spLocks noGrp="1"/>
          </p:cNvSpPr>
          <p:nvPr>
            <p:ph idx="1"/>
          </p:nvPr>
        </p:nvSpPr>
        <p:spPr>
          <a:xfrm>
            <a:off x="660000" y="1589127"/>
            <a:ext cx="3528000" cy="4120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4"/>
          <p:cNvSpPr>
            <a:spLocks noGrp="1"/>
          </p:cNvSpPr>
          <p:nvPr>
            <p:ph type="ftr" sz="quarter" idx="11"/>
          </p:nvPr>
        </p:nvSpPr>
        <p:spPr/>
        <p:txBody>
          <a:bodyPr/>
          <a:lstStyle/>
          <a:p>
            <a:endParaRPr lang="en-IE" dirty="0">
              <a:solidFill>
                <a:srgbClr val="B2B4B2"/>
              </a:solidFill>
            </a:endParaRPr>
          </a:p>
        </p:txBody>
      </p:sp>
      <p:sp>
        <p:nvSpPr>
          <p:cNvPr id="6" name="Slide Number Placeholder 5"/>
          <p:cNvSpPr>
            <a:spLocks noGrp="1"/>
          </p:cNvSpPr>
          <p:nvPr>
            <p:ph type="sldNum" sz="quarter" idx="12"/>
          </p:nvPr>
        </p:nvSpPr>
        <p:spPr/>
        <p:txBody>
          <a:bodyPr/>
          <a:lstStyle/>
          <a:p>
            <a:fld id="{BDD9C4D5-18C8-4FD5-8DD3-707473F66EE9}" type="slidenum">
              <a:rPr lang="en-IE" smtClean="0">
                <a:solidFill>
                  <a:srgbClr val="06038D"/>
                </a:solidFill>
              </a:rPr>
              <a:pPr/>
              <a:t>‹#›</a:t>
            </a:fld>
            <a:endParaRPr lang="en-IE" dirty="0">
              <a:solidFill>
                <a:srgbClr val="06038D"/>
              </a:solidFill>
            </a:endParaRPr>
          </a:p>
        </p:txBody>
      </p:sp>
      <p:sp>
        <p:nvSpPr>
          <p:cNvPr id="7" name="Content Placeholder 2"/>
          <p:cNvSpPr>
            <a:spLocks noGrp="1"/>
          </p:cNvSpPr>
          <p:nvPr>
            <p:ph idx="13"/>
          </p:nvPr>
        </p:nvSpPr>
        <p:spPr>
          <a:xfrm>
            <a:off x="4332000" y="1589127"/>
            <a:ext cx="3528000" cy="4120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8" name="Content Placeholder 2"/>
          <p:cNvSpPr>
            <a:spLocks noGrp="1"/>
          </p:cNvSpPr>
          <p:nvPr>
            <p:ph idx="14"/>
          </p:nvPr>
        </p:nvSpPr>
        <p:spPr>
          <a:xfrm>
            <a:off x="8004000" y="1589127"/>
            <a:ext cx="3528000" cy="4120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1005915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and 4 Content Landscape">
    <p:spTree>
      <p:nvGrpSpPr>
        <p:cNvPr id="1" name=""/>
        <p:cNvGrpSpPr/>
        <p:nvPr/>
      </p:nvGrpSpPr>
      <p:grpSpPr>
        <a:xfrm>
          <a:off x="0" y="0"/>
          <a:ext cx="0" cy="0"/>
          <a:chOff x="0" y="0"/>
          <a:chExt cx="0" cy="0"/>
        </a:xfrm>
      </p:grpSpPr>
      <p:sp>
        <p:nvSpPr>
          <p:cNvPr id="2" name="Title 1"/>
          <p:cNvSpPr>
            <a:spLocks noGrp="1"/>
          </p:cNvSpPr>
          <p:nvPr>
            <p:ph type="title"/>
          </p:nvPr>
        </p:nvSpPr>
        <p:spPr>
          <a:xfrm>
            <a:off x="660000" y="365126"/>
            <a:ext cx="10872000" cy="936000"/>
          </a:xfrm>
        </p:spPr>
        <p:txBody>
          <a:bodyPr/>
          <a:lstStyle/>
          <a:p>
            <a:r>
              <a:rPr lang="en-US"/>
              <a:t>Click to edit Master title style</a:t>
            </a:r>
            <a:endParaRPr lang="en-IE"/>
          </a:p>
        </p:txBody>
      </p:sp>
      <p:sp>
        <p:nvSpPr>
          <p:cNvPr id="3" name="Content Placeholder 2"/>
          <p:cNvSpPr>
            <a:spLocks noGrp="1"/>
          </p:cNvSpPr>
          <p:nvPr>
            <p:ph idx="1"/>
          </p:nvPr>
        </p:nvSpPr>
        <p:spPr>
          <a:xfrm>
            <a:off x="660000" y="1589127"/>
            <a:ext cx="5364000" cy="1987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5" name="Footer Placeholder 4"/>
          <p:cNvSpPr>
            <a:spLocks noGrp="1"/>
          </p:cNvSpPr>
          <p:nvPr>
            <p:ph type="ftr" sz="quarter" idx="11"/>
          </p:nvPr>
        </p:nvSpPr>
        <p:spPr/>
        <p:txBody>
          <a:bodyPr/>
          <a:lstStyle/>
          <a:p>
            <a:endParaRPr lang="en-IE" dirty="0">
              <a:solidFill>
                <a:srgbClr val="B2B4B2"/>
              </a:solidFill>
            </a:endParaRPr>
          </a:p>
        </p:txBody>
      </p:sp>
      <p:sp>
        <p:nvSpPr>
          <p:cNvPr id="6" name="Slide Number Placeholder 5"/>
          <p:cNvSpPr>
            <a:spLocks noGrp="1"/>
          </p:cNvSpPr>
          <p:nvPr>
            <p:ph type="sldNum" sz="quarter" idx="12"/>
          </p:nvPr>
        </p:nvSpPr>
        <p:spPr/>
        <p:txBody>
          <a:bodyPr/>
          <a:lstStyle/>
          <a:p>
            <a:fld id="{BDD9C4D5-18C8-4FD5-8DD3-707473F66EE9}" type="slidenum">
              <a:rPr lang="en-IE" smtClean="0">
                <a:solidFill>
                  <a:srgbClr val="06038D"/>
                </a:solidFill>
              </a:rPr>
              <a:pPr/>
              <a:t>‹#›</a:t>
            </a:fld>
            <a:endParaRPr lang="en-IE" dirty="0">
              <a:solidFill>
                <a:srgbClr val="06038D"/>
              </a:solidFill>
            </a:endParaRPr>
          </a:p>
        </p:txBody>
      </p:sp>
      <p:sp>
        <p:nvSpPr>
          <p:cNvPr id="7" name="Content Placeholder 2"/>
          <p:cNvSpPr>
            <a:spLocks noGrp="1"/>
          </p:cNvSpPr>
          <p:nvPr>
            <p:ph idx="13"/>
          </p:nvPr>
        </p:nvSpPr>
        <p:spPr>
          <a:xfrm>
            <a:off x="6168000" y="1589127"/>
            <a:ext cx="5364000" cy="1987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8" name="Content Placeholder 2"/>
          <p:cNvSpPr>
            <a:spLocks noGrp="1"/>
          </p:cNvSpPr>
          <p:nvPr>
            <p:ph idx="14"/>
          </p:nvPr>
        </p:nvSpPr>
        <p:spPr>
          <a:xfrm>
            <a:off x="660000" y="3722741"/>
            <a:ext cx="5364000" cy="1987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9" name="Content Placeholder 2"/>
          <p:cNvSpPr>
            <a:spLocks noGrp="1"/>
          </p:cNvSpPr>
          <p:nvPr>
            <p:ph idx="15"/>
          </p:nvPr>
        </p:nvSpPr>
        <p:spPr>
          <a:xfrm>
            <a:off x="6168000" y="3722741"/>
            <a:ext cx="5364000" cy="1987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Tree>
    <p:extLst>
      <p:ext uri="{BB962C8B-B14F-4D97-AF65-F5344CB8AC3E}">
        <p14:creationId xmlns:p14="http://schemas.microsoft.com/office/powerpoint/2010/main" val="3328269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nd 4 Content Portrait">
    <p:spTree>
      <p:nvGrpSpPr>
        <p:cNvPr id="1" name=""/>
        <p:cNvGrpSpPr/>
        <p:nvPr/>
      </p:nvGrpSpPr>
      <p:grpSpPr>
        <a:xfrm>
          <a:off x="0" y="0"/>
          <a:ext cx="0" cy="0"/>
          <a:chOff x="0" y="0"/>
          <a:chExt cx="0" cy="0"/>
        </a:xfrm>
      </p:grpSpPr>
      <p:sp>
        <p:nvSpPr>
          <p:cNvPr id="2" name="Title 1"/>
          <p:cNvSpPr>
            <a:spLocks noGrp="1"/>
          </p:cNvSpPr>
          <p:nvPr>
            <p:ph type="title"/>
          </p:nvPr>
        </p:nvSpPr>
        <p:spPr>
          <a:xfrm>
            <a:off x="660000" y="365126"/>
            <a:ext cx="10872000" cy="936000"/>
          </a:xfrm>
        </p:spPr>
        <p:txBody>
          <a:bodyPr/>
          <a:lstStyle/>
          <a:p>
            <a:r>
              <a:rPr lang="en-US"/>
              <a:t>Click to edit Master title style</a:t>
            </a:r>
            <a:endParaRPr lang="en-IE"/>
          </a:p>
        </p:txBody>
      </p:sp>
      <p:sp>
        <p:nvSpPr>
          <p:cNvPr id="3" name="Content Placeholder 2"/>
          <p:cNvSpPr>
            <a:spLocks noGrp="1"/>
          </p:cNvSpPr>
          <p:nvPr>
            <p:ph idx="1"/>
          </p:nvPr>
        </p:nvSpPr>
        <p:spPr>
          <a:xfrm>
            <a:off x="660000" y="1589127"/>
            <a:ext cx="2610000" cy="4120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5" name="Footer Placeholder 4"/>
          <p:cNvSpPr>
            <a:spLocks noGrp="1"/>
          </p:cNvSpPr>
          <p:nvPr>
            <p:ph type="ftr" sz="quarter" idx="11"/>
          </p:nvPr>
        </p:nvSpPr>
        <p:spPr/>
        <p:txBody>
          <a:bodyPr/>
          <a:lstStyle/>
          <a:p>
            <a:endParaRPr lang="en-IE" dirty="0">
              <a:solidFill>
                <a:srgbClr val="B2B4B2"/>
              </a:solidFill>
            </a:endParaRPr>
          </a:p>
        </p:txBody>
      </p:sp>
      <p:sp>
        <p:nvSpPr>
          <p:cNvPr id="6" name="Slide Number Placeholder 5"/>
          <p:cNvSpPr>
            <a:spLocks noGrp="1"/>
          </p:cNvSpPr>
          <p:nvPr>
            <p:ph type="sldNum" sz="quarter" idx="12"/>
          </p:nvPr>
        </p:nvSpPr>
        <p:spPr/>
        <p:txBody>
          <a:bodyPr/>
          <a:lstStyle/>
          <a:p>
            <a:fld id="{BDD9C4D5-18C8-4FD5-8DD3-707473F66EE9}" type="slidenum">
              <a:rPr lang="en-IE" smtClean="0">
                <a:solidFill>
                  <a:srgbClr val="06038D"/>
                </a:solidFill>
              </a:rPr>
              <a:pPr/>
              <a:t>‹#›</a:t>
            </a:fld>
            <a:endParaRPr lang="en-IE" dirty="0">
              <a:solidFill>
                <a:srgbClr val="06038D"/>
              </a:solidFill>
            </a:endParaRPr>
          </a:p>
        </p:txBody>
      </p:sp>
      <p:sp>
        <p:nvSpPr>
          <p:cNvPr id="7" name="Content Placeholder 2"/>
          <p:cNvSpPr>
            <a:spLocks noGrp="1"/>
          </p:cNvSpPr>
          <p:nvPr>
            <p:ph idx="13"/>
          </p:nvPr>
        </p:nvSpPr>
        <p:spPr>
          <a:xfrm>
            <a:off x="3414000" y="1589127"/>
            <a:ext cx="2610000" cy="4120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8" name="Content Placeholder 2"/>
          <p:cNvSpPr>
            <a:spLocks noGrp="1"/>
          </p:cNvSpPr>
          <p:nvPr>
            <p:ph idx="14"/>
          </p:nvPr>
        </p:nvSpPr>
        <p:spPr>
          <a:xfrm>
            <a:off x="6168000" y="1589127"/>
            <a:ext cx="2610000" cy="4120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9" name="Content Placeholder 2"/>
          <p:cNvSpPr>
            <a:spLocks noGrp="1"/>
          </p:cNvSpPr>
          <p:nvPr>
            <p:ph idx="15"/>
          </p:nvPr>
        </p:nvSpPr>
        <p:spPr>
          <a:xfrm>
            <a:off x="8922000" y="1589127"/>
            <a:ext cx="2610000" cy="4120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Tree>
    <p:extLst>
      <p:ext uri="{BB962C8B-B14F-4D97-AF65-F5344CB8AC3E}">
        <p14:creationId xmlns:p14="http://schemas.microsoft.com/office/powerpoint/2010/main" val="3008379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6 Content">
    <p:spTree>
      <p:nvGrpSpPr>
        <p:cNvPr id="1" name=""/>
        <p:cNvGrpSpPr/>
        <p:nvPr/>
      </p:nvGrpSpPr>
      <p:grpSpPr>
        <a:xfrm>
          <a:off x="0" y="0"/>
          <a:ext cx="0" cy="0"/>
          <a:chOff x="0" y="0"/>
          <a:chExt cx="0" cy="0"/>
        </a:xfrm>
      </p:grpSpPr>
      <p:sp>
        <p:nvSpPr>
          <p:cNvPr id="2" name="Title 1"/>
          <p:cNvSpPr>
            <a:spLocks noGrp="1"/>
          </p:cNvSpPr>
          <p:nvPr>
            <p:ph type="title"/>
          </p:nvPr>
        </p:nvSpPr>
        <p:spPr>
          <a:xfrm>
            <a:off x="660000" y="365126"/>
            <a:ext cx="10872000" cy="936000"/>
          </a:xfrm>
        </p:spPr>
        <p:txBody>
          <a:bodyPr/>
          <a:lstStyle/>
          <a:p>
            <a:r>
              <a:rPr lang="en-US"/>
              <a:t>Click to edit Master title style</a:t>
            </a:r>
            <a:endParaRPr lang="en-IE"/>
          </a:p>
        </p:txBody>
      </p:sp>
      <p:sp>
        <p:nvSpPr>
          <p:cNvPr id="3" name="Content Placeholder 2"/>
          <p:cNvSpPr>
            <a:spLocks noGrp="1"/>
          </p:cNvSpPr>
          <p:nvPr>
            <p:ph idx="1"/>
          </p:nvPr>
        </p:nvSpPr>
        <p:spPr>
          <a:xfrm>
            <a:off x="660000" y="1589127"/>
            <a:ext cx="3528000" cy="1987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5" name="Footer Placeholder 4"/>
          <p:cNvSpPr>
            <a:spLocks noGrp="1"/>
          </p:cNvSpPr>
          <p:nvPr>
            <p:ph type="ftr" sz="quarter" idx="11"/>
          </p:nvPr>
        </p:nvSpPr>
        <p:spPr/>
        <p:txBody>
          <a:bodyPr/>
          <a:lstStyle/>
          <a:p>
            <a:endParaRPr lang="en-IE" dirty="0">
              <a:solidFill>
                <a:srgbClr val="B2B4B2"/>
              </a:solidFill>
            </a:endParaRPr>
          </a:p>
        </p:txBody>
      </p:sp>
      <p:sp>
        <p:nvSpPr>
          <p:cNvPr id="6" name="Slide Number Placeholder 5"/>
          <p:cNvSpPr>
            <a:spLocks noGrp="1"/>
          </p:cNvSpPr>
          <p:nvPr>
            <p:ph type="sldNum" sz="quarter" idx="12"/>
          </p:nvPr>
        </p:nvSpPr>
        <p:spPr/>
        <p:txBody>
          <a:bodyPr/>
          <a:lstStyle/>
          <a:p>
            <a:fld id="{BDD9C4D5-18C8-4FD5-8DD3-707473F66EE9}" type="slidenum">
              <a:rPr lang="en-IE" smtClean="0">
                <a:solidFill>
                  <a:srgbClr val="06038D"/>
                </a:solidFill>
              </a:rPr>
              <a:pPr/>
              <a:t>‹#›</a:t>
            </a:fld>
            <a:endParaRPr lang="en-IE" dirty="0">
              <a:solidFill>
                <a:srgbClr val="06038D"/>
              </a:solidFill>
            </a:endParaRPr>
          </a:p>
        </p:txBody>
      </p:sp>
      <p:sp>
        <p:nvSpPr>
          <p:cNvPr id="7" name="Content Placeholder 2"/>
          <p:cNvSpPr>
            <a:spLocks noGrp="1"/>
          </p:cNvSpPr>
          <p:nvPr>
            <p:ph idx="13"/>
          </p:nvPr>
        </p:nvSpPr>
        <p:spPr>
          <a:xfrm>
            <a:off x="4332000" y="1589127"/>
            <a:ext cx="3528000" cy="1987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8" name="Content Placeholder 2"/>
          <p:cNvSpPr>
            <a:spLocks noGrp="1"/>
          </p:cNvSpPr>
          <p:nvPr>
            <p:ph idx="14"/>
          </p:nvPr>
        </p:nvSpPr>
        <p:spPr>
          <a:xfrm>
            <a:off x="8004000" y="1589127"/>
            <a:ext cx="3528000" cy="1987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9" name="Content Placeholder 2"/>
          <p:cNvSpPr>
            <a:spLocks noGrp="1"/>
          </p:cNvSpPr>
          <p:nvPr>
            <p:ph idx="15"/>
          </p:nvPr>
        </p:nvSpPr>
        <p:spPr>
          <a:xfrm>
            <a:off x="660000" y="3722741"/>
            <a:ext cx="3528000" cy="1987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10" name="Content Placeholder 2"/>
          <p:cNvSpPr>
            <a:spLocks noGrp="1"/>
          </p:cNvSpPr>
          <p:nvPr>
            <p:ph idx="16"/>
          </p:nvPr>
        </p:nvSpPr>
        <p:spPr>
          <a:xfrm>
            <a:off x="4332000" y="3722741"/>
            <a:ext cx="3528000" cy="1987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12" name="Content Placeholder 2"/>
          <p:cNvSpPr>
            <a:spLocks noGrp="1"/>
          </p:cNvSpPr>
          <p:nvPr>
            <p:ph idx="18"/>
          </p:nvPr>
        </p:nvSpPr>
        <p:spPr>
          <a:xfrm>
            <a:off x="8004000" y="3722741"/>
            <a:ext cx="3528000" cy="198720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Tree>
    <p:extLst>
      <p:ext uri="{BB962C8B-B14F-4D97-AF65-F5344CB8AC3E}">
        <p14:creationId xmlns:p14="http://schemas.microsoft.com/office/powerpoint/2010/main" val="2257821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itle and 8 Content">
    <p:spTree>
      <p:nvGrpSpPr>
        <p:cNvPr id="1" name=""/>
        <p:cNvGrpSpPr/>
        <p:nvPr/>
      </p:nvGrpSpPr>
      <p:grpSpPr>
        <a:xfrm>
          <a:off x="0" y="0"/>
          <a:ext cx="0" cy="0"/>
          <a:chOff x="0" y="0"/>
          <a:chExt cx="0" cy="0"/>
        </a:xfrm>
      </p:grpSpPr>
      <p:sp>
        <p:nvSpPr>
          <p:cNvPr id="2" name="Title 1"/>
          <p:cNvSpPr>
            <a:spLocks noGrp="1"/>
          </p:cNvSpPr>
          <p:nvPr>
            <p:ph type="title"/>
          </p:nvPr>
        </p:nvSpPr>
        <p:spPr>
          <a:xfrm>
            <a:off x="660000" y="365126"/>
            <a:ext cx="10872000" cy="936000"/>
          </a:xfrm>
        </p:spPr>
        <p:txBody>
          <a:bodyPr/>
          <a:lstStyle/>
          <a:p>
            <a:r>
              <a:rPr lang="en-US"/>
              <a:t>Click to edit Master title style</a:t>
            </a:r>
            <a:endParaRPr lang="en-IE"/>
          </a:p>
        </p:txBody>
      </p:sp>
      <p:sp>
        <p:nvSpPr>
          <p:cNvPr id="3" name="Content Placeholder 2"/>
          <p:cNvSpPr>
            <a:spLocks noGrp="1"/>
          </p:cNvSpPr>
          <p:nvPr>
            <p:ph idx="1"/>
          </p:nvPr>
        </p:nvSpPr>
        <p:spPr>
          <a:xfrm>
            <a:off x="660000" y="1589127"/>
            <a:ext cx="2610000" cy="1987200"/>
          </a:xfrm>
        </p:spPr>
        <p:txBody>
          <a:bodyPr/>
          <a:lstStyle>
            <a:lvl1pPr>
              <a:defRPr sz="1800"/>
            </a:lvl1pPr>
            <a:lvl2pPr>
              <a:defRPr sz="1600"/>
            </a:lvl2pPr>
            <a:lvl3pPr>
              <a:defRPr sz="1400"/>
            </a:lvl3pPr>
            <a:lvl4pPr>
              <a:defRPr sz="12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5" name="Footer Placeholder 4"/>
          <p:cNvSpPr>
            <a:spLocks noGrp="1"/>
          </p:cNvSpPr>
          <p:nvPr>
            <p:ph type="ftr" sz="quarter" idx="11"/>
          </p:nvPr>
        </p:nvSpPr>
        <p:spPr/>
        <p:txBody>
          <a:bodyPr/>
          <a:lstStyle/>
          <a:p>
            <a:endParaRPr lang="en-IE" dirty="0">
              <a:solidFill>
                <a:srgbClr val="B2B4B2"/>
              </a:solidFill>
            </a:endParaRPr>
          </a:p>
        </p:txBody>
      </p:sp>
      <p:sp>
        <p:nvSpPr>
          <p:cNvPr id="6" name="Slide Number Placeholder 5"/>
          <p:cNvSpPr>
            <a:spLocks noGrp="1"/>
          </p:cNvSpPr>
          <p:nvPr>
            <p:ph type="sldNum" sz="quarter" idx="12"/>
          </p:nvPr>
        </p:nvSpPr>
        <p:spPr/>
        <p:txBody>
          <a:bodyPr/>
          <a:lstStyle/>
          <a:p>
            <a:fld id="{BDD9C4D5-18C8-4FD5-8DD3-707473F66EE9}" type="slidenum">
              <a:rPr lang="en-IE" smtClean="0">
                <a:solidFill>
                  <a:srgbClr val="06038D"/>
                </a:solidFill>
              </a:rPr>
              <a:pPr/>
              <a:t>‹#›</a:t>
            </a:fld>
            <a:endParaRPr lang="en-IE" dirty="0">
              <a:solidFill>
                <a:srgbClr val="06038D"/>
              </a:solidFill>
            </a:endParaRPr>
          </a:p>
        </p:txBody>
      </p:sp>
      <p:sp>
        <p:nvSpPr>
          <p:cNvPr id="7" name="Content Placeholder 2"/>
          <p:cNvSpPr>
            <a:spLocks noGrp="1"/>
          </p:cNvSpPr>
          <p:nvPr>
            <p:ph idx="13"/>
          </p:nvPr>
        </p:nvSpPr>
        <p:spPr>
          <a:xfrm>
            <a:off x="3414000" y="1589127"/>
            <a:ext cx="2610000" cy="1987200"/>
          </a:xfrm>
        </p:spPr>
        <p:txBody>
          <a:bodyPr/>
          <a:lstStyle>
            <a:lvl1pPr>
              <a:defRPr sz="1800"/>
            </a:lvl1pPr>
            <a:lvl2pPr>
              <a:defRPr sz="1600"/>
            </a:lvl2pPr>
            <a:lvl3pPr>
              <a:defRPr sz="1400"/>
            </a:lvl3pPr>
            <a:lvl4pPr>
              <a:defRPr sz="12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8" name="Content Placeholder 2"/>
          <p:cNvSpPr>
            <a:spLocks noGrp="1"/>
          </p:cNvSpPr>
          <p:nvPr>
            <p:ph idx="14"/>
          </p:nvPr>
        </p:nvSpPr>
        <p:spPr>
          <a:xfrm>
            <a:off x="6168000" y="1589127"/>
            <a:ext cx="2610000" cy="1987200"/>
          </a:xfrm>
        </p:spPr>
        <p:txBody>
          <a:bodyPr/>
          <a:lstStyle>
            <a:lvl1pPr>
              <a:defRPr sz="1800"/>
            </a:lvl1pPr>
            <a:lvl2pPr>
              <a:defRPr sz="1600"/>
            </a:lvl2pPr>
            <a:lvl3pPr>
              <a:defRPr sz="1400"/>
            </a:lvl3pPr>
            <a:lvl4pPr>
              <a:defRPr sz="12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9" name="Content Placeholder 2"/>
          <p:cNvSpPr>
            <a:spLocks noGrp="1"/>
          </p:cNvSpPr>
          <p:nvPr>
            <p:ph idx="15"/>
          </p:nvPr>
        </p:nvSpPr>
        <p:spPr>
          <a:xfrm>
            <a:off x="8922000" y="1589127"/>
            <a:ext cx="2610000" cy="1987200"/>
          </a:xfrm>
        </p:spPr>
        <p:txBody>
          <a:bodyPr/>
          <a:lstStyle>
            <a:lvl1pPr>
              <a:defRPr sz="1800"/>
            </a:lvl1pPr>
            <a:lvl2pPr>
              <a:defRPr sz="1600"/>
            </a:lvl2pPr>
            <a:lvl3pPr>
              <a:defRPr sz="1400"/>
            </a:lvl3pPr>
            <a:lvl4pPr>
              <a:defRPr sz="12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15" name="Content Placeholder 2"/>
          <p:cNvSpPr>
            <a:spLocks noGrp="1"/>
          </p:cNvSpPr>
          <p:nvPr>
            <p:ph idx="16"/>
          </p:nvPr>
        </p:nvSpPr>
        <p:spPr>
          <a:xfrm>
            <a:off x="660000" y="3722741"/>
            <a:ext cx="2610000" cy="1987200"/>
          </a:xfrm>
        </p:spPr>
        <p:txBody>
          <a:bodyPr/>
          <a:lstStyle>
            <a:lvl1pPr>
              <a:defRPr sz="1800"/>
            </a:lvl1pPr>
            <a:lvl2pPr>
              <a:defRPr sz="1600"/>
            </a:lvl2pPr>
            <a:lvl3pPr>
              <a:defRPr sz="1400"/>
            </a:lvl3pPr>
            <a:lvl4pPr>
              <a:defRPr sz="12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16" name="Content Placeholder 2"/>
          <p:cNvSpPr>
            <a:spLocks noGrp="1"/>
          </p:cNvSpPr>
          <p:nvPr>
            <p:ph idx="17"/>
          </p:nvPr>
        </p:nvSpPr>
        <p:spPr>
          <a:xfrm>
            <a:off x="3414000" y="3722741"/>
            <a:ext cx="2610000" cy="1987200"/>
          </a:xfrm>
        </p:spPr>
        <p:txBody>
          <a:bodyPr/>
          <a:lstStyle>
            <a:lvl1pPr>
              <a:defRPr sz="1800"/>
            </a:lvl1pPr>
            <a:lvl2pPr>
              <a:defRPr sz="1600"/>
            </a:lvl2pPr>
            <a:lvl3pPr>
              <a:defRPr sz="1400"/>
            </a:lvl3pPr>
            <a:lvl4pPr>
              <a:defRPr sz="12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17" name="Content Placeholder 2"/>
          <p:cNvSpPr>
            <a:spLocks noGrp="1"/>
          </p:cNvSpPr>
          <p:nvPr>
            <p:ph idx="18"/>
          </p:nvPr>
        </p:nvSpPr>
        <p:spPr>
          <a:xfrm>
            <a:off x="6168000" y="3722741"/>
            <a:ext cx="2610000" cy="1987200"/>
          </a:xfrm>
        </p:spPr>
        <p:txBody>
          <a:bodyPr/>
          <a:lstStyle>
            <a:lvl1pPr>
              <a:defRPr sz="1800"/>
            </a:lvl1pPr>
            <a:lvl2pPr>
              <a:defRPr sz="1600"/>
            </a:lvl2pPr>
            <a:lvl3pPr>
              <a:defRPr sz="1400"/>
            </a:lvl3pPr>
            <a:lvl4pPr>
              <a:defRPr sz="12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18" name="Content Placeholder 2"/>
          <p:cNvSpPr>
            <a:spLocks noGrp="1"/>
          </p:cNvSpPr>
          <p:nvPr>
            <p:ph idx="19"/>
          </p:nvPr>
        </p:nvSpPr>
        <p:spPr>
          <a:xfrm>
            <a:off x="8922000" y="3722741"/>
            <a:ext cx="2610000" cy="1987200"/>
          </a:xfrm>
        </p:spPr>
        <p:txBody>
          <a:bodyPr/>
          <a:lstStyle>
            <a:lvl1pPr>
              <a:defRPr sz="1800"/>
            </a:lvl1pPr>
            <a:lvl2pPr>
              <a:defRPr sz="1600"/>
            </a:lvl2pPr>
            <a:lvl3pPr>
              <a:defRPr sz="1400"/>
            </a:lvl3pPr>
            <a:lvl4pPr>
              <a:defRPr sz="12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Tree>
    <p:extLst>
      <p:ext uri="{BB962C8B-B14F-4D97-AF65-F5344CB8AC3E}">
        <p14:creationId xmlns:p14="http://schemas.microsoft.com/office/powerpoint/2010/main" val="697469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Title 1"/>
          <p:cNvSpPr>
            <a:spLocks noGrp="1"/>
          </p:cNvSpPr>
          <p:nvPr>
            <p:ph type="title"/>
          </p:nvPr>
        </p:nvSpPr>
        <p:spPr>
          <a:xfrm>
            <a:off x="660000" y="365126"/>
            <a:ext cx="10872000" cy="936000"/>
          </a:xfrm>
        </p:spPr>
        <p:txBody>
          <a:bodyPr/>
          <a:lstStyle/>
          <a:p>
            <a:r>
              <a:rPr lang="en-US"/>
              <a:t>Click to edit Master title style</a:t>
            </a:r>
            <a:endParaRPr lang="en-IE"/>
          </a:p>
        </p:txBody>
      </p:sp>
      <p:sp>
        <p:nvSpPr>
          <p:cNvPr id="3" name="Text Placeholder 2"/>
          <p:cNvSpPr>
            <a:spLocks noGrp="1"/>
          </p:cNvSpPr>
          <p:nvPr>
            <p:ph type="body" idx="1"/>
          </p:nvPr>
        </p:nvSpPr>
        <p:spPr>
          <a:xfrm>
            <a:off x="660000" y="1589127"/>
            <a:ext cx="5364000" cy="720000"/>
          </a:xfrm>
        </p:spPr>
        <p:txBody>
          <a:bodyPr anchor="t"/>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72200" y="1589127"/>
            <a:ext cx="5364000" cy="720000"/>
          </a:xfrm>
        </p:spPr>
        <p:txBody>
          <a:bodyPr anchor="t"/>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Footer Placeholder 7"/>
          <p:cNvSpPr>
            <a:spLocks noGrp="1"/>
          </p:cNvSpPr>
          <p:nvPr>
            <p:ph type="ftr" sz="quarter" idx="11"/>
          </p:nvPr>
        </p:nvSpPr>
        <p:spPr/>
        <p:txBody>
          <a:bodyPr/>
          <a:lstStyle/>
          <a:p>
            <a:endParaRPr lang="en-IE" dirty="0">
              <a:solidFill>
                <a:srgbClr val="B2B4B2"/>
              </a:solidFill>
            </a:endParaRPr>
          </a:p>
        </p:txBody>
      </p:sp>
      <p:sp>
        <p:nvSpPr>
          <p:cNvPr id="9" name="Slide Number Placeholder 8"/>
          <p:cNvSpPr>
            <a:spLocks noGrp="1"/>
          </p:cNvSpPr>
          <p:nvPr>
            <p:ph type="sldNum" sz="quarter" idx="12"/>
          </p:nvPr>
        </p:nvSpPr>
        <p:spPr/>
        <p:txBody>
          <a:bodyPr/>
          <a:lstStyle/>
          <a:p>
            <a:fld id="{BDD9C4D5-18C8-4FD5-8DD3-707473F66EE9}" type="slidenum">
              <a:rPr lang="en-IE" smtClean="0">
                <a:solidFill>
                  <a:srgbClr val="06038D"/>
                </a:solidFill>
              </a:rPr>
              <a:pPr/>
              <a:t>‹#›</a:t>
            </a:fld>
            <a:endParaRPr lang="en-IE" dirty="0">
              <a:solidFill>
                <a:srgbClr val="06038D"/>
              </a:solidFill>
            </a:endParaRPr>
          </a:p>
        </p:txBody>
      </p:sp>
      <p:sp>
        <p:nvSpPr>
          <p:cNvPr id="11" name="Content Placeholder 2"/>
          <p:cNvSpPr>
            <a:spLocks noGrp="1"/>
          </p:cNvSpPr>
          <p:nvPr>
            <p:ph idx="14"/>
          </p:nvPr>
        </p:nvSpPr>
        <p:spPr>
          <a:xfrm>
            <a:off x="660000" y="2451941"/>
            <a:ext cx="5364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14" name="Content Placeholder 2"/>
          <p:cNvSpPr>
            <a:spLocks noGrp="1"/>
          </p:cNvSpPr>
          <p:nvPr>
            <p:ph idx="15"/>
          </p:nvPr>
        </p:nvSpPr>
        <p:spPr>
          <a:xfrm>
            <a:off x="6172200" y="2451941"/>
            <a:ext cx="5364000" cy="325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Tree>
    <p:extLst>
      <p:ext uri="{BB962C8B-B14F-4D97-AF65-F5344CB8AC3E}">
        <p14:creationId xmlns:p14="http://schemas.microsoft.com/office/powerpoint/2010/main" val="355167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4" name="Footer Placeholder 3"/>
          <p:cNvSpPr>
            <a:spLocks noGrp="1"/>
          </p:cNvSpPr>
          <p:nvPr>
            <p:ph type="ftr" sz="quarter" idx="11"/>
          </p:nvPr>
        </p:nvSpPr>
        <p:spPr/>
        <p:txBody>
          <a:bodyPr/>
          <a:lstStyle/>
          <a:p>
            <a:endParaRPr lang="en-IE" dirty="0">
              <a:solidFill>
                <a:srgbClr val="B2B4B2"/>
              </a:solidFill>
            </a:endParaRPr>
          </a:p>
        </p:txBody>
      </p:sp>
      <p:sp>
        <p:nvSpPr>
          <p:cNvPr id="5" name="Slide Number Placeholder 4"/>
          <p:cNvSpPr>
            <a:spLocks noGrp="1"/>
          </p:cNvSpPr>
          <p:nvPr>
            <p:ph type="sldNum" sz="quarter" idx="12"/>
          </p:nvPr>
        </p:nvSpPr>
        <p:spPr/>
        <p:txBody>
          <a:bodyPr/>
          <a:lstStyle/>
          <a:p>
            <a:fld id="{BDD9C4D5-18C8-4FD5-8DD3-707473F66EE9}" type="slidenum">
              <a:rPr lang="en-IE" smtClean="0">
                <a:solidFill>
                  <a:srgbClr val="06038D"/>
                </a:solidFill>
              </a:rPr>
              <a:pPr/>
              <a:t>‹#›</a:t>
            </a:fld>
            <a:endParaRPr lang="en-IE" dirty="0">
              <a:solidFill>
                <a:srgbClr val="06038D"/>
              </a:solidFill>
            </a:endParaRPr>
          </a:p>
        </p:txBody>
      </p:sp>
    </p:spTree>
    <p:extLst>
      <p:ext uri="{BB962C8B-B14F-4D97-AF65-F5344CB8AC3E}">
        <p14:creationId xmlns:p14="http://schemas.microsoft.com/office/powerpoint/2010/main" val="2478289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Sub-title slide G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26D9E0-8DC8-47CD-96E8-7524545408A6}"/>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E2B3D677-F848-43A2-B1E2-BD461D56322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92519" y="357649"/>
            <a:ext cx="1907113" cy="959956"/>
          </a:xfrm>
          <a:prstGeom prst="rect">
            <a:avLst/>
          </a:prstGeom>
        </p:spPr>
      </p:pic>
    </p:spTree>
    <p:extLst>
      <p:ext uri="{BB962C8B-B14F-4D97-AF65-F5344CB8AC3E}">
        <p14:creationId xmlns:p14="http://schemas.microsoft.com/office/powerpoint/2010/main" val="129224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gradFill>
            <a:gsLst>
              <a:gs pos="80000">
                <a:srgbClr val="0357BC"/>
              </a:gs>
              <a:gs pos="100000">
                <a:schemeClr val="accent2"/>
              </a:gs>
              <a:gs pos="60000">
                <a:srgbClr val="042BA3"/>
              </a:gs>
              <a:gs pos="25000">
                <a:schemeClr val="tx2"/>
              </a:gs>
              <a:gs pos="0">
                <a:schemeClr val="tx2"/>
              </a:gs>
            </a:gsLst>
            <a:lin ang="201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solidFill>
                <a:srgbClr val="FFFFFF"/>
              </a:solidFill>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IE"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IE"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BDD9C4D5-18C8-4FD5-8DD3-707473F66EE9}" type="slidenum">
              <a:rPr lang="en-IE" smtClean="0"/>
              <a:pPr/>
              <a:t>‹#›</a:t>
            </a:fld>
            <a:endParaRPr lang="en-IE" dirty="0"/>
          </a:p>
        </p:txBody>
      </p:sp>
      <p:cxnSp>
        <p:nvCxnSpPr>
          <p:cNvPr id="8" name="Straight Connector 7"/>
          <p:cNvCxnSpPr/>
          <p:nvPr userDrawn="1"/>
        </p:nvCxnSpPr>
        <p:spPr>
          <a:xfrm>
            <a:off x="660000" y="1295999"/>
            <a:ext cx="10872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660000" y="1295999"/>
            <a:ext cx="10872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62598" y="6014314"/>
            <a:ext cx="1396057" cy="508244"/>
          </a:xfrm>
          <a:prstGeom prst="rect">
            <a:avLst/>
          </a:prstGeom>
        </p:spPr>
      </p:pic>
    </p:spTree>
    <p:extLst>
      <p:ext uri="{BB962C8B-B14F-4D97-AF65-F5344CB8AC3E}">
        <p14:creationId xmlns:p14="http://schemas.microsoft.com/office/powerpoint/2010/main" val="369999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Single column text p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ga-IE" dirty="0"/>
              <a:t>Click to edit Master title – 27pt Arial </a:t>
            </a:r>
            <a:endParaRPr lang="en-US" dirty="0"/>
          </a:p>
        </p:txBody>
      </p:sp>
      <p:sp>
        <p:nvSpPr>
          <p:cNvPr id="3" name="Content Placeholder 2"/>
          <p:cNvSpPr>
            <a:spLocks noGrp="1"/>
          </p:cNvSpPr>
          <p:nvPr>
            <p:ph idx="1"/>
          </p:nvPr>
        </p:nvSpPr>
        <p:spPr>
          <a:xfrm>
            <a:off x="416392" y="1397810"/>
            <a:ext cx="11392033" cy="519381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BCDF81CB-3FB7-2046-AB76-4B8D488BDD86}" type="slidenum">
              <a:rPr lang="en-US" smtClean="0"/>
              <a:t>‹#›</a:t>
            </a:fld>
            <a:endParaRPr lang="en-US" dirty="0"/>
          </a:p>
        </p:txBody>
      </p:sp>
    </p:spTree>
    <p:extLst>
      <p:ext uri="{BB962C8B-B14F-4D97-AF65-F5344CB8AC3E}">
        <p14:creationId xmlns:p14="http://schemas.microsoft.com/office/powerpoint/2010/main" val="31738378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ontent slide GIE">
    <p:spTree>
      <p:nvGrpSpPr>
        <p:cNvPr id="1" name=""/>
        <p:cNvGrpSpPr/>
        <p:nvPr/>
      </p:nvGrpSpPr>
      <p:grpSpPr>
        <a:xfrm>
          <a:off x="0" y="0"/>
          <a:ext cx="0" cy="0"/>
          <a:chOff x="0" y="0"/>
          <a:chExt cx="0" cy="0"/>
        </a:xfrm>
      </p:grpSpPr>
      <p:pic>
        <p:nvPicPr>
          <p:cNvPr id="9" name="Picture 11" descr="A picture containing nature&#10;&#10;Description generated with high confidence">
            <a:extLst>
              <a:ext uri="{FF2B5EF4-FFF2-40B4-BE49-F238E27FC236}">
                <a16:creationId xmlns:a16="http://schemas.microsoft.com/office/drawing/2014/main" id="{D7FF6E83-B999-46E6-A6D5-BA72C86F5E6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Marker/>
                    </a14:imgEffect>
                    <a14:imgEffect>
                      <a14:brightnessContrast bright="-20000"/>
                    </a14:imgEffect>
                  </a14:imgLayer>
                </a14:imgProps>
              </a:ext>
            </a:extLst>
          </a:blip>
          <a:srcRect r="19243" b="81456"/>
          <a:stretch/>
        </p:blipFill>
        <p:spPr>
          <a:xfrm>
            <a:off x="10" y="0"/>
            <a:ext cx="12191996" cy="1364776"/>
          </a:xfrm>
          <a:prstGeom prst="rect">
            <a:avLst/>
          </a:prstGeom>
        </p:spPr>
      </p:pic>
      <p:sp>
        <p:nvSpPr>
          <p:cNvPr id="2" name="Espace réservé du numéro de diapositive 5"/>
          <p:cNvSpPr txBox="1">
            <a:spLocks noGrp="1"/>
          </p:cNvSpPr>
          <p:nvPr userDrawn="1"/>
        </p:nvSpPr>
        <p:spPr bwMode="auto">
          <a:xfrm>
            <a:off x="11473847" y="6553200"/>
            <a:ext cx="718159" cy="304800"/>
          </a:xfrm>
          <a:prstGeom prst="rect">
            <a:avLst/>
          </a:prstGeom>
          <a:solidFill>
            <a:srgbClr val="DDDDDD"/>
          </a:solidFill>
          <a:ln w="9525">
            <a:noFill/>
            <a:miter lim="800000"/>
            <a:headEnd/>
            <a:tailEnd/>
          </a:ln>
        </p:spPr>
        <p:txBody>
          <a:bodyPr/>
          <a:lstStyle/>
          <a:p>
            <a:pPr algn="ctr">
              <a:defRPr/>
            </a:pPr>
            <a:fld id="{692C8970-40FE-4B40-984B-FCCB47A0F331}" type="slidenum">
              <a:rPr lang="en-GB" sz="1400">
                <a:latin typeface="Gill Sans MT" panose="020B0502020104020203" pitchFamily="34" charset="0"/>
                <a:cs typeface="Calibri" pitchFamily="34" charset="0"/>
              </a:rPr>
              <a:pPr algn="ctr">
                <a:defRPr/>
              </a:pPr>
              <a:t>‹#›</a:t>
            </a:fld>
            <a:endParaRPr lang="en-GB" sz="1400" dirty="0">
              <a:latin typeface="Gill Sans MT" panose="020B0502020104020203" pitchFamily="34" charset="0"/>
              <a:cs typeface="Calibri" pitchFamily="34" charset="0"/>
            </a:endParaRPr>
          </a:p>
        </p:txBody>
      </p:sp>
      <p:pic>
        <p:nvPicPr>
          <p:cNvPr id="15" name="Picture 14">
            <a:extLst>
              <a:ext uri="{FF2B5EF4-FFF2-40B4-BE49-F238E27FC236}">
                <a16:creationId xmlns:a16="http://schemas.microsoft.com/office/drawing/2014/main" id="{3E4B7F59-ACF6-48CA-BB92-285D466FF89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49004" y="201481"/>
            <a:ext cx="1783922" cy="943377"/>
          </a:xfrm>
          <a:prstGeom prst="rect">
            <a:avLst/>
          </a:prstGeom>
        </p:spPr>
      </p:pic>
    </p:spTree>
    <p:extLst>
      <p:ext uri="{BB962C8B-B14F-4D97-AF65-F5344CB8AC3E}">
        <p14:creationId xmlns:p14="http://schemas.microsoft.com/office/powerpoint/2010/main" val="333363030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Content slide GLE">
    <p:spTree>
      <p:nvGrpSpPr>
        <p:cNvPr id="1" name=""/>
        <p:cNvGrpSpPr/>
        <p:nvPr/>
      </p:nvGrpSpPr>
      <p:grpSpPr>
        <a:xfrm>
          <a:off x="0" y="0"/>
          <a:ext cx="0" cy="0"/>
          <a:chOff x="0" y="0"/>
          <a:chExt cx="0" cy="0"/>
        </a:xfrm>
      </p:grpSpPr>
      <p:pic>
        <p:nvPicPr>
          <p:cNvPr id="9" name="Picture 11" descr="A picture containing nature&#10;&#10;Description generated with high confidence">
            <a:extLst>
              <a:ext uri="{FF2B5EF4-FFF2-40B4-BE49-F238E27FC236}">
                <a16:creationId xmlns:a16="http://schemas.microsoft.com/office/drawing/2014/main" id="{D7FF6E83-B999-46E6-A6D5-BA72C86F5E6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Marker/>
                    </a14:imgEffect>
                    <a14:imgEffect>
                      <a14:brightnessContrast bright="-20000"/>
                    </a14:imgEffect>
                  </a14:imgLayer>
                </a14:imgProps>
              </a:ext>
            </a:extLst>
          </a:blip>
          <a:srcRect r="19243" b="81456"/>
          <a:stretch/>
        </p:blipFill>
        <p:spPr>
          <a:xfrm>
            <a:off x="10" y="0"/>
            <a:ext cx="12191996" cy="1364776"/>
          </a:xfrm>
          <a:prstGeom prst="rect">
            <a:avLst/>
          </a:prstGeom>
        </p:spPr>
      </p:pic>
      <p:sp>
        <p:nvSpPr>
          <p:cNvPr id="2" name="Espace réservé du numéro de diapositive 5"/>
          <p:cNvSpPr txBox="1">
            <a:spLocks noGrp="1"/>
          </p:cNvSpPr>
          <p:nvPr userDrawn="1"/>
        </p:nvSpPr>
        <p:spPr bwMode="auto">
          <a:xfrm>
            <a:off x="11473847" y="6553200"/>
            <a:ext cx="718159" cy="304800"/>
          </a:xfrm>
          <a:prstGeom prst="rect">
            <a:avLst/>
          </a:prstGeom>
          <a:solidFill>
            <a:srgbClr val="DDDDDD"/>
          </a:solidFill>
          <a:ln w="9525">
            <a:noFill/>
            <a:miter lim="800000"/>
            <a:headEnd/>
            <a:tailEnd/>
          </a:ln>
        </p:spPr>
        <p:txBody>
          <a:bodyPr/>
          <a:lstStyle/>
          <a:p>
            <a:pPr algn="ctr">
              <a:defRPr/>
            </a:pPr>
            <a:fld id="{692C8970-40FE-4B40-984B-FCCB47A0F331}" type="slidenum">
              <a:rPr lang="en-GB" sz="1400">
                <a:latin typeface="Gill Sans MT" panose="020B0502020104020203" pitchFamily="34" charset="0"/>
                <a:cs typeface="Calibri" pitchFamily="34" charset="0"/>
              </a:rPr>
              <a:pPr algn="ctr">
                <a:defRPr/>
              </a:pPr>
              <a:t>‹#›</a:t>
            </a:fld>
            <a:endParaRPr lang="en-GB" sz="1400" dirty="0">
              <a:latin typeface="Gill Sans MT" panose="020B0502020104020203" pitchFamily="34" charset="0"/>
              <a:cs typeface="Calibri" pitchFamily="34" charset="0"/>
            </a:endParaRPr>
          </a:p>
        </p:txBody>
      </p:sp>
      <p:pic>
        <p:nvPicPr>
          <p:cNvPr id="6" name="Picture 5">
            <a:extLst>
              <a:ext uri="{FF2B5EF4-FFF2-40B4-BE49-F238E27FC236}">
                <a16:creationId xmlns:a16="http://schemas.microsoft.com/office/drawing/2014/main" id="{3E7280F3-C4B9-4B68-97DF-D1FAF0846FB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30399" y="201481"/>
            <a:ext cx="1810656" cy="957515"/>
          </a:xfrm>
          <a:prstGeom prst="rect">
            <a:avLst/>
          </a:prstGeom>
        </p:spPr>
      </p:pic>
    </p:spTree>
    <p:extLst>
      <p:ext uri="{BB962C8B-B14F-4D97-AF65-F5344CB8AC3E}">
        <p14:creationId xmlns:p14="http://schemas.microsoft.com/office/powerpoint/2010/main" val="2265386334"/>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Content slide GSE">
    <p:spTree>
      <p:nvGrpSpPr>
        <p:cNvPr id="1" name=""/>
        <p:cNvGrpSpPr/>
        <p:nvPr/>
      </p:nvGrpSpPr>
      <p:grpSpPr>
        <a:xfrm>
          <a:off x="0" y="0"/>
          <a:ext cx="0" cy="0"/>
          <a:chOff x="0" y="0"/>
          <a:chExt cx="0" cy="0"/>
        </a:xfrm>
      </p:grpSpPr>
      <p:pic>
        <p:nvPicPr>
          <p:cNvPr id="9" name="Picture 11" descr="A picture containing nature&#10;&#10;Description generated with high confidence">
            <a:extLst>
              <a:ext uri="{FF2B5EF4-FFF2-40B4-BE49-F238E27FC236}">
                <a16:creationId xmlns:a16="http://schemas.microsoft.com/office/drawing/2014/main" id="{D7FF6E83-B999-46E6-A6D5-BA72C86F5E6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Marker/>
                    </a14:imgEffect>
                    <a14:imgEffect>
                      <a14:brightnessContrast bright="-20000"/>
                    </a14:imgEffect>
                  </a14:imgLayer>
                </a14:imgProps>
              </a:ext>
            </a:extLst>
          </a:blip>
          <a:srcRect r="19243" b="81456"/>
          <a:stretch/>
        </p:blipFill>
        <p:spPr>
          <a:xfrm>
            <a:off x="10" y="0"/>
            <a:ext cx="12191996" cy="1364776"/>
          </a:xfrm>
          <a:prstGeom prst="rect">
            <a:avLst/>
          </a:prstGeom>
        </p:spPr>
      </p:pic>
      <p:sp>
        <p:nvSpPr>
          <p:cNvPr id="2" name="Espace réservé du numéro de diapositive 5"/>
          <p:cNvSpPr txBox="1">
            <a:spLocks noGrp="1"/>
          </p:cNvSpPr>
          <p:nvPr userDrawn="1"/>
        </p:nvSpPr>
        <p:spPr bwMode="auto">
          <a:xfrm>
            <a:off x="11473847" y="6553200"/>
            <a:ext cx="718159" cy="304800"/>
          </a:xfrm>
          <a:prstGeom prst="rect">
            <a:avLst/>
          </a:prstGeom>
          <a:solidFill>
            <a:srgbClr val="DDDDDD"/>
          </a:solidFill>
          <a:ln w="9525">
            <a:noFill/>
            <a:miter lim="800000"/>
            <a:headEnd/>
            <a:tailEnd/>
          </a:ln>
        </p:spPr>
        <p:txBody>
          <a:bodyPr/>
          <a:lstStyle/>
          <a:p>
            <a:pPr algn="ctr">
              <a:defRPr/>
            </a:pPr>
            <a:fld id="{692C8970-40FE-4B40-984B-FCCB47A0F331}" type="slidenum">
              <a:rPr lang="en-GB" sz="1400">
                <a:latin typeface="Gill Sans MT" panose="020B0502020104020203" pitchFamily="34" charset="0"/>
                <a:cs typeface="Calibri" pitchFamily="34" charset="0"/>
              </a:rPr>
              <a:pPr algn="ctr">
                <a:defRPr/>
              </a:pPr>
              <a:t>‹#›</a:t>
            </a:fld>
            <a:endParaRPr lang="en-GB" sz="1400" dirty="0">
              <a:latin typeface="Gill Sans MT" panose="020B0502020104020203" pitchFamily="34" charset="0"/>
              <a:cs typeface="Calibri" pitchFamily="34" charset="0"/>
            </a:endParaRPr>
          </a:p>
        </p:txBody>
      </p:sp>
      <p:pic>
        <p:nvPicPr>
          <p:cNvPr id="6" name="Picture 5">
            <a:extLst>
              <a:ext uri="{FF2B5EF4-FFF2-40B4-BE49-F238E27FC236}">
                <a16:creationId xmlns:a16="http://schemas.microsoft.com/office/drawing/2014/main" id="{0027E5B4-390D-447C-A8A4-9FDA3376BB9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10992" y="200648"/>
            <a:ext cx="1821934" cy="963479"/>
          </a:xfrm>
          <a:prstGeom prst="rect">
            <a:avLst/>
          </a:prstGeom>
        </p:spPr>
      </p:pic>
    </p:spTree>
    <p:extLst>
      <p:ext uri="{BB962C8B-B14F-4D97-AF65-F5344CB8AC3E}">
        <p14:creationId xmlns:p14="http://schemas.microsoft.com/office/powerpoint/2010/main" val="3632169573"/>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Content slide GTE">
    <p:spTree>
      <p:nvGrpSpPr>
        <p:cNvPr id="1" name=""/>
        <p:cNvGrpSpPr/>
        <p:nvPr/>
      </p:nvGrpSpPr>
      <p:grpSpPr>
        <a:xfrm>
          <a:off x="0" y="0"/>
          <a:ext cx="0" cy="0"/>
          <a:chOff x="0" y="0"/>
          <a:chExt cx="0" cy="0"/>
        </a:xfrm>
      </p:grpSpPr>
      <p:pic>
        <p:nvPicPr>
          <p:cNvPr id="9" name="Picture 11" descr="A picture containing nature&#10;&#10;Description generated with high confidence">
            <a:extLst>
              <a:ext uri="{FF2B5EF4-FFF2-40B4-BE49-F238E27FC236}">
                <a16:creationId xmlns:a16="http://schemas.microsoft.com/office/drawing/2014/main" id="{D7FF6E83-B999-46E6-A6D5-BA72C86F5E6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Marker/>
                    </a14:imgEffect>
                    <a14:imgEffect>
                      <a14:brightnessContrast bright="-20000"/>
                    </a14:imgEffect>
                  </a14:imgLayer>
                </a14:imgProps>
              </a:ext>
            </a:extLst>
          </a:blip>
          <a:srcRect r="19243" b="81456"/>
          <a:stretch/>
        </p:blipFill>
        <p:spPr>
          <a:xfrm>
            <a:off x="10" y="0"/>
            <a:ext cx="12191996" cy="1364776"/>
          </a:xfrm>
          <a:prstGeom prst="rect">
            <a:avLst/>
          </a:prstGeom>
        </p:spPr>
      </p:pic>
      <p:sp>
        <p:nvSpPr>
          <p:cNvPr id="2" name="Espace réservé du numéro de diapositive 5"/>
          <p:cNvSpPr txBox="1">
            <a:spLocks noGrp="1"/>
          </p:cNvSpPr>
          <p:nvPr userDrawn="1"/>
        </p:nvSpPr>
        <p:spPr bwMode="auto">
          <a:xfrm>
            <a:off x="11473847" y="6553200"/>
            <a:ext cx="718159" cy="304800"/>
          </a:xfrm>
          <a:prstGeom prst="rect">
            <a:avLst/>
          </a:prstGeom>
          <a:solidFill>
            <a:srgbClr val="DDDDDD"/>
          </a:solidFill>
          <a:ln w="9525">
            <a:noFill/>
            <a:miter lim="800000"/>
            <a:headEnd/>
            <a:tailEnd/>
          </a:ln>
        </p:spPr>
        <p:txBody>
          <a:bodyPr/>
          <a:lstStyle/>
          <a:p>
            <a:pPr algn="ctr">
              <a:defRPr/>
            </a:pPr>
            <a:fld id="{692C8970-40FE-4B40-984B-FCCB47A0F331}" type="slidenum">
              <a:rPr lang="en-GB" sz="1400">
                <a:latin typeface="Gill Sans MT" panose="020B0502020104020203" pitchFamily="34" charset="0"/>
                <a:cs typeface="Calibri" pitchFamily="34" charset="0"/>
              </a:rPr>
              <a:pPr algn="ctr">
                <a:defRPr/>
              </a:pPr>
              <a:t>‹#›</a:t>
            </a:fld>
            <a:endParaRPr lang="en-GB" sz="1400" dirty="0">
              <a:latin typeface="Gill Sans MT" panose="020B0502020104020203" pitchFamily="34" charset="0"/>
              <a:cs typeface="Calibri" pitchFamily="34" charset="0"/>
            </a:endParaRPr>
          </a:p>
        </p:txBody>
      </p:sp>
      <p:pic>
        <p:nvPicPr>
          <p:cNvPr id="6" name="Picture 5">
            <a:extLst>
              <a:ext uri="{FF2B5EF4-FFF2-40B4-BE49-F238E27FC236}">
                <a16:creationId xmlns:a16="http://schemas.microsoft.com/office/drawing/2014/main" id="{DBB25B8B-235F-4187-AFB2-2347025D157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16202" y="202026"/>
            <a:ext cx="1816724" cy="960724"/>
          </a:xfrm>
          <a:prstGeom prst="rect">
            <a:avLst/>
          </a:prstGeom>
        </p:spPr>
      </p:pic>
    </p:spTree>
    <p:extLst>
      <p:ext uri="{BB962C8B-B14F-4D97-AF65-F5344CB8AC3E}">
        <p14:creationId xmlns:p14="http://schemas.microsoft.com/office/powerpoint/2010/main" val="2943608417"/>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7" name="Picture 6" descr="A picture containing nature&#10;&#10;Description generated with high confidence">
            <a:extLst>
              <a:ext uri="{FF2B5EF4-FFF2-40B4-BE49-F238E27FC236}">
                <a16:creationId xmlns:a16="http://schemas.microsoft.com/office/drawing/2014/main" id="{E32BB3C6-8229-41C9-94DD-87B3DA949188}"/>
              </a:ext>
            </a:extLst>
          </p:cNvPr>
          <p:cNvPicPr>
            <a:picLocks noChangeAspect="1"/>
          </p:cNvPicPr>
          <p:nvPr userDrawn="1"/>
        </p:nvPicPr>
        <p:blipFill rotWithShape="1">
          <a:blip r:embed="rId2"/>
          <a:srcRect r="19243" b="19243"/>
          <a:stretch/>
        </p:blipFill>
        <p:spPr>
          <a:xfrm>
            <a:off x="0" y="0"/>
            <a:ext cx="12192000" cy="6858000"/>
          </a:xfrm>
          <a:prstGeom prst="rect">
            <a:avLst/>
          </a:prstGeom>
        </p:spPr>
      </p:pic>
      <p:sp>
        <p:nvSpPr>
          <p:cNvPr id="2" name="Title 1">
            <a:extLst>
              <a:ext uri="{FF2B5EF4-FFF2-40B4-BE49-F238E27FC236}">
                <a16:creationId xmlns:a16="http://schemas.microsoft.com/office/drawing/2014/main" id="{A8637981-5424-456E-A041-F67E952BD8F2}"/>
              </a:ext>
            </a:extLst>
          </p:cNvPr>
          <p:cNvSpPr>
            <a:spLocks noGrp="1"/>
          </p:cNvSpPr>
          <p:nvPr>
            <p:ph type="title"/>
          </p:nvPr>
        </p:nvSpPr>
        <p:spPr>
          <a:xfrm>
            <a:off x="345600" y="0"/>
            <a:ext cx="8558712" cy="1628800"/>
          </a:xfrm>
        </p:spPr>
        <p:txBody>
          <a:bodyPr wrap="square" anchor="ctr">
            <a:noAutofit/>
          </a:bodyPr>
          <a:lstStyle>
            <a:lvl1pPr>
              <a:defRPr sz="2800" b="1">
                <a:solidFill>
                  <a:schemeClr val="bg1"/>
                </a:solidFill>
              </a:defRPr>
            </a:lvl1pPr>
          </a:lstStyle>
          <a:p>
            <a:r>
              <a:rPr lang="en-US"/>
              <a:t>Click to edit Master title style</a:t>
            </a:r>
          </a:p>
        </p:txBody>
      </p:sp>
      <p:sp>
        <p:nvSpPr>
          <p:cNvPr id="4" name="Rectangle 3">
            <a:extLst>
              <a:ext uri="{FF2B5EF4-FFF2-40B4-BE49-F238E27FC236}">
                <a16:creationId xmlns:a16="http://schemas.microsoft.com/office/drawing/2014/main" id="{1ECE9CD2-31F2-4055-8344-57E1153830F3}"/>
              </a:ext>
            </a:extLst>
          </p:cNvPr>
          <p:cNvSpPr/>
          <p:nvPr userDrawn="1"/>
        </p:nvSpPr>
        <p:spPr>
          <a:xfrm>
            <a:off x="0" y="1628800"/>
            <a:ext cx="12192000" cy="522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4665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35A087-ED4C-4F5C-8222-72C349E32A3B}"/>
              </a:ext>
            </a:extLst>
          </p:cNvPr>
          <p:cNvSpPr/>
          <p:nvPr userDrawn="1"/>
        </p:nvSpPr>
        <p:spPr>
          <a:xfrm>
            <a:off x="9549683" y="242524"/>
            <a:ext cx="2306515" cy="1170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7" name="Picture 6" descr="A picture containing nature&#10;&#10;Description generated with high confidence">
            <a:extLst>
              <a:ext uri="{FF2B5EF4-FFF2-40B4-BE49-F238E27FC236}">
                <a16:creationId xmlns:a16="http://schemas.microsoft.com/office/drawing/2014/main" id="{E32BB3C6-8229-41C9-94DD-87B3DA949188}"/>
              </a:ext>
            </a:extLst>
          </p:cNvPr>
          <p:cNvPicPr>
            <a:picLocks noChangeAspect="1"/>
          </p:cNvPicPr>
          <p:nvPr userDrawn="1"/>
        </p:nvPicPr>
        <p:blipFill rotWithShape="1">
          <a:blip r:embed="rId2"/>
          <a:srcRect r="19243" b="19243"/>
          <a:stretch/>
        </p:blipFill>
        <p:spPr>
          <a:xfrm>
            <a:off x="0" y="0"/>
            <a:ext cx="12192000" cy="6858000"/>
          </a:xfrm>
          <a:prstGeom prst="rect">
            <a:avLst/>
          </a:prstGeom>
        </p:spPr>
      </p:pic>
      <p:sp>
        <p:nvSpPr>
          <p:cNvPr id="4" name="Rectangle 3">
            <a:extLst>
              <a:ext uri="{FF2B5EF4-FFF2-40B4-BE49-F238E27FC236}">
                <a16:creationId xmlns:a16="http://schemas.microsoft.com/office/drawing/2014/main" id="{1ECE9CD2-31F2-4055-8344-57E1153830F3}"/>
              </a:ext>
            </a:extLst>
          </p:cNvPr>
          <p:cNvSpPr/>
          <p:nvPr userDrawn="1"/>
        </p:nvSpPr>
        <p:spPr>
          <a:xfrm>
            <a:off x="0" y="1628800"/>
            <a:ext cx="12192000" cy="522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AA58A6CA-DAC7-4B58-9616-69920C1CB358}"/>
              </a:ext>
            </a:extLst>
          </p:cNvPr>
          <p:cNvSpPr/>
          <p:nvPr userDrawn="1"/>
        </p:nvSpPr>
        <p:spPr>
          <a:xfrm>
            <a:off x="9549681" y="242524"/>
            <a:ext cx="2256005" cy="1170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5" name="Picture 4" descr="A close up of a logo&#10;&#10;Description generated with high confidence">
            <a:extLst>
              <a:ext uri="{FF2B5EF4-FFF2-40B4-BE49-F238E27FC236}">
                <a16:creationId xmlns:a16="http://schemas.microsoft.com/office/drawing/2014/main" id="{F5AA4B4B-1DA0-4B85-9AD0-A0DE69F8265E}"/>
              </a:ext>
            </a:extLst>
          </p:cNvPr>
          <p:cNvPicPr>
            <a:picLocks noChangeAspect="1"/>
          </p:cNvPicPr>
          <p:nvPr userDrawn="1"/>
        </p:nvPicPr>
        <p:blipFill>
          <a:blip r:embed="rId3"/>
          <a:stretch>
            <a:fillRect/>
          </a:stretch>
        </p:blipFill>
        <p:spPr>
          <a:xfrm>
            <a:off x="9600191" y="242524"/>
            <a:ext cx="2205497" cy="1170043"/>
          </a:xfrm>
          <a:prstGeom prst="rect">
            <a:avLst/>
          </a:prstGeom>
        </p:spPr>
      </p:pic>
    </p:spTree>
    <p:extLst>
      <p:ext uri="{BB962C8B-B14F-4D97-AF65-F5344CB8AC3E}">
        <p14:creationId xmlns:p14="http://schemas.microsoft.com/office/powerpoint/2010/main" val="271490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_Text/Aufzählung">
    <p:spTree>
      <p:nvGrpSpPr>
        <p:cNvPr id="1" name=""/>
        <p:cNvGrpSpPr/>
        <p:nvPr/>
      </p:nvGrpSpPr>
      <p:grpSpPr>
        <a:xfrm>
          <a:off x="0" y="0"/>
          <a:ext cx="0" cy="0"/>
          <a:chOff x="0" y="0"/>
          <a:chExt cx="0" cy="0"/>
        </a:xfrm>
      </p:grpSpPr>
      <p:pic>
        <p:nvPicPr>
          <p:cNvPr id="3" name="Bild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Textplatzhalter 12"/>
          <p:cNvSpPr>
            <a:spLocks noGrp="1"/>
          </p:cNvSpPr>
          <p:nvPr>
            <p:ph type="body" sz="quarter" idx="12" hasCustomPrompt="1"/>
          </p:nvPr>
        </p:nvSpPr>
        <p:spPr>
          <a:xfrm>
            <a:off x="405057" y="1220736"/>
            <a:ext cx="9819873" cy="4468352"/>
          </a:xfrm>
          <a:prstGeom prst="rect">
            <a:avLst/>
          </a:prstGeom>
        </p:spPr>
        <p:txBody>
          <a:bodyPr vert="horz">
            <a:normAutofit/>
          </a:bodyPr>
          <a:lstStyle>
            <a:lvl1pPr marL="0" indent="0">
              <a:lnSpc>
                <a:spcPct val="110000"/>
              </a:lnSpc>
              <a:buNone/>
              <a:defRPr sz="2133">
                <a:solidFill>
                  <a:srgbClr val="0E2954"/>
                </a:solidFill>
                <a:latin typeface="Arial"/>
                <a:cs typeface="Arial"/>
              </a:defRPr>
            </a:lvl1pPr>
            <a:lvl2pPr marL="733447" indent="-282094">
              <a:lnSpc>
                <a:spcPct val="110000"/>
              </a:lnSpc>
              <a:buFont typeface="Arial" pitchFamily="34" charset="0"/>
              <a:buChar char="•"/>
              <a:defRPr sz="2133">
                <a:solidFill>
                  <a:srgbClr val="0E2954"/>
                </a:solidFill>
                <a:latin typeface="Arial"/>
                <a:cs typeface="Arial"/>
              </a:defRPr>
            </a:lvl2pPr>
            <a:lvl3pPr>
              <a:lnSpc>
                <a:spcPct val="110000"/>
              </a:lnSpc>
              <a:defRPr sz="1867">
                <a:solidFill>
                  <a:srgbClr val="0E2954"/>
                </a:solidFill>
                <a:latin typeface="Arial"/>
                <a:cs typeface="Arial"/>
              </a:defRPr>
            </a:lvl3pPr>
            <a:lvl4pPr>
              <a:lnSpc>
                <a:spcPct val="110000"/>
              </a:lnSpc>
              <a:defRPr sz="1600">
                <a:solidFill>
                  <a:srgbClr val="0E2954"/>
                </a:solidFill>
                <a:latin typeface="Arial"/>
                <a:cs typeface="Arial"/>
              </a:defRPr>
            </a:lvl4pPr>
            <a:lvl5pPr>
              <a:lnSpc>
                <a:spcPct val="110000"/>
              </a:lnSpc>
              <a:defRPr sz="1400">
                <a:solidFill>
                  <a:srgbClr val="0E2954"/>
                </a:solidFill>
                <a:latin typeface="Arial"/>
                <a:cs typeface="Arial"/>
              </a:defRPr>
            </a:lvl5pPr>
          </a:lstStyle>
          <a:p>
            <a:pPr lvl="0"/>
            <a:r>
              <a:rPr lang="de-DE"/>
              <a:t>Textmasterformat bearbeiten, Arial 16pt </a:t>
            </a:r>
          </a:p>
          <a:p>
            <a:pPr lvl="1"/>
            <a:r>
              <a:rPr lang="de-DE"/>
              <a:t>Zweite Ebene, Arial 16pt</a:t>
            </a:r>
          </a:p>
          <a:p>
            <a:pPr lvl="2"/>
            <a:r>
              <a:rPr lang="de-DE"/>
              <a:t>Dritte Ebene, Arial 14pt</a:t>
            </a:r>
          </a:p>
          <a:p>
            <a:pPr lvl="3"/>
            <a:r>
              <a:rPr lang="de-DE"/>
              <a:t>Vierte Ebene, Arial 12pt</a:t>
            </a:r>
          </a:p>
          <a:p>
            <a:pPr lvl="4"/>
            <a:r>
              <a:rPr lang="de-DE"/>
              <a:t>Fünfte Ebene, Arial 10,5pt</a:t>
            </a:r>
          </a:p>
        </p:txBody>
      </p:sp>
      <p:sp>
        <p:nvSpPr>
          <p:cNvPr id="14" name="Titel 10"/>
          <p:cNvSpPr>
            <a:spLocks noGrp="1"/>
          </p:cNvSpPr>
          <p:nvPr>
            <p:ph type="title" hasCustomPrompt="1"/>
          </p:nvPr>
        </p:nvSpPr>
        <p:spPr>
          <a:xfrm>
            <a:off x="405055" y="182825"/>
            <a:ext cx="10971532" cy="738487"/>
          </a:xfrm>
          <a:prstGeom prst="rect">
            <a:avLst/>
          </a:prstGeom>
        </p:spPr>
        <p:txBody>
          <a:bodyPr vert="horz"/>
          <a:lstStyle>
            <a:lvl1pPr algn="l">
              <a:defRPr sz="2667" b="1">
                <a:solidFill>
                  <a:schemeClr val="bg1"/>
                </a:solidFill>
                <a:latin typeface="Arial"/>
                <a:cs typeface="Arial"/>
              </a:defRPr>
            </a:lvl1pPr>
          </a:lstStyle>
          <a:p>
            <a:r>
              <a:rPr lang="de-DE"/>
              <a:t>Titel, Arial fett 20pt</a:t>
            </a:r>
          </a:p>
        </p:txBody>
      </p:sp>
      <p:sp>
        <p:nvSpPr>
          <p:cNvPr id="6" name="Fußzeilenplatzhalter 1"/>
          <p:cNvSpPr>
            <a:spLocks noGrp="1"/>
          </p:cNvSpPr>
          <p:nvPr>
            <p:ph type="ftr" sz="quarter" idx="15"/>
          </p:nvPr>
        </p:nvSpPr>
        <p:spPr>
          <a:xfrm>
            <a:off x="839299" y="6693363"/>
            <a:ext cx="9199228" cy="163224"/>
          </a:xfrm>
        </p:spPr>
        <p:txBody>
          <a:bodyPr/>
          <a:lstStyle>
            <a:lvl1pPr algn="l">
              <a:defRPr sz="816"/>
            </a:lvl1pPr>
          </a:lstStyle>
          <a:p>
            <a:r>
              <a:rPr lang="de-DE">
                <a:solidFill>
                  <a:srgbClr val="FFFFFF"/>
                </a:solidFill>
              </a:rPr>
              <a:t>Prof. Dr. Gerald Linke, CEO DVGW</a:t>
            </a:r>
          </a:p>
        </p:txBody>
      </p:sp>
      <p:sp>
        <p:nvSpPr>
          <p:cNvPr id="7" name="Foliennummernplatzhalter 2"/>
          <p:cNvSpPr>
            <a:spLocks noGrp="1"/>
          </p:cNvSpPr>
          <p:nvPr>
            <p:ph type="sldNum" sz="quarter" idx="16"/>
          </p:nvPr>
        </p:nvSpPr>
        <p:spPr>
          <a:xfrm>
            <a:off x="346483" y="6693363"/>
            <a:ext cx="492816" cy="163224"/>
          </a:xfrm>
        </p:spPr>
        <p:txBody>
          <a:bodyPr/>
          <a:lstStyle>
            <a:lvl1pPr>
              <a:defRPr sz="816">
                <a:solidFill>
                  <a:schemeClr val="bg1"/>
                </a:solidFill>
              </a:defRPr>
            </a:lvl1pPr>
          </a:lstStyle>
          <a:p>
            <a:fld id="{06E39717-DBBA-4F45-8CD2-B914BAB34579}" type="slidenum">
              <a:rPr lang="de-DE" smtClean="0"/>
              <a:pPr/>
              <a:t>‹#›</a:t>
            </a:fld>
            <a:endParaRPr lang="de-DE"/>
          </a:p>
        </p:txBody>
      </p:sp>
    </p:spTree>
    <p:extLst>
      <p:ext uri="{BB962C8B-B14F-4D97-AF65-F5344CB8AC3E}">
        <p14:creationId xmlns:p14="http://schemas.microsoft.com/office/powerpoint/2010/main" val="41256713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Front slide GLE">
    <p:spTree>
      <p:nvGrpSpPr>
        <p:cNvPr id="1" name=""/>
        <p:cNvGrpSpPr/>
        <p:nvPr/>
      </p:nvGrpSpPr>
      <p:grpSpPr>
        <a:xfrm>
          <a:off x="0" y="0"/>
          <a:ext cx="0" cy="0"/>
          <a:chOff x="0" y="0"/>
          <a:chExt cx="0" cy="0"/>
        </a:xfrm>
      </p:grpSpPr>
      <p:pic>
        <p:nvPicPr>
          <p:cNvPr id="7" name="Picture 6" descr="A close up of a mountain&#10;&#10;Description generated with high confidence">
            <a:extLst>
              <a:ext uri="{FF2B5EF4-FFF2-40B4-BE49-F238E27FC236}">
                <a16:creationId xmlns:a16="http://schemas.microsoft.com/office/drawing/2014/main" id="{B999DAD1-D973-402C-B598-7453236E0039}"/>
              </a:ext>
            </a:extLst>
          </p:cNvPr>
          <p:cNvPicPr>
            <a:picLocks noChangeAspect="1"/>
          </p:cNvPicPr>
          <p:nvPr userDrawn="1"/>
        </p:nvPicPr>
        <p:blipFill>
          <a:blip r:embed="rId2"/>
          <a:stretch>
            <a:fillRect/>
          </a:stretch>
        </p:blipFill>
        <p:spPr>
          <a:xfrm>
            <a:off x="-624747" y="0"/>
            <a:ext cx="13008768" cy="6858000"/>
          </a:xfrm>
          <a:prstGeom prst="rect">
            <a:avLst/>
          </a:prstGeom>
        </p:spPr>
      </p:pic>
      <p:pic>
        <p:nvPicPr>
          <p:cNvPr id="5" name="Picture 4">
            <a:extLst>
              <a:ext uri="{FF2B5EF4-FFF2-40B4-BE49-F238E27FC236}">
                <a16:creationId xmlns:a16="http://schemas.microsoft.com/office/drawing/2014/main" id="{844A2343-F002-4FCB-95B5-5E92C10AED6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95996" y="957179"/>
            <a:ext cx="5846899" cy="2895601"/>
          </a:xfrm>
          <a:prstGeom prst="rect">
            <a:avLst/>
          </a:prstGeom>
        </p:spPr>
      </p:pic>
    </p:spTree>
    <p:extLst>
      <p:ext uri="{BB962C8B-B14F-4D97-AF65-F5344CB8AC3E}">
        <p14:creationId xmlns:p14="http://schemas.microsoft.com/office/powerpoint/2010/main" val="2093749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6" name="Picture 5" descr="A tree with a mountain in the background&#10;&#10;Description generated with high confidence">
            <a:extLst>
              <a:ext uri="{FF2B5EF4-FFF2-40B4-BE49-F238E27FC236}">
                <a16:creationId xmlns:a16="http://schemas.microsoft.com/office/drawing/2014/main" id="{13056D0F-4A54-4896-AC28-E4CF49E259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436100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pic>
        <p:nvPicPr>
          <p:cNvPr id="10" name="Grafik 9" descr="l_entsog_ppt.jpg"/>
          <p:cNvPicPr>
            <a:picLocks noChangeAspect="1"/>
          </p:cNvPicPr>
          <p:nvPr userDrawn="1"/>
        </p:nvPicPr>
        <p:blipFill>
          <a:blip r:embed="rId2" cstate="print"/>
          <a:stretch>
            <a:fillRect/>
          </a:stretch>
        </p:blipFill>
        <p:spPr>
          <a:xfrm>
            <a:off x="0" y="4573"/>
            <a:ext cx="12313920" cy="6908109"/>
          </a:xfrm>
          <a:prstGeom prst="rect">
            <a:avLst/>
          </a:prstGeom>
        </p:spPr>
      </p:pic>
      <p:sp>
        <p:nvSpPr>
          <p:cNvPr id="13" name="Rechteck 12"/>
          <p:cNvSpPr/>
          <p:nvPr userDrawn="1"/>
        </p:nvSpPr>
        <p:spPr>
          <a:xfrm>
            <a:off x="2592000" y="2520000"/>
            <a:ext cx="9600000" cy="3240000"/>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6" name="Title 4"/>
          <p:cNvSpPr>
            <a:spLocks noGrp="1"/>
          </p:cNvSpPr>
          <p:nvPr>
            <p:ph type="ctrTitle" hasCustomPrompt="1"/>
          </p:nvPr>
        </p:nvSpPr>
        <p:spPr bwMode="auto">
          <a:xfrm>
            <a:off x="2592000" y="2637008"/>
            <a:ext cx="9600000" cy="864000"/>
          </a:xfrm>
          <a:prstGeom prst="rect">
            <a:avLst/>
          </a:prstGeom>
          <a:noFill/>
          <a:ln>
            <a:miter lim="800000"/>
            <a:headEnd/>
            <a:tailEnd/>
          </a:ln>
        </p:spPr>
        <p:txBody>
          <a:bodyPr vert="horz" wrap="square" lIns="91440" tIns="45720" rIns="91440" bIns="45720" numCol="1" anchor="t" anchorCtr="0" compatLnSpc="1">
            <a:prstTxWarp prst="textNoShape">
              <a:avLst/>
            </a:prstTxWarp>
            <a:normAutofit/>
          </a:bodyPr>
          <a:lstStyle>
            <a:lvl1pPr algn="l">
              <a:defRPr b="1" baseline="0">
                <a:solidFill>
                  <a:schemeClr val="tx1"/>
                </a:solidFill>
                <a:latin typeface="+mj-lt"/>
              </a:defRPr>
            </a:lvl1pPr>
          </a:lstStyle>
          <a:p>
            <a:r>
              <a:rPr lang="en-GB" sz="4400" noProof="0" dirty="0">
                <a:solidFill>
                  <a:schemeClr val="tx1"/>
                </a:solidFill>
                <a:ea typeface="ＭＳ Ｐゴシック"/>
                <a:cs typeface="ＭＳ Ｐゴシック"/>
              </a:rPr>
              <a:t>Cover title</a:t>
            </a:r>
          </a:p>
        </p:txBody>
      </p:sp>
      <p:sp>
        <p:nvSpPr>
          <p:cNvPr id="7" name="Text Placeholder 17"/>
          <p:cNvSpPr>
            <a:spLocks noGrp="1"/>
          </p:cNvSpPr>
          <p:nvPr>
            <p:ph type="body" sz="quarter" idx="12" hasCustomPrompt="1"/>
          </p:nvPr>
        </p:nvSpPr>
        <p:spPr>
          <a:xfrm>
            <a:off x="2592001" y="4797152"/>
            <a:ext cx="6360225" cy="936104"/>
          </a:xfrm>
          <a:prstGeom prst="rect">
            <a:avLst/>
          </a:prstGeom>
        </p:spPr>
        <p:txBody>
          <a:bodyPr/>
          <a:lstStyle>
            <a:lvl1pPr marL="0" indent="0" algn="l">
              <a:buFontTx/>
              <a:buNone/>
              <a:defRPr sz="1800" b="1" i="0" baseline="0">
                <a:solidFill>
                  <a:srgbClr val="000000"/>
                </a:solidFill>
              </a:defRPr>
            </a:lvl1pPr>
          </a:lstStyle>
          <a:p>
            <a:pPr lvl="0"/>
            <a:r>
              <a:rPr lang="en-GB" noProof="0" dirty="0"/>
              <a:t>Name: ENTSOG representative</a:t>
            </a:r>
            <a:br>
              <a:rPr lang="en-GB" noProof="0" dirty="0"/>
            </a:br>
            <a:r>
              <a:rPr lang="en-GB" noProof="0" dirty="0"/>
              <a:t>Position: Adviser/EGM/President</a:t>
            </a:r>
          </a:p>
        </p:txBody>
      </p:sp>
      <p:sp>
        <p:nvSpPr>
          <p:cNvPr id="8" name="Text Placeholder 19"/>
          <p:cNvSpPr>
            <a:spLocks noGrp="1"/>
          </p:cNvSpPr>
          <p:nvPr>
            <p:ph type="body" sz="quarter" idx="13" hasCustomPrompt="1"/>
          </p:nvPr>
        </p:nvSpPr>
        <p:spPr>
          <a:xfrm>
            <a:off x="2592000" y="3600001"/>
            <a:ext cx="8064896" cy="503733"/>
          </a:xfrm>
          <a:prstGeom prst="rect">
            <a:avLst/>
          </a:prstGeom>
        </p:spPr>
        <p:txBody>
          <a:bodyPr/>
          <a:lstStyle>
            <a:lvl1pPr marL="0" indent="0" algn="l">
              <a:buFontTx/>
              <a:buNone/>
              <a:defRPr sz="2800" b="1">
                <a:solidFill>
                  <a:schemeClr val="accent2"/>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noProof="0" dirty="0"/>
              <a:t>Cover subtitle</a:t>
            </a:r>
          </a:p>
        </p:txBody>
      </p:sp>
      <p:sp>
        <p:nvSpPr>
          <p:cNvPr id="9" name="Text Placeholder 21"/>
          <p:cNvSpPr>
            <a:spLocks noGrp="1"/>
          </p:cNvSpPr>
          <p:nvPr>
            <p:ph type="body" sz="quarter" idx="14" hasCustomPrompt="1"/>
          </p:nvPr>
        </p:nvSpPr>
        <p:spPr>
          <a:xfrm>
            <a:off x="7920203" y="620688"/>
            <a:ext cx="3743424" cy="360064"/>
          </a:xfrm>
          <a:prstGeom prst="rect">
            <a:avLst/>
          </a:prstGeom>
        </p:spPr>
        <p:txBody>
          <a:bodyPr/>
          <a:lstStyle>
            <a:lvl1pPr marL="0" indent="0" algn="ctr">
              <a:buNone/>
              <a:defRPr sz="1800" b="1" baseline="0">
                <a:solidFill>
                  <a:srgbClr val="87888A"/>
                </a:solidFill>
              </a:defRPr>
            </a:lvl1pPr>
          </a:lstStyle>
          <a:p>
            <a:pPr lvl="0"/>
            <a:r>
              <a:rPr lang="en-GB" noProof="0" dirty="0"/>
              <a:t>&lt;Place&gt; -- DD Month YYYY</a:t>
            </a:r>
          </a:p>
        </p:txBody>
      </p:sp>
    </p:spTree>
    <p:extLst>
      <p:ext uri="{BB962C8B-B14F-4D97-AF65-F5344CB8AC3E}">
        <p14:creationId xmlns:p14="http://schemas.microsoft.com/office/powerpoint/2010/main" val="565181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our chart">
    <p:spTree>
      <p:nvGrpSpPr>
        <p:cNvPr id="1" name=""/>
        <p:cNvGrpSpPr/>
        <p:nvPr/>
      </p:nvGrpSpPr>
      <p:grpSpPr>
        <a:xfrm>
          <a:off x="0" y="0"/>
          <a:ext cx="0" cy="0"/>
          <a:chOff x="0" y="0"/>
          <a:chExt cx="0" cy="0"/>
        </a:xfrm>
      </p:grpSpPr>
      <p:sp>
        <p:nvSpPr>
          <p:cNvPr id="11"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a:pPr>
                <a:defRPr/>
              </a:pPr>
              <a:t>‹#›</a:t>
            </a:fld>
            <a:endParaRPr lang="en-GB" dirty="0"/>
          </a:p>
        </p:txBody>
      </p:sp>
      <p:graphicFrame>
        <p:nvGraphicFramePr>
          <p:cNvPr id="7" name="Table 6"/>
          <p:cNvGraphicFramePr>
            <a:graphicFrameLocks noGrp="1"/>
          </p:cNvGraphicFramePr>
          <p:nvPr userDrawn="1">
            <p:extLst/>
          </p:nvPr>
        </p:nvGraphicFramePr>
        <p:xfrm>
          <a:off x="527382" y="1052736"/>
          <a:ext cx="9985109" cy="5112561"/>
        </p:xfrm>
        <a:graphic>
          <a:graphicData uri="http://schemas.openxmlformats.org/drawingml/2006/table">
            <a:tbl>
              <a:tblPr firstRow="1" bandRow="1">
                <a:tableStyleId>{5C22544A-7EE6-4342-B048-85BDC9FD1C3A}</a:tableStyleId>
              </a:tblPr>
              <a:tblGrid>
                <a:gridCol w="2763736">
                  <a:extLst>
                    <a:ext uri="{9D8B030D-6E8A-4147-A177-3AD203B41FA5}">
                      <a16:colId xmlns:a16="http://schemas.microsoft.com/office/drawing/2014/main" val="20000"/>
                    </a:ext>
                  </a:extLst>
                </a:gridCol>
                <a:gridCol w="611656">
                  <a:extLst>
                    <a:ext uri="{9D8B030D-6E8A-4147-A177-3AD203B41FA5}">
                      <a16:colId xmlns:a16="http://schemas.microsoft.com/office/drawing/2014/main" val="20001"/>
                    </a:ext>
                  </a:extLst>
                </a:gridCol>
                <a:gridCol w="611656">
                  <a:extLst>
                    <a:ext uri="{9D8B030D-6E8A-4147-A177-3AD203B41FA5}">
                      <a16:colId xmlns:a16="http://schemas.microsoft.com/office/drawing/2014/main" val="20002"/>
                    </a:ext>
                  </a:extLst>
                </a:gridCol>
                <a:gridCol w="611656">
                  <a:extLst>
                    <a:ext uri="{9D8B030D-6E8A-4147-A177-3AD203B41FA5}">
                      <a16:colId xmlns:a16="http://schemas.microsoft.com/office/drawing/2014/main" val="20003"/>
                    </a:ext>
                  </a:extLst>
                </a:gridCol>
                <a:gridCol w="1459163">
                  <a:extLst>
                    <a:ext uri="{9D8B030D-6E8A-4147-A177-3AD203B41FA5}">
                      <a16:colId xmlns:a16="http://schemas.microsoft.com/office/drawing/2014/main" val="20004"/>
                    </a:ext>
                  </a:extLst>
                </a:gridCol>
                <a:gridCol w="1459163">
                  <a:extLst>
                    <a:ext uri="{9D8B030D-6E8A-4147-A177-3AD203B41FA5}">
                      <a16:colId xmlns:a16="http://schemas.microsoft.com/office/drawing/2014/main" val="20005"/>
                    </a:ext>
                  </a:extLst>
                </a:gridCol>
                <a:gridCol w="2468080">
                  <a:extLst>
                    <a:ext uri="{9D8B030D-6E8A-4147-A177-3AD203B41FA5}">
                      <a16:colId xmlns:a16="http://schemas.microsoft.com/office/drawing/2014/main" val="20006"/>
                    </a:ext>
                  </a:extLst>
                </a:gridCol>
              </a:tblGrid>
              <a:tr h="597546">
                <a:tc>
                  <a:txBody>
                    <a:bodyPr/>
                    <a:lstStyle/>
                    <a:p>
                      <a:r>
                        <a:rPr lang="en-GB" sz="1600" b="1" i="1" noProof="0" dirty="0">
                          <a:solidFill>
                            <a:srgbClr val="1F4484"/>
                          </a:solidFill>
                        </a:rPr>
                        <a:t>ENTSOG</a:t>
                      </a:r>
                      <a:r>
                        <a:rPr lang="en-GB" sz="1600" b="1" i="1" baseline="0" noProof="0" dirty="0">
                          <a:solidFill>
                            <a:srgbClr val="1F4484"/>
                          </a:solidFill>
                        </a:rPr>
                        <a:t> </a:t>
                      </a:r>
                      <a:r>
                        <a:rPr lang="en-GB" sz="1600" b="1" i="1" noProof="0" dirty="0">
                          <a:solidFill>
                            <a:srgbClr val="1F4484"/>
                          </a:solidFill>
                        </a:rPr>
                        <a:t>Colour chart</a:t>
                      </a: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600" b="1" i="1" noProof="0" dirty="0">
                          <a:solidFill>
                            <a:srgbClr val="1F4484"/>
                          </a:solidFill>
                        </a:rPr>
                        <a:t>R</a:t>
                      </a: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600" b="1" i="1" noProof="0" dirty="0">
                          <a:solidFill>
                            <a:srgbClr val="1F4484"/>
                          </a:solidFill>
                        </a:rPr>
                        <a:t>G</a:t>
                      </a: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600" b="1" i="1" noProof="0" dirty="0">
                          <a:solidFill>
                            <a:srgbClr val="1F4484"/>
                          </a:solidFill>
                        </a:rPr>
                        <a:t>B</a:t>
                      </a: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600" b="1" noProof="0" dirty="0">
                          <a:solidFill>
                            <a:srgbClr val="1F4484"/>
                          </a:solidFill>
                        </a:rPr>
                        <a:t>CMYK</a:t>
                      </a:r>
                      <a:endParaRPr lang="en-GB" sz="1600" b="1" noProof="0" dirty="0">
                        <a:solidFill>
                          <a:srgbClr val="1F4484"/>
                        </a:solidFill>
                      </a:endParaRP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600" b="1" noProof="0" dirty="0">
                        <a:solidFill>
                          <a:srgbClr val="1F4484"/>
                        </a:solidFill>
                      </a:endParaRP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1" noProof="0" dirty="0">
                          <a:solidFill>
                            <a:srgbClr val="1F4484"/>
                          </a:solidFill>
                        </a:rPr>
                        <a:t>used in (eg. NeMo)</a:t>
                      </a:r>
                      <a:endParaRPr lang="en-GB" sz="1600" b="1" noProof="0" dirty="0">
                        <a:solidFill>
                          <a:srgbClr val="1F4484"/>
                        </a:solidFill>
                      </a:endParaRP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6305">
                <a:tc>
                  <a:txBody>
                    <a:bodyPr/>
                    <a:lstStyle/>
                    <a:p>
                      <a:r>
                        <a:rPr lang="en-GB" sz="1200" b="1" baseline="0" noProof="0" dirty="0">
                          <a:solidFill>
                            <a:srgbClr val="1F4484"/>
                          </a:solidFill>
                        </a:rPr>
                        <a:t>Dark Grey</a:t>
                      </a: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28</a:t>
                      </a: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30</a:t>
                      </a: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33</a:t>
                      </a: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0/0/0/60</a:t>
                      </a:r>
                      <a:endParaRPr lang="en-GB" sz="1200" b="1" noProof="0" dirty="0">
                        <a:solidFill>
                          <a:srgbClr val="1F4484"/>
                        </a:solidFill>
                      </a:endParaRP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80828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1F4484"/>
                          </a:solidFill>
                          <a:latin typeface="+mn-lt"/>
                          <a:ea typeface="+mn-ea"/>
                          <a:cs typeface="+mn-cs"/>
                        </a:rPr>
                        <a:t>Presentation, (NP)</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96305">
                <a:tc>
                  <a:txBody>
                    <a:bodyPr/>
                    <a:lstStyle/>
                    <a:p>
                      <a:r>
                        <a:rPr lang="en-GB" sz="1200" b="1" baseline="0" noProof="0" dirty="0">
                          <a:solidFill>
                            <a:srgbClr val="1F4484"/>
                          </a:solidFill>
                        </a:rPr>
                        <a:t>Grey</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91</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91</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91</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25/20/20/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FBFBF"/>
                    </a:solidFill>
                  </a:tcPr>
                </a:tc>
                <a:tc>
                  <a:txBody>
                    <a:bodyPr/>
                    <a:lstStyle/>
                    <a:p>
                      <a:r>
                        <a:rPr lang="de-DE" sz="1200" b="1" kern="1200" noProof="0" dirty="0">
                          <a:solidFill>
                            <a:srgbClr val="1F4484"/>
                          </a:solidFill>
                          <a:latin typeface="+mn-lt"/>
                          <a:ea typeface="+mn-ea"/>
                          <a:cs typeface="+mn-cs"/>
                        </a:rPr>
                        <a:t>Presentation</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96305">
                <a:tc>
                  <a:txBody>
                    <a:bodyPr/>
                    <a:lstStyle/>
                    <a:p>
                      <a:r>
                        <a:rPr lang="en-GB" sz="1200" b="1" baseline="0" noProof="0" dirty="0">
                          <a:solidFill>
                            <a:srgbClr val="1F4484"/>
                          </a:solidFill>
                        </a:rPr>
                        <a:t>Light Grey</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217</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217</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217</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4/10/11/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9D9D9"/>
                    </a:solidFill>
                  </a:tcPr>
                </a:tc>
                <a:tc>
                  <a:txBody>
                    <a:bodyPr/>
                    <a:lstStyle/>
                    <a:p>
                      <a:r>
                        <a:rPr lang="de-DE" sz="1200" b="1" kern="1200" noProof="0" dirty="0">
                          <a:solidFill>
                            <a:srgbClr val="1F4484"/>
                          </a:solidFill>
                          <a:latin typeface="+mn-lt"/>
                          <a:ea typeface="+mn-ea"/>
                          <a:cs typeface="+mn-cs"/>
                        </a:rPr>
                        <a:t>Presentation</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96305">
                <a:tc>
                  <a:txBody>
                    <a:bodyPr/>
                    <a:lstStyle/>
                    <a:p>
                      <a:r>
                        <a:rPr lang="de-DE" sz="1200" b="1" baseline="0" noProof="0" dirty="0">
                          <a:solidFill>
                            <a:srgbClr val="D9D9D9"/>
                          </a:solidFill>
                        </a:rPr>
                        <a:t>Grey</a:t>
                      </a:r>
                      <a:endParaRPr lang="en-GB" sz="1200" b="1" baseline="0"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baseline="0" noProof="0" dirty="0">
                          <a:solidFill>
                            <a:srgbClr val="D9D9D9"/>
                          </a:solidFill>
                        </a:rPr>
                        <a:t>234</a:t>
                      </a:r>
                      <a:endParaRPr lang="en-GB" sz="1200" b="1" baseline="0"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baseline="0" noProof="0" dirty="0">
                          <a:solidFill>
                            <a:srgbClr val="D9D9D9"/>
                          </a:solidFill>
                        </a:rPr>
                        <a:t>231</a:t>
                      </a:r>
                      <a:endParaRPr lang="en-GB" sz="1200" b="1" baseline="0"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baseline="0" noProof="0" dirty="0">
                          <a:solidFill>
                            <a:srgbClr val="D9D9D9"/>
                          </a:solidFill>
                        </a:rPr>
                        <a:t>222</a:t>
                      </a:r>
                      <a:endParaRPr lang="en-GB" sz="1200" b="1" baseline="0"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kern="1200" baseline="0" noProof="0" dirty="0">
                          <a:solidFill>
                            <a:srgbClr val="D9D9D9"/>
                          </a:solidFill>
                          <a:latin typeface="+mn-lt"/>
                          <a:ea typeface="+mn-ea"/>
                          <a:cs typeface="+mn-cs"/>
                        </a:rPr>
                        <a:t>7/6/11/0</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7DE"/>
                    </a:solidFill>
                  </a:tcPr>
                </a:tc>
                <a:tc>
                  <a:txBody>
                    <a:bodyPr/>
                    <a:lstStyle/>
                    <a:p>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96305">
                <a:tc>
                  <a:txBody>
                    <a:bodyPr/>
                    <a:lstStyle/>
                    <a:p>
                      <a:r>
                        <a:rPr lang="en-GB" sz="1200" b="1" baseline="0" noProof="0" dirty="0">
                          <a:solidFill>
                            <a:srgbClr val="1F4484"/>
                          </a:solidFill>
                        </a:rPr>
                        <a:t>Dark Blue (ENTSOG)</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31</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68</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32</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99/84/18/6</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F4484"/>
                    </a:solidFill>
                  </a:tcPr>
                </a:tc>
                <a:tc>
                  <a:txBody>
                    <a:bodyPr/>
                    <a:lstStyle/>
                    <a:p>
                      <a:r>
                        <a:rPr lang="de-DE" sz="1200" b="1" kern="1200" noProof="0" dirty="0">
                          <a:solidFill>
                            <a:srgbClr val="1F4484"/>
                          </a:solidFill>
                          <a:latin typeface="+mn-lt"/>
                          <a:ea typeface="+mn-ea"/>
                          <a:cs typeface="+mn-cs"/>
                        </a:rPr>
                        <a:t>Presentation,</a:t>
                      </a:r>
                      <a:r>
                        <a:rPr lang="de-DE" sz="1200" b="1" kern="1200" baseline="0" noProof="0" dirty="0">
                          <a:solidFill>
                            <a:srgbClr val="1F4484"/>
                          </a:solidFill>
                          <a:latin typeface="+mn-lt"/>
                          <a:ea typeface="+mn-ea"/>
                          <a:cs typeface="+mn-cs"/>
                        </a:rPr>
                        <a:t> (LNG)</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96305">
                <a:tc>
                  <a:txBody>
                    <a:bodyPr/>
                    <a:lstStyle/>
                    <a:p>
                      <a:pPr marL="0" algn="l" defTabSz="914400" rtl="0" eaLnBrk="1" latinLnBrk="0" hangingPunct="1"/>
                      <a:r>
                        <a:rPr lang="en-GB" sz="1200" b="1" kern="1200" baseline="0" noProof="0" dirty="0">
                          <a:solidFill>
                            <a:srgbClr val="D9D9D9"/>
                          </a:solidFill>
                          <a:latin typeface="+mn-lt"/>
                          <a:ea typeface="+mn-ea"/>
                          <a:cs typeface="+mn-cs"/>
                        </a:rPr>
                        <a:t>Blue</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9</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56</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216</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75/23/0/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39CD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196305">
                <a:tc>
                  <a:txBody>
                    <a:bodyPr/>
                    <a:lstStyle/>
                    <a:p>
                      <a:r>
                        <a:rPr lang="de-DE" sz="1200" b="1" noProof="0" dirty="0">
                          <a:solidFill>
                            <a:srgbClr val="1F4484"/>
                          </a:solidFill>
                        </a:rPr>
                        <a:t>Blue</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62</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08</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64</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kern="1200" noProof="0" dirty="0">
                          <a:solidFill>
                            <a:srgbClr val="1F4484"/>
                          </a:solidFill>
                          <a:latin typeface="+mn-lt"/>
                          <a:ea typeface="+mn-ea"/>
                          <a:cs typeface="+mn-cs"/>
                        </a:rPr>
                        <a:t>82/57/12/1</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E6CA4"/>
                    </a:solidFill>
                  </a:tcPr>
                </a:tc>
                <a:tc>
                  <a:txBody>
                    <a:bodyPr/>
                    <a:lstStyle/>
                    <a:p>
                      <a:r>
                        <a:rPr lang="de-DE" sz="1200" b="1" kern="1200" noProof="0" dirty="0">
                          <a:solidFill>
                            <a:srgbClr val="1F4484"/>
                          </a:solidFill>
                          <a:latin typeface="+mn-lt"/>
                          <a:ea typeface="+mn-ea"/>
                          <a:cs typeface="+mn-cs"/>
                        </a:rPr>
                        <a:t>Presentation</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196305">
                <a:tc>
                  <a:txBody>
                    <a:bodyPr/>
                    <a:lstStyle/>
                    <a:p>
                      <a:r>
                        <a:rPr lang="de-DE" sz="1200" b="1" noProof="0" dirty="0">
                          <a:solidFill>
                            <a:srgbClr val="1F4484"/>
                          </a:solidFill>
                        </a:rPr>
                        <a:t>Middle Blue</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07</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49</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99</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kern="1200" noProof="0" dirty="0">
                          <a:solidFill>
                            <a:srgbClr val="1F4484"/>
                          </a:solidFill>
                          <a:latin typeface="+mn-lt"/>
                          <a:ea typeface="+mn-ea"/>
                          <a:cs typeface="+mn-cs"/>
                        </a:rPr>
                        <a:t>0/34/4/0</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6B95C7"/>
                    </a:solidFill>
                  </a:tcPr>
                </a:tc>
                <a:tc>
                  <a:txBody>
                    <a:bodyPr/>
                    <a:lstStyle/>
                    <a:p>
                      <a:r>
                        <a:rPr lang="de-DE" sz="1200" b="1" kern="1200" noProof="0" dirty="0">
                          <a:solidFill>
                            <a:srgbClr val="1F4484"/>
                          </a:solidFill>
                          <a:latin typeface="+mn-lt"/>
                          <a:ea typeface="+mn-ea"/>
                          <a:cs typeface="+mn-cs"/>
                        </a:rPr>
                        <a:t>Presentation</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196305">
                <a:tc>
                  <a:txBody>
                    <a:bodyPr/>
                    <a:lstStyle/>
                    <a:p>
                      <a:r>
                        <a:rPr lang="de-DE" sz="1200" b="1" noProof="0" dirty="0">
                          <a:solidFill>
                            <a:srgbClr val="1F4484"/>
                          </a:solidFill>
                        </a:rPr>
                        <a:t>Light Blue</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77</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99</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225</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kern="1200" noProof="0" dirty="0">
                          <a:solidFill>
                            <a:srgbClr val="1F4484"/>
                          </a:solidFill>
                          <a:latin typeface="+mn-lt"/>
                          <a:ea typeface="+mn-ea"/>
                          <a:cs typeface="+mn-cs"/>
                        </a:rPr>
                        <a:t>29/14/3/0</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1C7E1"/>
                    </a:solidFill>
                  </a:tcPr>
                </a:tc>
                <a:tc>
                  <a:txBody>
                    <a:bodyPr/>
                    <a:lstStyle/>
                    <a:p>
                      <a:r>
                        <a:rPr lang="de-DE" sz="1200" b="1" kern="1200" noProof="0" dirty="0">
                          <a:solidFill>
                            <a:srgbClr val="1F4484"/>
                          </a:solidFill>
                          <a:latin typeface="+mn-lt"/>
                          <a:ea typeface="+mn-ea"/>
                          <a:cs typeface="+mn-cs"/>
                        </a:rPr>
                        <a:t>Presentation</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196305">
                <a:tc>
                  <a:txBody>
                    <a:bodyPr/>
                    <a:lstStyle/>
                    <a:p>
                      <a:pPr marL="0" algn="l" defTabSz="914400" rtl="0" eaLnBrk="1" latinLnBrk="0" hangingPunct="1"/>
                      <a:r>
                        <a:rPr lang="de-DE" sz="1200" b="1" kern="1200" baseline="0" noProof="0" dirty="0">
                          <a:solidFill>
                            <a:srgbClr val="D9D9D9"/>
                          </a:solidFill>
                          <a:latin typeface="+mn-lt"/>
                          <a:ea typeface="+mn-ea"/>
                          <a:cs typeface="+mn-cs"/>
                        </a:rPr>
                        <a:t>Bluish</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217</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233</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247</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kern="1200" noProof="0" dirty="0">
                          <a:solidFill>
                            <a:srgbClr val="D9D9D9"/>
                          </a:solidFill>
                          <a:latin typeface="+mn-lt"/>
                          <a:ea typeface="+mn-ea"/>
                          <a:cs typeface="+mn-cs"/>
                        </a:rPr>
                        <a:t>13/3/0/0</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9E9F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196305">
                <a:tc>
                  <a:txBody>
                    <a:bodyPr/>
                    <a:lstStyle/>
                    <a:p>
                      <a:pPr marL="0" algn="l" defTabSz="914400" rtl="0" eaLnBrk="1" latinLnBrk="0" hangingPunct="1"/>
                      <a:r>
                        <a:rPr lang="de-DE" sz="1200" b="1" kern="1200" baseline="0" noProof="0" dirty="0">
                          <a:solidFill>
                            <a:srgbClr val="1F4484"/>
                          </a:solidFill>
                          <a:latin typeface="+mn-lt"/>
                          <a:ea typeface="+mn-ea"/>
                          <a:cs typeface="+mn-cs"/>
                        </a:rPr>
                        <a:t>Dark Green</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130</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152</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36</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54/25/100/5</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829824"/>
                    </a:solidFill>
                  </a:tcPr>
                </a:tc>
                <a:tc>
                  <a:txBody>
                    <a:bodyPr/>
                    <a:lstStyle/>
                    <a:p>
                      <a:r>
                        <a:rPr lang="de-DE" sz="1200" b="1" kern="1200" noProof="0" dirty="0">
                          <a:solidFill>
                            <a:srgbClr val="1F4484"/>
                          </a:solidFill>
                          <a:latin typeface="+mn-lt"/>
                          <a:ea typeface="+mn-ea"/>
                          <a:cs typeface="+mn-cs"/>
                        </a:rPr>
                        <a:t>Presentation, (Libya)</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196305">
                <a:tc>
                  <a:txBody>
                    <a:bodyPr/>
                    <a:lstStyle/>
                    <a:p>
                      <a:pPr marL="0" algn="l" defTabSz="914400" rtl="0" eaLnBrk="1" latinLnBrk="0" hangingPunct="1"/>
                      <a:r>
                        <a:rPr lang="en-GB" sz="1200" b="1" kern="1200" baseline="0" noProof="0" dirty="0">
                          <a:solidFill>
                            <a:srgbClr val="D9D9D9"/>
                          </a:solidFill>
                          <a:latin typeface="+mn-lt"/>
                          <a:ea typeface="+mn-ea"/>
                          <a:cs typeface="+mn-cs"/>
                        </a:rPr>
                        <a:t>Green</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28</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95</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66</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55/0/100/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80C342"/>
                    </a:solidFill>
                  </a:tcPr>
                </a:tc>
                <a:tc>
                  <a:txBody>
                    <a:bodyPr/>
                    <a:lstStyle/>
                    <a:p>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196305">
                <a:tc>
                  <a:txBody>
                    <a:bodyPr/>
                    <a:lstStyle/>
                    <a:p>
                      <a:pPr marL="0" algn="l" defTabSz="914400" rtl="0" eaLnBrk="1" latinLnBrk="0" hangingPunct="1"/>
                      <a:r>
                        <a:rPr lang="de-DE" sz="1200" b="1" kern="1200" baseline="0" noProof="0" dirty="0">
                          <a:solidFill>
                            <a:srgbClr val="1F4484"/>
                          </a:solidFill>
                          <a:latin typeface="+mn-lt"/>
                          <a:ea typeface="+mn-ea"/>
                          <a:cs typeface="+mn-cs"/>
                        </a:rPr>
                        <a:t>Middle Green</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159</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186</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44</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43/10/100/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9FBA2C"/>
                    </a:solidFill>
                  </a:tcPr>
                </a:tc>
                <a:tc>
                  <a:txBody>
                    <a:bodyPr/>
                    <a:lstStyle/>
                    <a:p>
                      <a:r>
                        <a:rPr lang="de-DE" sz="1200" b="1" kern="1200" noProof="0" dirty="0">
                          <a:solidFill>
                            <a:srgbClr val="1F4484"/>
                          </a:solidFill>
                          <a:latin typeface="+mn-lt"/>
                          <a:ea typeface="+mn-ea"/>
                          <a:cs typeface="+mn-cs"/>
                        </a:rPr>
                        <a:t>Presentation, (Algeria)</a:t>
                      </a:r>
                      <a:r>
                        <a:rPr lang="de-DE" sz="1200" b="1" kern="1200" baseline="0" noProof="0" dirty="0">
                          <a:solidFill>
                            <a:srgbClr val="1F4484"/>
                          </a:solidFill>
                          <a:latin typeface="+mn-lt"/>
                          <a:ea typeface="+mn-ea"/>
                          <a:cs typeface="+mn-cs"/>
                        </a:rPr>
                        <a:t> </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196305">
                <a:tc>
                  <a:txBody>
                    <a:bodyPr/>
                    <a:lstStyle/>
                    <a:p>
                      <a:r>
                        <a:rPr lang="en-GB" sz="1200" b="1" baseline="0" noProof="0" dirty="0">
                          <a:solidFill>
                            <a:srgbClr val="1F4484"/>
                          </a:solidFill>
                        </a:rPr>
                        <a:t>Green (ENTSOG)</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93</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213</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55</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29/1/96/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1D537"/>
                    </a:solidFill>
                  </a:tcPr>
                </a:tc>
                <a:tc>
                  <a:txBody>
                    <a:bodyPr/>
                    <a:lstStyle/>
                    <a:p>
                      <a:r>
                        <a:rPr lang="de-DE" sz="1200" b="1" kern="1200" noProof="0" dirty="0">
                          <a:solidFill>
                            <a:srgbClr val="1F4484"/>
                          </a:solidFill>
                          <a:latin typeface="+mn-lt"/>
                          <a:ea typeface="+mn-ea"/>
                          <a:cs typeface="+mn-cs"/>
                        </a:rPr>
                        <a:t>Presentation</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196305">
                <a:tc>
                  <a:txBody>
                    <a:bodyPr/>
                    <a:lstStyle/>
                    <a:p>
                      <a:pPr marL="0" algn="l" defTabSz="914400" rtl="0" eaLnBrk="1" latinLnBrk="0" hangingPunct="1"/>
                      <a:r>
                        <a:rPr lang="en-GB" sz="1200" b="1" kern="1200" baseline="0" noProof="0" dirty="0">
                          <a:solidFill>
                            <a:srgbClr val="D9D9D9"/>
                          </a:solidFill>
                          <a:latin typeface="+mn-lt"/>
                          <a:ea typeface="+mn-ea"/>
                          <a:cs typeface="+mn-cs"/>
                        </a:rPr>
                        <a:t>Greenish</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205</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228</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74</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21/0/40/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DE4AE"/>
                    </a:solidFill>
                  </a:tcPr>
                </a:tc>
                <a:tc>
                  <a:txBody>
                    <a:bodyPr/>
                    <a:lstStyle/>
                    <a:p>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5"/>
                  </a:ext>
                </a:extLst>
              </a:tr>
              <a:tr h="196305">
                <a:tc>
                  <a:txBody>
                    <a:bodyPr/>
                    <a:lstStyle/>
                    <a:p>
                      <a:r>
                        <a:rPr lang="de-DE" sz="1200" b="1" noProof="0" dirty="0">
                          <a:solidFill>
                            <a:srgbClr val="1F4484"/>
                          </a:solidFill>
                        </a:rPr>
                        <a:t>Light</a:t>
                      </a:r>
                      <a:r>
                        <a:rPr lang="de-DE" sz="1200" b="1" baseline="0" noProof="0" dirty="0">
                          <a:solidFill>
                            <a:srgbClr val="1F4484"/>
                          </a:solidFill>
                        </a:rPr>
                        <a:t> Purple</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kern="1200" dirty="0">
                          <a:solidFill>
                            <a:srgbClr val="1F4484"/>
                          </a:solidFill>
                          <a:latin typeface="+mn-lt"/>
                          <a:ea typeface="+mn-ea"/>
                          <a:cs typeface="+mn-cs"/>
                        </a:rPr>
                        <a:t>141</a:t>
                      </a:r>
                      <a:endParaRPr lang="en-GB" sz="1200" b="1" kern="120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17</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71</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49/58/7/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8D75A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1F4484"/>
                          </a:solidFill>
                          <a:latin typeface="+mn-lt"/>
                          <a:ea typeface="+mn-ea"/>
                          <a:cs typeface="+mn-cs"/>
                        </a:rPr>
                        <a:t>Presentation, (UGS)</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6"/>
                  </a:ext>
                </a:extLst>
              </a:tr>
              <a:tr h="196305">
                <a:tc>
                  <a:txBody>
                    <a:bodyPr/>
                    <a:lstStyle/>
                    <a:p>
                      <a:pPr marL="0" algn="l" defTabSz="914400" rtl="0" eaLnBrk="1" latinLnBrk="0" hangingPunct="1"/>
                      <a:r>
                        <a:rPr lang="de-DE" sz="1200" b="1" kern="1200" baseline="0" noProof="0" dirty="0">
                          <a:solidFill>
                            <a:srgbClr val="D9D9D9"/>
                          </a:solidFill>
                          <a:latin typeface="+mn-lt"/>
                          <a:ea typeface="+mn-ea"/>
                          <a:cs typeface="+mn-cs"/>
                        </a:rPr>
                        <a:t>Pink</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dirty="0">
                          <a:solidFill>
                            <a:srgbClr val="D9D9D9"/>
                          </a:solidFill>
                          <a:latin typeface="+mn-lt"/>
                          <a:ea typeface="+mn-ea"/>
                          <a:cs typeface="+mn-cs"/>
                        </a:rPr>
                        <a:t>204</a:t>
                      </a:r>
                      <a:endParaRPr lang="en-GB" sz="1200" b="1" kern="1200" baseline="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72</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152</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17/86/1/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C489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
                  </a:ext>
                </a:extLst>
              </a:tr>
              <a:tr h="196305">
                <a:tc>
                  <a:txBody>
                    <a:bodyPr/>
                    <a:lstStyle/>
                    <a:p>
                      <a:r>
                        <a:rPr lang="en-GB" sz="1200" b="1" baseline="0" noProof="0" dirty="0">
                          <a:solidFill>
                            <a:srgbClr val="1F4484"/>
                          </a:solidFill>
                        </a:rPr>
                        <a:t>Red</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232</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38</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44</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2/98/93/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262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1F4484"/>
                          </a:solidFill>
                          <a:latin typeface="+mn-lt"/>
                          <a:ea typeface="+mn-ea"/>
                          <a:cs typeface="+mn-cs"/>
                        </a:rPr>
                        <a:t>Presentation, (Russia)</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8"/>
                  </a:ext>
                </a:extLst>
              </a:tr>
              <a:tr h="196305">
                <a:tc>
                  <a:txBody>
                    <a:bodyPr/>
                    <a:lstStyle/>
                    <a:p>
                      <a:pPr marL="0" algn="l" defTabSz="914400" rtl="0" eaLnBrk="1" latinLnBrk="0" hangingPunct="1"/>
                      <a:r>
                        <a:rPr lang="de-DE" sz="1200" b="1" kern="1200" baseline="0" noProof="0" dirty="0">
                          <a:solidFill>
                            <a:srgbClr val="1F4484"/>
                          </a:solidFill>
                          <a:latin typeface="+mn-lt"/>
                          <a:ea typeface="+mn-ea"/>
                          <a:cs typeface="+mn-cs"/>
                        </a:rPr>
                        <a:t>Dark Orange</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1F4484"/>
                          </a:solidFill>
                          <a:latin typeface="+mn-lt"/>
                          <a:ea typeface="+mn-ea"/>
                          <a:cs typeface="+mn-cs"/>
                        </a:rPr>
                        <a:t>235</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1F4484"/>
                          </a:solidFill>
                          <a:latin typeface="+mn-lt"/>
                          <a:ea typeface="+mn-ea"/>
                          <a:cs typeface="+mn-cs"/>
                        </a:rPr>
                        <a:t>122</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1F4484"/>
                          </a:solidFill>
                          <a:latin typeface="+mn-lt"/>
                          <a:ea typeface="+mn-ea"/>
                          <a:cs typeface="+mn-cs"/>
                        </a:rPr>
                        <a:t>59</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4/64/87/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7A3B"/>
                    </a:solidFill>
                  </a:tcPr>
                </a:tc>
                <a:tc>
                  <a:txBody>
                    <a:bodyPr/>
                    <a:lstStyle/>
                    <a:p>
                      <a:r>
                        <a:rPr lang="de-DE" sz="1200" b="1" kern="1200" noProof="0" dirty="0">
                          <a:solidFill>
                            <a:srgbClr val="1F4484"/>
                          </a:solidFill>
                          <a:latin typeface="+mn-lt"/>
                          <a:ea typeface="+mn-ea"/>
                          <a:cs typeface="+mn-cs"/>
                        </a:rPr>
                        <a:t>Presentation, (Caspia)</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9"/>
                  </a:ext>
                </a:extLst>
              </a:tr>
              <a:tr h="196305">
                <a:tc>
                  <a:txBody>
                    <a:bodyPr/>
                    <a:lstStyle/>
                    <a:p>
                      <a:pPr marL="0" algn="l" defTabSz="914400" rtl="0" eaLnBrk="1" latinLnBrk="0" hangingPunct="1"/>
                      <a:r>
                        <a:rPr lang="en-GB" sz="1200" b="1" kern="1200" baseline="0" noProof="0" dirty="0">
                          <a:solidFill>
                            <a:srgbClr val="D9D9D9"/>
                          </a:solidFill>
                          <a:latin typeface="+mn-lt"/>
                          <a:ea typeface="+mn-ea"/>
                          <a:cs typeface="+mn-cs"/>
                        </a:rPr>
                        <a:t>Orange</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249</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80</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41</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1/32/94/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B429"/>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0"/>
                  </a:ext>
                </a:extLst>
              </a:tr>
              <a:tr h="196305">
                <a:tc>
                  <a:txBody>
                    <a:bodyPr/>
                    <a:lstStyle/>
                    <a:p>
                      <a:pPr marL="0" algn="l" defTabSz="914400" rtl="0" eaLnBrk="1" latinLnBrk="0" hangingPunct="1"/>
                      <a:r>
                        <a:rPr lang="de-DE" sz="1200" b="1" kern="1200" baseline="0" noProof="0" dirty="0">
                          <a:solidFill>
                            <a:srgbClr val="1F4484"/>
                          </a:solidFill>
                          <a:latin typeface="+mn-lt"/>
                          <a:ea typeface="+mn-ea"/>
                          <a:cs typeface="+mn-cs"/>
                        </a:rPr>
                        <a:t>Dark Yellow</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242</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202</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0</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6/18/100/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A00"/>
                    </a:solidFill>
                  </a:tcPr>
                </a:tc>
                <a:tc>
                  <a:txBody>
                    <a:bodyPr/>
                    <a:lstStyle/>
                    <a:p>
                      <a:r>
                        <a:rPr lang="de-DE" sz="1200" b="1" kern="1200" noProof="0" dirty="0">
                          <a:solidFill>
                            <a:srgbClr val="1F4484"/>
                          </a:solidFill>
                          <a:latin typeface="+mn-lt"/>
                          <a:ea typeface="+mn-ea"/>
                          <a:cs typeface="+mn-cs"/>
                        </a:rPr>
                        <a:t>Presentation, (Norway)</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1"/>
                  </a:ext>
                </a:extLst>
              </a:tr>
              <a:tr h="196305">
                <a:tc>
                  <a:txBody>
                    <a:bodyPr/>
                    <a:lstStyle/>
                    <a:p>
                      <a:pPr marL="0" algn="l" defTabSz="914400" rtl="0" eaLnBrk="1" latinLnBrk="0" hangingPunct="1"/>
                      <a:r>
                        <a:rPr lang="de-DE" sz="1200" b="1" kern="1200" baseline="0" noProof="0" dirty="0">
                          <a:solidFill>
                            <a:srgbClr val="D9D9D9"/>
                          </a:solidFill>
                          <a:latin typeface="+mn-lt"/>
                          <a:ea typeface="+mn-ea"/>
                          <a:cs typeface="+mn-cs"/>
                        </a:rPr>
                        <a:t>Yellow</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248</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234</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50</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5/1/90/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8EA32"/>
                    </a:solidFill>
                  </a:tcPr>
                </a:tc>
                <a:tc>
                  <a:txBody>
                    <a:bodyPr/>
                    <a:lstStyle/>
                    <a:p>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2"/>
                  </a:ext>
                </a:extLst>
              </a:tr>
              <a:tr h="196305">
                <a:tc>
                  <a:txBody>
                    <a:bodyPr/>
                    <a:lstStyle/>
                    <a:p>
                      <a:pPr marL="0" algn="l" defTabSz="914400" rtl="0" eaLnBrk="1" latinLnBrk="0" hangingPunct="1"/>
                      <a:r>
                        <a:rPr lang="en-GB" sz="1200" b="1" kern="1200" baseline="0" noProof="0" dirty="0">
                          <a:solidFill>
                            <a:srgbClr val="D9D9D9"/>
                          </a:solidFill>
                          <a:latin typeface="+mn-lt"/>
                          <a:ea typeface="+mn-ea"/>
                          <a:cs typeface="+mn-cs"/>
                        </a:rPr>
                        <a:t>Light Yellow</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251</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247</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94</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2/0/30/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BF7C2"/>
                    </a:solidFill>
                  </a:tcPr>
                </a:tc>
                <a:tc>
                  <a:txBody>
                    <a:bodyPr/>
                    <a:lstStyle/>
                    <a:p>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3"/>
                  </a:ext>
                </a:extLst>
              </a:tr>
            </a:tbl>
          </a:graphicData>
        </a:graphic>
      </p:graphicFrame>
    </p:spTree>
    <p:extLst>
      <p:ext uri="{BB962C8B-B14F-4D97-AF65-F5344CB8AC3E}">
        <p14:creationId xmlns:p14="http://schemas.microsoft.com/office/powerpoint/2010/main" val="23224825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a:pPr>
                <a:defRPr/>
              </a:pPr>
              <a:t>‹#›</a:t>
            </a:fld>
            <a:endParaRPr lang="en-GB" dirty="0"/>
          </a:p>
        </p:txBody>
      </p:sp>
      <p:sp>
        <p:nvSpPr>
          <p:cNvPr id="12" name="Titre 1"/>
          <p:cNvSpPr>
            <a:spLocks noGrp="1"/>
          </p:cNvSpPr>
          <p:nvPr>
            <p:ph type="title" hasCustomPrompt="1"/>
          </p:nvPr>
        </p:nvSpPr>
        <p:spPr>
          <a:xfrm>
            <a:off x="815413" y="612000"/>
            <a:ext cx="8976000"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Title</a:t>
            </a:r>
          </a:p>
        </p:txBody>
      </p:sp>
    </p:spTree>
    <p:extLst>
      <p:ext uri="{BB962C8B-B14F-4D97-AF65-F5344CB8AC3E}">
        <p14:creationId xmlns:p14="http://schemas.microsoft.com/office/powerpoint/2010/main" val="31425741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5" name="Grafik 4" descr="l_entsog_ppt4.jpg"/>
          <p:cNvPicPr>
            <a:picLocks noChangeAspect="1"/>
          </p:cNvPicPr>
          <p:nvPr userDrawn="1"/>
        </p:nvPicPr>
        <p:blipFill>
          <a:blip r:embed="rId2" cstate="print"/>
          <a:stretch>
            <a:fillRect/>
          </a:stretch>
        </p:blipFill>
        <p:spPr>
          <a:xfrm>
            <a:off x="0" y="1780032"/>
            <a:ext cx="10631424" cy="5077968"/>
          </a:xfrm>
          <a:prstGeom prst="rect">
            <a:avLst/>
          </a:prstGeom>
        </p:spPr>
      </p:pic>
      <p:sp>
        <p:nvSpPr>
          <p:cNvPr id="4" name="Rechteck 3"/>
          <p:cNvSpPr/>
          <p:nvPr userDrawn="1"/>
        </p:nvSpPr>
        <p:spPr>
          <a:xfrm>
            <a:off x="2592000" y="2564904"/>
            <a:ext cx="9600000" cy="2591928"/>
          </a:xfrm>
          <a:prstGeom prst="rect">
            <a:avLst/>
          </a:prstGeom>
          <a:solidFill>
            <a:schemeClr val="accent3">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9" name="Espace réservé du numéro de diapositive 5"/>
          <p:cNvSpPr>
            <a:spLocks noGrp="1"/>
          </p:cNvSpPr>
          <p:nvPr>
            <p:ph type="sldNum" sz="quarter" idx="12"/>
          </p:nvPr>
        </p:nvSpPr>
        <p:spPr>
          <a:xfrm>
            <a:off x="11088000" y="6336000"/>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a:pPr>
                <a:defRPr/>
              </a:pPr>
              <a:t>‹#›</a:t>
            </a:fld>
            <a:endParaRPr lang="en-GB" dirty="0"/>
          </a:p>
        </p:txBody>
      </p:sp>
      <p:sp>
        <p:nvSpPr>
          <p:cNvPr id="7" name="Titre 1"/>
          <p:cNvSpPr>
            <a:spLocks noGrp="1"/>
          </p:cNvSpPr>
          <p:nvPr>
            <p:ph type="title" hasCustomPrompt="1"/>
          </p:nvPr>
        </p:nvSpPr>
        <p:spPr>
          <a:xfrm>
            <a:off x="2832864" y="3501008"/>
            <a:ext cx="9359136"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Chapter</a:t>
            </a:r>
          </a:p>
        </p:txBody>
      </p:sp>
    </p:spTree>
    <p:extLst>
      <p:ext uri="{BB962C8B-B14F-4D97-AF65-F5344CB8AC3E}">
        <p14:creationId xmlns:p14="http://schemas.microsoft.com/office/powerpoint/2010/main" val="28475495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Shift+Alt+right Arrow">
    <p:spTree>
      <p:nvGrpSpPr>
        <p:cNvPr id="1" name=""/>
        <p:cNvGrpSpPr/>
        <p:nvPr/>
      </p:nvGrpSpPr>
      <p:grpSpPr>
        <a:xfrm>
          <a:off x="0" y="0"/>
          <a:ext cx="0" cy="0"/>
          <a:chOff x="0" y="0"/>
          <a:chExt cx="0" cy="0"/>
        </a:xfrm>
      </p:grpSpPr>
      <p:sp>
        <p:nvSpPr>
          <p:cNvPr id="8"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a:pPr>
                <a:defRPr/>
              </a:pPr>
              <a:t>‹#›</a:t>
            </a:fld>
            <a:endParaRPr lang="en-GB" dirty="0"/>
          </a:p>
        </p:txBody>
      </p:sp>
      <p:sp>
        <p:nvSpPr>
          <p:cNvPr id="7" name="Text Placeholder 7"/>
          <p:cNvSpPr>
            <a:spLocks noGrp="1"/>
          </p:cNvSpPr>
          <p:nvPr>
            <p:ph type="body" sz="quarter" idx="16" hasCustomPrompt="1"/>
          </p:nvPr>
        </p:nvSpPr>
        <p:spPr>
          <a:xfrm>
            <a:off x="813923" y="1244705"/>
            <a:ext cx="11041227" cy="4330005"/>
          </a:xfrm>
          <a:prstGeom prst="rect">
            <a:avLst/>
          </a:prstGeom>
        </p:spPr>
        <p:txBody>
          <a:bodyPr/>
          <a:lstStyle>
            <a:lvl1pPr marL="0" marR="0" indent="0" algn="l" defTabSz="914400" rtl="0" eaLnBrk="0" fontAlgn="base" latinLnBrk="0" hangingPunct="0">
              <a:lnSpc>
                <a:spcPct val="100000"/>
              </a:lnSpc>
              <a:spcBef>
                <a:spcPts val="0"/>
              </a:spcBef>
              <a:spcAft>
                <a:spcPct val="0"/>
              </a:spcAft>
              <a:buClr>
                <a:schemeClr val="accent3"/>
              </a:buClr>
              <a:buSzTx/>
              <a:buFontTx/>
              <a:buNone/>
              <a:tabLst/>
              <a:defRPr lang="en-GB" sz="2200" b="1" i="1" kern="100" noProof="0" smtClean="0">
                <a:solidFill>
                  <a:srgbClr val="000000"/>
                </a:solidFill>
                <a:latin typeface="+mn-lt"/>
                <a:sym typeface="Wingdings" pitchFamily="2" charset="2"/>
              </a:defRPr>
            </a:lvl1pPr>
            <a:lvl2pPr marL="171450" indent="-171450">
              <a:spcBef>
                <a:spcPts val="600"/>
              </a:spcBef>
              <a:buClr>
                <a:schemeClr val="accent3"/>
              </a:buClr>
              <a:buFont typeface="Calibri" pitchFamily="34" charset="0"/>
              <a:buChar char="&gt;"/>
              <a:defRPr sz="1800" baseline="0">
                <a:solidFill>
                  <a:srgbClr val="000000"/>
                </a:solidFill>
              </a:defRPr>
            </a:lvl2pPr>
            <a:lvl3pPr marL="400050" indent="-171450">
              <a:spcBef>
                <a:spcPts val="300"/>
              </a:spcBef>
              <a:buClr>
                <a:schemeClr val="accent3"/>
              </a:buClr>
              <a:buFont typeface="Wingdings" pitchFamily="2" charset="2"/>
              <a:buChar char="§"/>
              <a:defRPr sz="1800" baseline="0">
                <a:solidFill>
                  <a:srgbClr val="000000"/>
                </a:solidFill>
              </a:defRPr>
            </a:lvl3pPr>
            <a:lvl4pPr marL="628650" indent="-171450">
              <a:spcBef>
                <a:spcPts val="300"/>
              </a:spcBef>
              <a:buClr>
                <a:schemeClr val="accent3"/>
              </a:buClr>
              <a:buFont typeface="Courier New" pitchFamily="49" charset="0"/>
              <a:buChar char="o"/>
              <a:defRPr sz="1600">
                <a:solidFill>
                  <a:srgbClr val="000000"/>
                </a:solidFill>
              </a:defRPr>
            </a:lvl4pPr>
            <a:lvl5pPr marL="857250" indent="-171450">
              <a:spcBef>
                <a:spcPts val="300"/>
              </a:spcBef>
              <a:buClr>
                <a:schemeClr val="accent3"/>
              </a:buClr>
              <a:buFont typeface="Arial" pitchFamily="34" charset="0"/>
              <a:buChar char="-"/>
              <a:defRPr sz="1600">
                <a:solidFill>
                  <a:srgbClr val="000000"/>
                </a:solidFill>
              </a:defRPr>
            </a:lvl5pPr>
          </a:lstStyle>
          <a:p>
            <a:pPr marL="0" marR="0" lvl="0" indent="0" algn="l" defTabSz="914400" rtl="0" eaLnBrk="0" fontAlgn="base" latinLnBrk="0" hangingPunct="0">
              <a:lnSpc>
                <a:spcPct val="100000"/>
              </a:lnSpc>
              <a:spcBef>
                <a:spcPts val="0"/>
              </a:spcBef>
              <a:spcAft>
                <a:spcPct val="0"/>
              </a:spcAft>
              <a:buClr>
                <a:schemeClr val="accent3"/>
              </a:buClr>
              <a:buSzTx/>
              <a:buFontTx/>
              <a:buNone/>
              <a:tabLst/>
              <a:defRPr/>
            </a:pPr>
            <a:r>
              <a:rPr lang="en-GB" b="1" i="1" kern="100" noProof="0" dirty="0">
                <a:solidFill>
                  <a:srgbClr val="000000"/>
                </a:solidFill>
                <a:latin typeface="+mj-lt"/>
              </a:rPr>
              <a:t>Diff. bullet levels with: Shift + Alt + </a:t>
            </a:r>
            <a:r>
              <a:rPr lang="en-GB" b="1" i="1" kern="100" noProof="0" dirty="0" err="1">
                <a:solidFill>
                  <a:srgbClr val="000000"/>
                </a:solidFill>
                <a:latin typeface="+mj-lt"/>
              </a:rPr>
              <a:t>rightArrow</a:t>
            </a:r>
            <a:endParaRPr lang="en-GB" noProof="0" dirty="0"/>
          </a:p>
          <a:p>
            <a:pPr lvl="1"/>
            <a:r>
              <a:rPr lang="de-DE" noProof="0" dirty="0"/>
              <a:t>Second level (Calibri, 18, black)</a:t>
            </a:r>
            <a:endParaRPr lang="en-GB" noProof="0" dirty="0"/>
          </a:p>
          <a:p>
            <a:pPr lvl="2"/>
            <a:r>
              <a:rPr lang="en-GB" noProof="0" dirty="0"/>
              <a:t>Third level (Calibri, 18, black)</a:t>
            </a:r>
          </a:p>
          <a:p>
            <a:pPr lvl="3"/>
            <a:r>
              <a:rPr lang="en-GB" noProof="0" dirty="0"/>
              <a:t>Fourth level (Calibri, 16, black)</a:t>
            </a:r>
          </a:p>
          <a:p>
            <a:pPr lvl="4"/>
            <a:r>
              <a:rPr lang="en-GB" noProof="0" dirty="0"/>
              <a:t>Fifth level</a:t>
            </a:r>
          </a:p>
          <a:p>
            <a:pPr lvl="0"/>
            <a:endParaRPr lang="en-GB" noProof="0" dirty="0"/>
          </a:p>
        </p:txBody>
      </p:sp>
      <p:sp>
        <p:nvSpPr>
          <p:cNvPr id="10" name="Titre 1"/>
          <p:cNvSpPr>
            <a:spLocks noGrp="1"/>
          </p:cNvSpPr>
          <p:nvPr>
            <p:ph type="title" hasCustomPrompt="1"/>
          </p:nvPr>
        </p:nvSpPr>
        <p:spPr>
          <a:xfrm>
            <a:off x="816640" y="604709"/>
            <a:ext cx="8927765"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Title</a:t>
            </a:r>
          </a:p>
        </p:txBody>
      </p:sp>
      <p:sp>
        <p:nvSpPr>
          <p:cNvPr id="12" name="Text Placeholder 17"/>
          <p:cNvSpPr>
            <a:spLocks noGrp="1"/>
          </p:cNvSpPr>
          <p:nvPr>
            <p:ph type="body" sz="quarter" idx="14" hasCustomPrompt="1"/>
          </p:nvPr>
        </p:nvSpPr>
        <p:spPr>
          <a:xfrm>
            <a:off x="881233" y="5718726"/>
            <a:ext cx="10890772" cy="374571"/>
          </a:xfrm>
          <a:prstGeom prst="roundRect">
            <a:avLst/>
          </a:prstGeom>
          <a:noFill/>
          <a:ln w="50800" cap="rnd" cmpd="sng">
            <a:solidFill>
              <a:srgbClr val="B1C7E1"/>
            </a:solidFill>
            <a:prstDash val="solid"/>
            <a:miter lim="800000"/>
            <a:headEnd/>
            <a:tailEnd/>
          </a:ln>
          <a:scene3d>
            <a:camera prst="orthographicFront"/>
            <a:lightRig rig="threePt" dir="t">
              <a:rot lat="0" lon="0" rev="6600000"/>
            </a:lightRig>
          </a:scene3d>
          <a:sp3d>
            <a:bevelT/>
          </a:sp3d>
        </p:spPr>
        <p:txBody>
          <a:bodyPr>
            <a:spAutoFit/>
          </a:bodyPr>
          <a:lstStyle>
            <a:lvl1pPr marL="0" indent="0" algn="ctr">
              <a:buFontTx/>
              <a:buNone/>
              <a:defRPr lang="en-GB" sz="1600" i="1" dirty="0">
                <a:solidFill>
                  <a:schemeClr val="tx1"/>
                </a:solidFill>
                <a:ea typeface="+mn-ea"/>
                <a:cs typeface="Arial" pitchFamily="34" charset="0"/>
              </a:defRPr>
            </a:lvl1pPr>
          </a:lstStyle>
          <a:p>
            <a:pPr lvl="0" algn="ctr">
              <a:spcBef>
                <a:spcPct val="0"/>
              </a:spcBef>
            </a:pPr>
            <a:r>
              <a:rPr lang="en-GB" sz="1600" i="1" dirty="0">
                <a:solidFill>
                  <a:srgbClr val="000000"/>
                </a:solidFill>
                <a:latin typeface="+mn-lt"/>
                <a:cs typeface="Arial" pitchFamily="34" charset="0"/>
              </a:rPr>
              <a:t>&lt;…&gt; (Calibri, Italic, 16, black, </a:t>
            </a:r>
            <a:r>
              <a:rPr lang="en-GB" sz="1600" i="1" dirty="0" err="1">
                <a:solidFill>
                  <a:srgbClr val="000000"/>
                </a:solidFill>
                <a:latin typeface="+mn-lt"/>
                <a:cs typeface="Arial" pitchFamily="34" charset="0"/>
              </a:rPr>
              <a:t>center</a:t>
            </a:r>
            <a:r>
              <a:rPr lang="en-GB" sz="1600" i="1" dirty="0">
                <a:solidFill>
                  <a:srgbClr val="000000"/>
                </a:solidFill>
                <a:latin typeface="+mn-lt"/>
                <a:cs typeface="Arial" pitchFamily="34" charset="0"/>
              </a:rPr>
              <a:t>)</a:t>
            </a:r>
          </a:p>
        </p:txBody>
      </p:sp>
    </p:spTree>
    <p:extLst>
      <p:ext uri="{BB962C8B-B14F-4D97-AF65-F5344CB8AC3E}">
        <p14:creationId xmlns:p14="http://schemas.microsoft.com/office/powerpoint/2010/main" val="922163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Tabulator">
    <p:spTree>
      <p:nvGrpSpPr>
        <p:cNvPr id="1" name=""/>
        <p:cNvGrpSpPr/>
        <p:nvPr/>
      </p:nvGrpSpPr>
      <p:grpSpPr>
        <a:xfrm>
          <a:off x="0" y="0"/>
          <a:ext cx="0" cy="0"/>
          <a:chOff x="0" y="0"/>
          <a:chExt cx="0" cy="0"/>
        </a:xfrm>
      </p:grpSpPr>
      <p:sp>
        <p:nvSpPr>
          <p:cNvPr id="10"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a:pPr>
                <a:defRPr/>
              </a:pPr>
              <a:t>‹#›</a:t>
            </a:fld>
            <a:endParaRPr lang="en-GB" dirty="0"/>
          </a:p>
        </p:txBody>
      </p:sp>
      <p:sp>
        <p:nvSpPr>
          <p:cNvPr id="9" name="Titre 1"/>
          <p:cNvSpPr>
            <a:spLocks noGrp="1"/>
          </p:cNvSpPr>
          <p:nvPr>
            <p:ph type="title" hasCustomPrompt="1"/>
          </p:nvPr>
        </p:nvSpPr>
        <p:spPr>
          <a:xfrm>
            <a:off x="813989" y="604709"/>
            <a:ext cx="8640000"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Title</a:t>
            </a:r>
          </a:p>
        </p:txBody>
      </p:sp>
      <p:sp>
        <p:nvSpPr>
          <p:cNvPr id="13" name="Text Placeholder 17"/>
          <p:cNvSpPr>
            <a:spLocks noGrp="1"/>
          </p:cNvSpPr>
          <p:nvPr>
            <p:ph type="body" sz="quarter" idx="14" hasCustomPrompt="1"/>
          </p:nvPr>
        </p:nvSpPr>
        <p:spPr>
          <a:xfrm>
            <a:off x="878582" y="5718726"/>
            <a:ext cx="10890772" cy="374571"/>
          </a:xfrm>
          <a:prstGeom prst="roundRect">
            <a:avLst/>
          </a:prstGeom>
          <a:noFill/>
          <a:ln w="50800" cmpd="sng">
            <a:solidFill>
              <a:srgbClr val="B1C7E1"/>
            </a:solidFill>
            <a:prstDash val="solid"/>
            <a:miter lim="800000"/>
            <a:headEnd/>
            <a:tailEnd/>
          </a:ln>
          <a:scene3d>
            <a:camera prst="orthographicFront"/>
            <a:lightRig rig="threePt" dir="t">
              <a:rot lat="0" lon="0" rev="6600000"/>
            </a:lightRig>
          </a:scene3d>
          <a:sp3d>
            <a:bevelT/>
          </a:sp3d>
        </p:spPr>
        <p:txBody>
          <a:bodyPr>
            <a:spAutoFit/>
          </a:bodyPr>
          <a:lstStyle>
            <a:lvl1pPr marL="0" indent="0" algn="ctr">
              <a:buFontTx/>
              <a:buNone/>
              <a:defRPr lang="en-GB" sz="1600" i="1" dirty="0">
                <a:solidFill>
                  <a:schemeClr val="tx1"/>
                </a:solidFill>
                <a:ea typeface="+mn-ea"/>
                <a:cs typeface="Arial" pitchFamily="34" charset="0"/>
              </a:defRPr>
            </a:lvl1pPr>
          </a:lstStyle>
          <a:p>
            <a:pPr lvl="0" algn="ctr">
              <a:spcBef>
                <a:spcPct val="0"/>
              </a:spcBef>
            </a:pPr>
            <a:r>
              <a:rPr lang="en-GB" sz="1600" i="1" dirty="0">
                <a:solidFill>
                  <a:srgbClr val="000000"/>
                </a:solidFill>
                <a:latin typeface="+mn-lt"/>
                <a:cs typeface="Arial" pitchFamily="34" charset="0"/>
              </a:rPr>
              <a:t>&lt;…&gt; (Calibri, Italic, 16, black, </a:t>
            </a:r>
            <a:r>
              <a:rPr lang="en-GB" sz="1600" i="1" dirty="0" err="1">
                <a:solidFill>
                  <a:srgbClr val="000000"/>
                </a:solidFill>
                <a:latin typeface="+mn-lt"/>
                <a:cs typeface="Arial" pitchFamily="34" charset="0"/>
              </a:rPr>
              <a:t>center</a:t>
            </a:r>
            <a:r>
              <a:rPr lang="en-GB" sz="1600" i="1" dirty="0">
                <a:solidFill>
                  <a:srgbClr val="000000"/>
                </a:solidFill>
                <a:latin typeface="+mn-lt"/>
                <a:cs typeface="Arial" pitchFamily="34" charset="0"/>
              </a:rPr>
              <a:t>)</a:t>
            </a:r>
          </a:p>
        </p:txBody>
      </p:sp>
      <p:sp>
        <p:nvSpPr>
          <p:cNvPr id="14" name="Text Placeholder 7"/>
          <p:cNvSpPr>
            <a:spLocks noGrp="1"/>
          </p:cNvSpPr>
          <p:nvPr>
            <p:ph type="body" sz="quarter" idx="16" hasCustomPrompt="1"/>
          </p:nvPr>
        </p:nvSpPr>
        <p:spPr>
          <a:xfrm>
            <a:off x="811272" y="1758285"/>
            <a:ext cx="11041227" cy="3816424"/>
          </a:xfrm>
          <a:prstGeom prst="rect">
            <a:avLst/>
          </a:prstGeom>
        </p:spPr>
        <p:txBody>
          <a:bodyPr/>
          <a:lstStyle>
            <a:lvl1pPr marL="171450" indent="-171450">
              <a:spcBef>
                <a:spcPts val="600"/>
              </a:spcBef>
              <a:buClr>
                <a:schemeClr val="accent3"/>
              </a:buClr>
              <a:buFont typeface="Calibri" pitchFamily="34" charset="0"/>
              <a:buChar char="&gt;"/>
              <a:defRPr sz="1800" baseline="0">
                <a:solidFill>
                  <a:srgbClr val="000000"/>
                </a:solidFill>
                <a:sym typeface="Wingdings" pitchFamily="2" charset="2"/>
              </a:defRPr>
            </a:lvl1pPr>
            <a:lvl2pPr marL="400050" indent="-171450">
              <a:spcBef>
                <a:spcPts val="300"/>
              </a:spcBef>
              <a:buClr>
                <a:schemeClr val="accent3"/>
              </a:buClr>
              <a:buFont typeface="Wingdings" pitchFamily="2" charset="2"/>
              <a:buChar char="§"/>
              <a:defRPr sz="1800" baseline="0">
                <a:solidFill>
                  <a:srgbClr val="000000"/>
                </a:solidFill>
              </a:defRPr>
            </a:lvl2pPr>
            <a:lvl3pPr marL="628650" indent="-171450">
              <a:spcBef>
                <a:spcPts val="300"/>
              </a:spcBef>
              <a:buClr>
                <a:schemeClr val="accent3"/>
              </a:buClr>
              <a:buFont typeface="Courier New" pitchFamily="49" charset="0"/>
              <a:buChar char="o"/>
              <a:defRPr sz="1600" baseline="0">
                <a:solidFill>
                  <a:srgbClr val="000000"/>
                </a:solidFill>
              </a:defRPr>
            </a:lvl3pPr>
            <a:lvl4pPr marL="857250" indent="-171450">
              <a:spcBef>
                <a:spcPts val="300"/>
              </a:spcBef>
              <a:buClr>
                <a:schemeClr val="accent3"/>
              </a:buClr>
              <a:defRPr sz="1600">
                <a:solidFill>
                  <a:srgbClr val="000000"/>
                </a:solidFill>
              </a:defRPr>
            </a:lvl4pPr>
            <a:lvl5pPr>
              <a:defRPr>
                <a:solidFill>
                  <a:srgbClr val="000000"/>
                </a:solidFill>
              </a:defRPr>
            </a:lvl5pPr>
          </a:lstStyle>
          <a:p>
            <a:pPr lvl="0"/>
            <a:r>
              <a:rPr lang="en-GB" noProof="0" dirty="0"/>
              <a:t>Diff. bullet levels with “tabulator”</a:t>
            </a:r>
          </a:p>
          <a:p>
            <a:pPr lvl="1"/>
            <a:r>
              <a:rPr lang="en-GB" noProof="0" dirty="0"/>
              <a:t>Third level (Calibri, 18, black)</a:t>
            </a:r>
          </a:p>
          <a:p>
            <a:pPr lvl="2"/>
            <a:r>
              <a:rPr lang="en-GB" noProof="0" dirty="0"/>
              <a:t>Fourth level (Calibri, 16, black)</a:t>
            </a:r>
          </a:p>
          <a:p>
            <a:pPr lvl="3"/>
            <a:r>
              <a:rPr lang="en-GB" noProof="0" dirty="0"/>
              <a:t>Fifth level</a:t>
            </a:r>
          </a:p>
        </p:txBody>
      </p:sp>
      <p:sp>
        <p:nvSpPr>
          <p:cNvPr id="15" name="Text Placeholder 17"/>
          <p:cNvSpPr>
            <a:spLocks noGrp="1"/>
          </p:cNvSpPr>
          <p:nvPr>
            <p:ph type="body" sz="quarter" idx="13" hasCustomPrompt="1"/>
          </p:nvPr>
        </p:nvSpPr>
        <p:spPr>
          <a:xfrm>
            <a:off x="815082" y="1245583"/>
            <a:ext cx="11041559" cy="440695"/>
          </a:xfrm>
          <a:prstGeom prst="rect">
            <a:avLst/>
          </a:prstGeom>
        </p:spPr>
        <p:txBody>
          <a:bodyPr/>
          <a:lstStyle>
            <a:lvl1pPr marL="0" indent="0" algn="l">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First Level (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Tree>
    <p:extLst>
      <p:ext uri="{BB962C8B-B14F-4D97-AF65-F5344CB8AC3E}">
        <p14:creationId xmlns:p14="http://schemas.microsoft.com/office/powerpoint/2010/main" val="12093481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Chart: Tabulator">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18131" y="590665"/>
            <a:ext cx="8640000"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Title</a:t>
            </a:r>
          </a:p>
        </p:txBody>
      </p:sp>
      <p:sp>
        <p:nvSpPr>
          <p:cNvPr id="11"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a:pPr>
                <a:defRPr/>
              </a:pPr>
              <a:t>‹#›</a:t>
            </a:fld>
            <a:endParaRPr lang="en-GB" dirty="0"/>
          </a:p>
        </p:txBody>
      </p:sp>
      <p:sp>
        <p:nvSpPr>
          <p:cNvPr id="4" name="Chart Placeholder 3"/>
          <p:cNvSpPr>
            <a:spLocks noGrp="1"/>
          </p:cNvSpPr>
          <p:nvPr>
            <p:ph type="chart" sz="quarter" idx="13"/>
          </p:nvPr>
        </p:nvSpPr>
        <p:spPr>
          <a:xfrm>
            <a:off x="6784584" y="2032274"/>
            <a:ext cx="5088565" cy="4205039"/>
          </a:xfrm>
          <a:prstGeom prst="rect">
            <a:avLst/>
          </a:prstGeom>
        </p:spPr>
        <p:txBody>
          <a:bodyPr/>
          <a:lstStyle>
            <a:lvl1pPr marL="0" marR="0" indent="0" algn="ctr" defTabSz="914400" rtl="0" eaLnBrk="0" fontAlgn="base" latinLnBrk="0" hangingPunct="0">
              <a:lnSpc>
                <a:spcPct val="100000"/>
              </a:lnSpc>
              <a:spcBef>
                <a:spcPct val="20000"/>
              </a:spcBef>
              <a:spcAft>
                <a:spcPct val="0"/>
              </a:spcAft>
              <a:buClrTx/>
              <a:buSzTx/>
              <a:buFont typeface="Arial" pitchFamily="34" charset="0"/>
              <a:buNone/>
              <a:tabLst/>
              <a:defRPr lang="en-GB" sz="2200" b="1" i="1" u="none" strike="noStrike" kern="1200" baseline="0" noProof="0">
                <a:solidFill>
                  <a:prstClr val="black"/>
                </a:solidFill>
                <a:effectLst/>
                <a:latin typeface="+mj-lt"/>
                <a:ea typeface="+mn-ea"/>
                <a:cs typeface="+mn-cs"/>
              </a:defRPr>
            </a:lvl1pPr>
          </a:lstStyle>
          <a:p>
            <a:r>
              <a:rPr lang="en-US"/>
              <a:t>Click icon to add chart</a:t>
            </a:r>
            <a:endParaRPr lang="en-GB" dirty="0"/>
          </a:p>
        </p:txBody>
      </p:sp>
      <p:sp>
        <p:nvSpPr>
          <p:cNvPr id="10" name="Text Placeholder 7"/>
          <p:cNvSpPr>
            <a:spLocks noGrp="1"/>
          </p:cNvSpPr>
          <p:nvPr>
            <p:ph type="body" sz="quarter" idx="16" hasCustomPrompt="1"/>
          </p:nvPr>
        </p:nvSpPr>
        <p:spPr>
          <a:xfrm>
            <a:off x="815413" y="2032273"/>
            <a:ext cx="5890349" cy="4205039"/>
          </a:xfrm>
          <a:prstGeom prst="rect">
            <a:avLst/>
          </a:prstGeom>
        </p:spPr>
        <p:txBody>
          <a:bodyPr/>
          <a:lstStyle>
            <a:lvl1pPr marL="171450" indent="-171450">
              <a:spcBef>
                <a:spcPts val="600"/>
              </a:spcBef>
              <a:buClr>
                <a:schemeClr val="accent3"/>
              </a:buClr>
              <a:buFont typeface="Calibri" pitchFamily="34" charset="0"/>
              <a:buChar char="&gt;"/>
              <a:defRPr sz="1800" baseline="0">
                <a:solidFill>
                  <a:srgbClr val="000000"/>
                </a:solidFill>
              </a:defRPr>
            </a:lvl1pPr>
            <a:lvl2pPr marL="400050" indent="-171450">
              <a:spcBef>
                <a:spcPts val="300"/>
              </a:spcBef>
              <a:buClr>
                <a:schemeClr val="accent3"/>
              </a:buClr>
              <a:buFont typeface="Wingdings" pitchFamily="2" charset="2"/>
              <a:buChar char="§"/>
              <a:defRPr lang="en-US" sz="1800" kern="1200" baseline="0" dirty="0" smtClean="0">
                <a:solidFill>
                  <a:srgbClr val="000000"/>
                </a:solidFill>
                <a:latin typeface="+mn-lt"/>
                <a:ea typeface="ＭＳ Ｐゴシック" pitchFamily="-111" charset="-128"/>
                <a:cs typeface="ＭＳ Ｐゴシック"/>
              </a:defRPr>
            </a:lvl2pPr>
            <a:lvl3pPr marL="628650" indent="-171450">
              <a:spcBef>
                <a:spcPts val="300"/>
              </a:spcBef>
              <a:buClr>
                <a:schemeClr val="accent3"/>
              </a:buClr>
              <a:buFont typeface="Courier New" pitchFamily="49" charset="0"/>
              <a:buChar char="o"/>
              <a:defRPr sz="1600" baseline="0">
                <a:solidFill>
                  <a:srgbClr val="000000"/>
                </a:solidFill>
              </a:defRPr>
            </a:lvl3pPr>
            <a:lvl4pPr marL="857250" indent="-171450">
              <a:spcBef>
                <a:spcPts val="300"/>
              </a:spcBef>
              <a:buClr>
                <a:schemeClr val="accent3"/>
              </a:buClr>
              <a:defRPr sz="1600">
                <a:solidFill>
                  <a:srgbClr val="000000"/>
                </a:solidFill>
              </a:defRPr>
            </a:lvl4pPr>
            <a:lvl5pPr>
              <a:defRPr>
                <a:solidFill>
                  <a:srgbClr val="000000"/>
                </a:solidFill>
              </a:defRPr>
            </a:lvl5pPr>
          </a:lstStyle>
          <a:p>
            <a:pPr lvl="0"/>
            <a:r>
              <a:rPr lang="en-US" dirty="0"/>
              <a:t>Diff. bullet levels with “tabulator”</a:t>
            </a:r>
          </a:p>
          <a:p>
            <a:pPr lvl="1"/>
            <a:r>
              <a:rPr lang="en-US" dirty="0"/>
              <a:t>Third level (Calibri, 18, black)</a:t>
            </a:r>
          </a:p>
          <a:p>
            <a:pPr lvl="2"/>
            <a:r>
              <a:rPr lang="en-US" dirty="0"/>
              <a:t>Fourth level (Calibri, 16, black)</a:t>
            </a:r>
          </a:p>
          <a:p>
            <a:pPr lvl="3"/>
            <a:r>
              <a:rPr lang="en-US" dirty="0"/>
              <a:t>Fifth level</a:t>
            </a:r>
          </a:p>
        </p:txBody>
      </p:sp>
      <p:sp>
        <p:nvSpPr>
          <p:cNvPr id="12" name="Text Placeholder 17"/>
          <p:cNvSpPr>
            <a:spLocks noGrp="1"/>
          </p:cNvSpPr>
          <p:nvPr>
            <p:ph type="body" sz="quarter" idx="17" hasCustomPrompt="1"/>
          </p:nvPr>
        </p:nvSpPr>
        <p:spPr>
          <a:xfrm>
            <a:off x="819223" y="1231539"/>
            <a:ext cx="5890527" cy="728727"/>
          </a:xfrm>
          <a:prstGeom prst="rect">
            <a:avLst/>
          </a:prstGeom>
        </p:spPr>
        <p:txBody>
          <a:bodyPr/>
          <a:lstStyle>
            <a:lvl1pPr marL="0" indent="0" algn="l">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First Level (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
        <p:nvSpPr>
          <p:cNvPr id="14" name="Text Placeholder 17"/>
          <p:cNvSpPr>
            <a:spLocks noGrp="1"/>
          </p:cNvSpPr>
          <p:nvPr>
            <p:ph type="body" sz="quarter" idx="18" hasCustomPrompt="1"/>
          </p:nvPr>
        </p:nvSpPr>
        <p:spPr>
          <a:xfrm>
            <a:off x="6784586" y="1221136"/>
            <a:ext cx="5088565" cy="728727"/>
          </a:xfrm>
          <a:prstGeom prst="rect">
            <a:avLst/>
          </a:prstGeom>
        </p:spPr>
        <p:txBody>
          <a:bodyPr/>
          <a:lstStyle>
            <a:lvl1pPr marL="0" indent="0" algn="ctr">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Chart Title </a:t>
            </a:r>
            <a:br>
              <a:rPr lang="en-GB" b="1" i="1" kern="100" dirty="0">
                <a:solidFill>
                  <a:srgbClr val="000000"/>
                </a:solidFill>
                <a:latin typeface="+mj-lt"/>
              </a:rPr>
            </a:br>
            <a:r>
              <a:rPr lang="en-GB" b="1" i="1" kern="100" dirty="0">
                <a:solidFill>
                  <a:srgbClr val="000000"/>
                </a:solidFill>
                <a:latin typeface="+mj-lt"/>
              </a:rPr>
              <a:t>(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Tree>
    <p:extLst>
      <p:ext uri="{BB962C8B-B14F-4D97-AF65-F5344CB8AC3E}">
        <p14:creationId xmlns:p14="http://schemas.microsoft.com/office/powerpoint/2010/main" val="28924161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0" name="Titre 1"/>
          <p:cNvSpPr>
            <a:spLocks noGrp="1"/>
          </p:cNvSpPr>
          <p:nvPr>
            <p:ph type="title" hasCustomPrompt="1"/>
          </p:nvPr>
        </p:nvSpPr>
        <p:spPr>
          <a:xfrm>
            <a:off x="814320" y="590665"/>
            <a:ext cx="8640000"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Title</a:t>
            </a:r>
          </a:p>
        </p:txBody>
      </p:sp>
      <p:sp>
        <p:nvSpPr>
          <p:cNvPr id="9"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a:pPr>
                <a:defRPr/>
              </a:pPr>
              <a:t>‹#›</a:t>
            </a:fld>
            <a:endParaRPr lang="en-GB" dirty="0"/>
          </a:p>
        </p:txBody>
      </p:sp>
      <p:sp>
        <p:nvSpPr>
          <p:cNvPr id="15" name="Chart Placeholder 3"/>
          <p:cNvSpPr>
            <a:spLocks noGrp="1"/>
          </p:cNvSpPr>
          <p:nvPr>
            <p:ph type="chart" sz="quarter" idx="13"/>
          </p:nvPr>
        </p:nvSpPr>
        <p:spPr>
          <a:xfrm>
            <a:off x="815412" y="2032274"/>
            <a:ext cx="11041227" cy="4205039"/>
          </a:xfrm>
          <a:prstGeom prst="rect">
            <a:avLst/>
          </a:prstGeom>
        </p:spPr>
        <p:txBody>
          <a:bodyPr/>
          <a:lstStyle>
            <a:lvl1pPr marL="0" marR="0" indent="0" algn="ctr" defTabSz="914400" rtl="0" eaLnBrk="0" fontAlgn="base" latinLnBrk="0" hangingPunct="0">
              <a:lnSpc>
                <a:spcPct val="100000"/>
              </a:lnSpc>
              <a:spcBef>
                <a:spcPct val="20000"/>
              </a:spcBef>
              <a:spcAft>
                <a:spcPct val="0"/>
              </a:spcAft>
              <a:buClrTx/>
              <a:buSzTx/>
              <a:buFont typeface="Arial" pitchFamily="34" charset="0"/>
              <a:buNone/>
              <a:tabLst/>
              <a:defRPr lang="en-GB" sz="2200" b="1" i="1" u="none" strike="noStrike" kern="1200" baseline="0" noProof="0">
                <a:solidFill>
                  <a:prstClr val="black"/>
                </a:solidFill>
                <a:effectLst/>
                <a:latin typeface="+mj-lt"/>
                <a:ea typeface="+mn-ea"/>
                <a:cs typeface="+mn-cs"/>
              </a:defRPr>
            </a:lvl1pPr>
          </a:lstStyle>
          <a:p>
            <a:r>
              <a:rPr lang="en-US"/>
              <a:t>Click icon to add chart</a:t>
            </a:r>
            <a:endParaRPr lang="en-GB" dirty="0"/>
          </a:p>
        </p:txBody>
      </p:sp>
      <p:sp>
        <p:nvSpPr>
          <p:cNvPr id="16" name="Text Placeholder 17"/>
          <p:cNvSpPr>
            <a:spLocks noGrp="1"/>
          </p:cNvSpPr>
          <p:nvPr>
            <p:ph type="body" sz="quarter" idx="18" hasCustomPrompt="1"/>
          </p:nvPr>
        </p:nvSpPr>
        <p:spPr>
          <a:xfrm>
            <a:off x="815413" y="1221136"/>
            <a:ext cx="11041227" cy="728727"/>
          </a:xfrm>
          <a:prstGeom prst="rect">
            <a:avLst/>
          </a:prstGeom>
        </p:spPr>
        <p:txBody>
          <a:bodyPr/>
          <a:lstStyle>
            <a:lvl1pPr marL="0" indent="0" algn="ctr">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Chart Title (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Tree>
    <p:extLst>
      <p:ext uri="{BB962C8B-B14F-4D97-AF65-F5344CB8AC3E}">
        <p14:creationId xmlns:p14="http://schemas.microsoft.com/office/powerpoint/2010/main" val="30403341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4" name="Titre 1"/>
          <p:cNvSpPr>
            <a:spLocks noGrp="1"/>
          </p:cNvSpPr>
          <p:nvPr>
            <p:ph type="title" hasCustomPrompt="1"/>
          </p:nvPr>
        </p:nvSpPr>
        <p:spPr>
          <a:xfrm>
            <a:off x="801621" y="595424"/>
            <a:ext cx="8640000"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Title</a:t>
            </a:r>
          </a:p>
        </p:txBody>
      </p:sp>
      <p:sp>
        <p:nvSpPr>
          <p:cNvPr id="15" name="Espace réservé du numéro de diapositive 5"/>
          <p:cNvSpPr>
            <a:spLocks noGrp="1"/>
          </p:cNvSpPr>
          <p:nvPr>
            <p:ph type="sldNum" sz="quarter" idx="13"/>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a:pPr>
                <a:defRPr/>
              </a:pPr>
              <a:t>‹#›</a:t>
            </a:fld>
            <a:endParaRPr lang="en-GB" dirty="0"/>
          </a:p>
        </p:txBody>
      </p:sp>
      <p:sp>
        <p:nvSpPr>
          <p:cNvPr id="3" name="Table Placeholder 2"/>
          <p:cNvSpPr>
            <a:spLocks noGrp="1"/>
          </p:cNvSpPr>
          <p:nvPr>
            <p:ph type="tbl" sz="quarter" idx="14"/>
          </p:nvPr>
        </p:nvSpPr>
        <p:spPr>
          <a:xfrm>
            <a:off x="815413" y="1316952"/>
            <a:ext cx="11041227" cy="5064376"/>
          </a:xfrm>
          <a:prstGeom prst="rect">
            <a:avLst/>
          </a:prstGeom>
        </p:spPr>
        <p:txBody>
          <a:bodyPr/>
          <a:lstStyle>
            <a:lvl1pPr marL="0" indent="0" algn="ctr">
              <a:buNone/>
              <a:defRPr sz="1800"/>
            </a:lvl1pPr>
          </a:lstStyle>
          <a:p>
            <a:r>
              <a:rPr lang="en-US"/>
              <a:t>Click icon to add table</a:t>
            </a:r>
            <a:endParaRPr lang="en-GB" dirty="0"/>
          </a:p>
        </p:txBody>
      </p:sp>
    </p:spTree>
    <p:extLst>
      <p:ext uri="{BB962C8B-B14F-4D97-AF65-F5344CB8AC3E}">
        <p14:creationId xmlns:p14="http://schemas.microsoft.com/office/powerpoint/2010/main" val="24436137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Front slide GSE">
    <p:spTree>
      <p:nvGrpSpPr>
        <p:cNvPr id="1" name=""/>
        <p:cNvGrpSpPr/>
        <p:nvPr/>
      </p:nvGrpSpPr>
      <p:grpSpPr>
        <a:xfrm>
          <a:off x="0" y="0"/>
          <a:ext cx="0" cy="0"/>
          <a:chOff x="0" y="0"/>
          <a:chExt cx="0" cy="0"/>
        </a:xfrm>
      </p:grpSpPr>
      <p:pic>
        <p:nvPicPr>
          <p:cNvPr id="7" name="Picture 6" descr="A close up of a mountain&#10;&#10;Description generated with high confidence">
            <a:extLst>
              <a:ext uri="{FF2B5EF4-FFF2-40B4-BE49-F238E27FC236}">
                <a16:creationId xmlns:a16="http://schemas.microsoft.com/office/drawing/2014/main" id="{B999DAD1-D973-402C-B598-7453236E0039}"/>
              </a:ext>
            </a:extLst>
          </p:cNvPr>
          <p:cNvPicPr>
            <a:picLocks noChangeAspect="1"/>
          </p:cNvPicPr>
          <p:nvPr userDrawn="1"/>
        </p:nvPicPr>
        <p:blipFill>
          <a:blip r:embed="rId2"/>
          <a:stretch>
            <a:fillRect/>
          </a:stretch>
        </p:blipFill>
        <p:spPr>
          <a:xfrm>
            <a:off x="-624747" y="0"/>
            <a:ext cx="13008768" cy="6858000"/>
          </a:xfrm>
          <a:prstGeom prst="rect">
            <a:avLst/>
          </a:prstGeom>
        </p:spPr>
      </p:pic>
      <p:pic>
        <p:nvPicPr>
          <p:cNvPr id="5" name="Picture 4">
            <a:extLst>
              <a:ext uri="{FF2B5EF4-FFF2-40B4-BE49-F238E27FC236}">
                <a16:creationId xmlns:a16="http://schemas.microsoft.com/office/drawing/2014/main" id="{219E777C-8434-41C4-914C-50A1CCC9944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41077" y="949865"/>
            <a:ext cx="5685692" cy="2861925"/>
          </a:xfrm>
          <a:prstGeom prst="rect">
            <a:avLst/>
          </a:prstGeom>
        </p:spPr>
      </p:pic>
    </p:spTree>
    <p:extLst>
      <p:ext uri="{BB962C8B-B14F-4D97-AF65-F5344CB8AC3E}">
        <p14:creationId xmlns:p14="http://schemas.microsoft.com/office/powerpoint/2010/main" val="3792699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d of presentation">
    <p:spTree>
      <p:nvGrpSpPr>
        <p:cNvPr id="1" name=""/>
        <p:cNvGrpSpPr/>
        <p:nvPr/>
      </p:nvGrpSpPr>
      <p:grpSpPr>
        <a:xfrm>
          <a:off x="0" y="0"/>
          <a:ext cx="0" cy="0"/>
          <a:chOff x="0" y="0"/>
          <a:chExt cx="0" cy="0"/>
        </a:xfrm>
      </p:grpSpPr>
      <p:sp>
        <p:nvSpPr>
          <p:cNvPr id="3" name="Titre 1"/>
          <p:cNvSpPr>
            <a:spLocks noGrp="1"/>
          </p:cNvSpPr>
          <p:nvPr>
            <p:ph type="title" hasCustomPrompt="1"/>
          </p:nvPr>
        </p:nvSpPr>
        <p:spPr>
          <a:xfrm>
            <a:off x="3023659" y="4149080"/>
            <a:ext cx="6240693" cy="432049"/>
          </a:xfrm>
          <a:prstGeom prst="rect">
            <a:avLst/>
          </a:prstGeom>
        </p:spPr>
        <p:txBody>
          <a:bodyPr>
            <a:noAutofit/>
          </a:bodyPr>
          <a:lstStyle>
            <a:lvl1pPr algn="l">
              <a:defRPr sz="1200" b="0" baseline="0">
                <a:solidFill>
                  <a:srgbClr val="000000"/>
                </a:solidFill>
                <a:latin typeface="Calibri" pitchFamily="34" charset="0"/>
                <a:cs typeface="Arial" pitchFamily="34" charset="0"/>
              </a:defRPr>
            </a:lvl1pPr>
          </a:lstStyle>
          <a:p>
            <a:r>
              <a:rPr lang="en-GB" sz="1200" dirty="0"/>
              <a:t>XY</a:t>
            </a:r>
            <a:br>
              <a:rPr lang="en-GB" sz="1200" dirty="0"/>
            </a:br>
            <a:r>
              <a:rPr lang="en-GB" sz="1200" dirty="0"/>
              <a:t>&lt;Position&gt;</a:t>
            </a:r>
            <a:endParaRPr lang="en-GB" noProof="0" dirty="0"/>
          </a:p>
        </p:txBody>
      </p:sp>
      <p:sp>
        <p:nvSpPr>
          <p:cNvPr id="5" name="Titre 1"/>
          <p:cNvSpPr txBox="1">
            <a:spLocks/>
          </p:cNvSpPr>
          <p:nvPr userDrawn="1"/>
        </p:nvSpPr>
        <p:spPr>
          <a:xfrm>
            <a:off x="624619" y="2348880"/>
            <a:ext cx="11040000" cy="540000"/>
          </a:xfrm>
          <a:prstGeom prst="rect">
            <a:avLst/>
          </a:prstGeom>
        </p:spPr>
        <p:txBody>
          <a:bodyPr>
            <a:noAutofit/>
          </a:bodyPr>
          <a:lstStyle>
            <a:lvl1pPr algn="ctr" rtl="0" eaLnBrk="0" fontAlgn="base" hangingPunct="0">
              <a:spcBef>
                <a:spcPct val="0"/>
              </a:spcBef>
              <a:spcAft>
                <a:spcPct val="0"/>
              </a:spcAft>
              <a:defRPr sz="3200" b="1" kern="1200" baseline="0">
                <a:solidFill>
                  <a:schemeClr val="tx1"/>
                </a:solidFill>
                <a:latin typeface="Calibri" pitchFamily="34" charset="0"/>
                <a:ea typeface="ＭＳ Ｐゴシック" charset="-128"/>
                <a:cs typeface="Arial" pitchFamily="34"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GB" sz="3200" dirty="0">
                <a:solidFill>
                  <a:srgbClr val="1F4484"/>
                </a:solidFill>
              </a:rPr>
              <a:t>Thank You for Your Attention</a:t>
            </a:r>
          </a:p>
        </p:txBody>
      </p:sp>
      <p:sp>
        <p:nvSpPr>
          <p:cNvPr id="7" name="Titre 1"/>
          <p:cNvSpPr txBox="1">
            <a:spLocks/>
          </p:cNvSpPr>
          <p:nvPr userDrawn="1"/>
        </p:nvSpPr>
        <p:spPr>
          <a:xfrm>
            <a:off x="3023659" y="4581128"/>
            <a:ext cx="6240693" cy="540000"/>
          </a:xfrm>
          <a:prstGeom prst="rect">
            <a:avLst/>
          </a:prstGeom>
        </p:spPr>
        <p:txBody>
          <a:bodyPr>
            <a:noAutofit/>
          </a:bodyPr>
          <a:lstStyle>
            <a:lvl1pPr algn="ctr" rtl="0" eaLnBrk="0" fontAlgn="base" hangingPunct="0">
              <a:spcBef>
                <a:spcPct val="0"/>
              </a:spcBef>
              <a:spcAft>
                <a:spcPct val="0"/>
              </a:spcAft>
              <a:defRPr sz="3200" b="1" kern="1200" baseline="0">
                <a:solidFill>
                  <a:schemeClr val="tx1"/>
                </a:solidFill>
                <a:latin typeface="Calibri" pitchFamily="34" charset="0"/>
                <a:ea typeface="ＭＳ Ｐゴシック" charset="-128"/>
                <a:cs typeface="Arial" pitchFamily="34"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GB" sz="1200" b="0" dirty="0">
                <a:solidFill>
                  <a:srgbClr val="000000"/>
                </a:solidFill>
              </a:rPr>
              <a:t>ENTSOG -- European Network of Transmission System Operators for Gas</a:t>
            </a:r>
            <a:br>
              <a:rPr lang="en-GB" sz="1200" b="0" dirty="0">
                <a:solidFill>
                  <a:srgbClr val="000000"/>
                </a:solidFill>
              </a:rPr>
            </a:br>
            <a:r>
              <a:rPr lang="en-GB" sz="1200" b="0" dirty="0">
                <a:solidFill>
                  <a:srgbClr val="000000"/>
                </a:solidFill>
              </a:rPr>
              <a:t>Avenue de </a:t>
            </a:r>
            <a:r>
              <a:rPr lang="en-GB" sz="1200" b="0" dirty="0" err="1">
                <a:solidFill>
                  <a:srgbClr val="000000"/>
                </a:solidFill>
              </a:rPr>
              <a:t>Cortenbergh</a:t>
            </a:r>
            <a:r>
              <a:rPr lang="en-GB" sz="1200" b="0" dirty="0">
                <a:solidFill>
                  <a:srgbClr val="000000"/>
                </a:solidFill>
              </a:rPr>
              <a:t> 100, B-1000 Brussels</a:t>
            </a:r>
          </a:p>
        </p:txBody>
      </p:sp>
      <p:sp>
        <p:nvSpPr>
          <p:cNvPr id="8" name="Titre 1"/>
          <p:cNvSpPr txBox="1">
            <a:spLocks/>
          </p:cNvSpPr>
          <p:nvPr userDrawn="1"/>
        </p:nvSpPr>
        <p:spPr>
          <a:xfrm>
            <a:off x="3023659" y="5193256"/>
            <a:ext cx="6240693" cy="540000"/>
          </a:xfrm>
          <a:prstGeom prst="rect">
            <a:avLst/>
          </a:prstGeom>
        </p:spPr>
        <p:txBody>
          <a:bodyPr>
            <a:noAutofit/>
          </a:bodyPr>
          <a:lstStyle>
            <a:lvl1pPr algn="ctr" rtl="0" eaLnBrk="0" fontAlgn="base" hangingPunct="0">
              <a:spcBef>
                <a:spcPct val="0"/>
              </a:spcBef>
              <a:spcAft>
                <a:spcPct val="0"/>
              </a:spcAft>
              <a:defRPr sz="3200" b="1" kern="1200" baseline="0">
                <a:solidFill>
                  <a:schemeClr val="tx1"/>
                </a:solidFill>
                <a:latin typeface="Calibri" pitchFamily="34" charset="0"/>
                <a:ea typeface="ＭＳ Ｐゴシック" charset="-128"/>
                <a:cs typeface="Arial" pitchFamily="34"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GB" sz="1200" b="0" dirty="0">
                <a:solidFill>
                  <a:srgbClr val="000000"/>
                </a:solidFill>
              </a:rPr>
              <a:t>EML:</a:t>
            </a:r>
          </a:p>
          <a:p>
            <a:pPr algn="l"/>
            <a:r>
              <a:rPr lang="de-DE" sz="1200" b="0" dirty="0">
                <a:solidFill>
                  <a:srgbClr val="000000"/>
                </a:solidFill>
              </a:rPr>
              <a:t>WWW: </a:t>
            </a:r>
            <a:r>
              <a:rPr lang="de-DE" sz="1200" b="0" u="sng" dirty="0">
                <a:solidFill>
                  <a:srgbClr val="1F4484"/>
                </a:solidFill>
              </a:rPr>
              <a:t>www.entsog.eu</a:t>
            </a:r>
            <a:endParaRPr lang="en-GB" sz="1200" b="0" u="sng" dirty="0">
              <a:solidFill>
                <a:srgbClr val="1F4484"/>
              </a:solidFill>
            </a:endParaRPr>
          </a:p>
        </p:txBody>
      </p:sp>
      <p:sp>
        <p:nvSpPr>
          <p:cNvPr id="13" name="Text Placeholder 12"/>
          <p:cNvSpPr>
            <a:spLocks noGrp="1"/>
          </p:cNvSpPr>
          <p:nvPr>
            <p:ph type="body" sz="quarter" idx="10" hasCustomPrompt="1"/>
          </p:nvPr>
        </p:nvSpPr>
        <p:spPr>
          <a:xfrm>
            <a:off x="3657633" y="5185768"/>
            <a:ext cx="1536072" cy="287933"/>
          </a:xfrm>
          <a:prstGeom prst="rect">
            <a:avLst/>
          </a:prstGeom>
        </p:spPr>
        <p:txBody>
          <a:bodyPr/>
          <a:lstStyle>
            <a:lvl1pPr marL="0" indent="0">
              <a:buNone/>
              <a:defRPr sz="1200" u="sng"/>
            </a:lvl1pPr>
            <a:lvl2pPr>
              <a:defRPr sz="1200"/>
            </a:lvl2pPr>
            <a:lvl3pPr>
              <a:defRPr sz="1200"/>
            </a:lvl3pPr>
            <a:lvl4pPr>
              <a:defRPr sz="1200"/>
            </a:lvl4pPr>
            <a:lvl5pPr>
              <a:defRPr sz="1200"/>
            </a:lvl5pPr>
          </a:lstStyle>
          <a:p>
            <a:pPr lvl="0"/>
            <a:r>
              <a:rPr lang="en-GB" noProof="0"/>
              <a:t>x.y@entsog.eu</a:t>
            </a:r>
          </a:p>
        </p:txBody>
      </p:sp>
    </p:spTree>
    <p:extLst>
      <p:ext uri="{BB962C8B-B14F-4D97-AF65-F5344CB8AC3E}">
        <p14:creationId xmlns:p14="http://schemas.microsoft.com/office/powerpoint/2010/main" val="19143549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Front slide GIE">
    <p:spTree>
      <p:nvGrpSpPr>
        <p:cNvPr id="1" name=""/>
        <p:cNvGrpSpPr/>
        <p:nvPr/>
      </p:nvGrpSpPr>
      <p:grpSpPr>
        <a:xfrm>
          <a:off x="0" y="0"/>
          <a:ext cx="0" cy="0"/>
          <a:chOff x="0" y="0"/>
          <a:chExt cx="0" cy="0"/>
        </a:xfrm>
      </p:grpSpPr>
      <p:pic>
        <p:nvPicPr>
          <p:cNvPr id="7" name="Picture 6" descr="A close up of a mountain&#10;&#10;Description generated with high confidence">
            <a:extLst>
              <a:ext uri="{FF2B5EF4-FFF2-40B4-BE49-F238E27FC236}">
                <a16:creationId xmlns:a16="http://schemas.microsoft.com/office/drawing/2014/main" id="{B999DAD1-D973-402C-B598-7453236E0039}"/>
              </a:ext>
            </a:extLst>
          </p:cNvPr>
          <p:cNvPicPr>
            <a:picLocks noChangeAspect="1"/>
          </p:cNvPicPr>
          <p:nvPr userDrawn="1"/>
        </p:nvPicPr>
        <p:blipFill>
          <a:blip r:embed="rId2"/>
          <a:stretch>
            <a:fillRect/>
          </a:stretch>
        </p:blipFill>
        <p:spPr>
          <a:xfrm>
            <a:off x="-624747" y="0"/>
            <a:ext cx="13008768" cy="6858000"/>
          </a:xfrm>
          <a:prstGeom prst="rect">
            <a:avLst/>
          </a:prstGeom>
        </p:spPr>
      </p:pic>
      <p:pic>
        <p:nvPicPr>
          <p:cNvPr id="4" name="Picture 3">
            <a:extLst>
              <a:ext uri="{FF2B5EF4-FFF2-40B4-BE49-F238E27FC236}">
                <a16:creationId xmlns:a16="http://schemas.microsoft.com/office/drawing/2014/main" id="{F9D4ABF7-55E5-4293-B7DF-AA161DD9E58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41077" y="864006"/>
            <a:ext cx="5580185" cy="2808818"/>
          </a:xfrm>
          <a:prstGeom prst="rect">
            <a:avLst/>
          </a:prstGeom>
        </p:spPr>
      </p:pic>
    </p:spTree>
    <p:extLst>
      <p:ext uri="{BB962C8B-B14F-4D97-AF65-F5344CB8AC3E}">
        <p14:creationId xmlns:p14="http://schemas.microsoft.com/office/powerpoint/2010/main" val="150157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ront slide GLE">
    <p:spTree>
      <p:nvGrpSpPr>
        <p:cNvPr id="1" name=""/>
        <p:cNvGrpSpPr/>
        <p:nvPr/>
      </p:nvGrpSpPr>
      <p:grpSpPr>
        <a:xfrm>
          <a:off x="0" y="0"/>
          <a:ext cx="0" cy="0"/>
          <a:chOff x="0" y="0"/>
          <a:chExt cx="0" cy="0"/>
        </a:xfrm>
      </p:grpSpPr>
      <p:pic>
        <p:nvPicPr>
          <p:cNvPr id="7" name="Picture 6" descr="A close up of a mountain&#10;&#10;Description generated with high confidence">
            <a:extLst>
              <a:ext uri="{FF2B5EF4-FFF2-40B4-BE49-F238E27FC236}">
                <a16:creationId xmlns:a16="http://schemas.microsoft.com/office/drawing/2014/main" id="{B999DAD1-D973-402C-B598-7453236E0039}"/>
              </a:ext>
            </a:extLst>
          </p:cNvPr>
          <p:cNvPicPr>
            <a:picLocks noChangeAspect="1"/>
          </p:cNvPicPr>
          <p:nvPr userDrawn="1"/>
        </p:nvPicPr>
        <p:blipFill>
          <a:blip r:embed="rId2"/>
          <a:stretch>
            <a:fillRect/>
          </a:stretch>
        </p:blipFill>
        <p:spPr>
          <a:xfrm>
            <a:off x="-624747" y="0"/>
            <a:ext cx="13008768" cy="6858000"/>
          </a:xfrm>
          <a:prstGeom prst="rect">
            <a:avLst/>
          </a:prstGeom>
        </p:spPr>
      </p:pic>
      <p:pic>
        <p:nvPicPr>
          <p:cNvPr id="5" name="Picture 4">
            <a:extLst>
              <a:ext uri="{FF2B5EF4-FFF2-40B4-BE49-F238E27FC236}">
                <a16:creationId xmlns:a16="http://schemas.microsoft.com/office/drawing/2014/main" id="{844A2343-F002-4FCB-95B5-5E92C10AED6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95996" y="957179"/>
            <a:ext cx="5846899" cy="2895601"/>
          </a:xfrm>
          <a:prstGeom prst="rect">
            <a:avLst/>
          </a:prstGeom>
        </p:spPr>
      </p:pic>
    </p:spTree>
    <p:extLst>
      <p:ext uri="{BB962C8B-B14F-4D97-AF65-F5344CB8AC3E}">
        <p14:creationId xmlns:p14="http://schemas.microsoft.com/office/powerpoint/2010/main" val="828213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ront slide GSE">
    <p:spTree>
      <p:nvGrpSpPr>
        <p:cNvPr id="1" name=""/>
        <p:cNvGrpSpPr/>
        <p:nvPr/>
      </p:nvGrpSpPr>
      <p:grpSpPr>
        <a:xfrm>
          <a:off x="0" y="0"/>
          <a:ext cx="0" cy="0"/>
          <a:chOff x="0" y="0"/>
          <a:chExt cx="0" cy="0"/>
        </a:xfrm>
      </p:grpSpPr>
      <p:pic>
        <p:nvPicPr>
          <p:cNvPr id="7" name="Picture 6" descr="A close up of a mountain&#10;&#10;Description generated with high confidence">
            <a:extLst>
              <a:ext uri="{FF2B5EF4-FFF2-40B4-BE49-F238E27FC236}">
                <a16:creationId xmlns:a16="http://schemas.microsoft.com/office/drawing/2014/main" id="{B999DAD1-D973-402C-B598-7453236E0039}"/>
              </a:ext>
            </a:extLst>
          </p:cNvPr>
          <p:cNvPicPr>
            <a:picLocks noChangeAspect="1"/>
          </p:cNvPicPr>
          <p:nvPr userDrawn="1"/>
        </p:nvPicPr>
        <p:blipFill>
          <a:blip r:embed="rId2"/>
          <a:stretch>
            <a:fillRect/>
          </a:stretch>
        </p:blipFill>
        <p:spPr>
          <a:xfrm>
            <a:off x="-624747" y="0"/>
            <a:ext cx="13008768" cy="6858000"/>
          </a:xfrm>
          <a:prstGeom prst="rect">
            <a:avLst/>
          </a:prstGeom>
        </p:spPr>
      </p:pic>
      <p:pic>
        <p:nvPicPr>
          <p:cNvPr id="5" name="Picture 4">
            <a:extLst>
              <a:ext uri="{FF2B5EF4-FFF2-40B4-BE49-F238E27FC236}">
                <a16:creationId xmlns:a16="http://schemas.microsoft.com/office/drawing/2014/main" id="{219E777C-8434-41C4-914C-50A1CCC9944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41077" y="949865"/>
            <a:ext cx="5685692" cy="2861925"/>
          </a:xfrm>
          <a:prstGeom prst="rect">
            <a:avLst/>
          </a:prstGeom>
        </p:spPr>
      </p:pic>
    </p:spTree>
    <p:extLst>
      <p:ext uri="{BB962C8B-B14F-4D97-AF65-F5344CB8AC3E}">
        <p14:creationId xmlns:p14="http://schemas.microsoft.com/office/powerpoint/2010/main" val="811264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ront slide GTE">
    <p:spTree>
      <p:nvGrpSpPr>
        <p:cNvPr id="1" name=""/>
        <p:cNvGrpSpPr/>
        <p:nvPr/>
      </p:nvGrpSpPr>
      <p:grpSpPr>
        <a:xfrm>
          <a:off x="0" y="0"/>
          <a:ext cx="0" cy="0"/>
          <a:chOff x="0" y="0"/>
          <a:chExt cx="0" cy="0"/>
        </a:xfrm>
      </p:grpSpPr>
      <p:pic>
        <p:nvPicPr>
          <p:cNvPr id="7" name="Picture 6" descr="A close up of a mountain&#10;&#10;Description generated with high confidence">
            <a:extLst>
              <a:ext uri="{FF2B5EF4-FFF2-40B4-BE49-F238E27FC236}">
                <a16:creationId xmlns:a16="http://schemas.microsoft.com/office/drawing/2014/main" id="{B999DAD1-D973-402C-B598-7453236E0039}"/>
              </a:ext>
            </a:extLst>
          </p:cNvPr>
          <p:cNvPicPr>
            <a:picLocks noChangeAspect="1"/>
          </p:cNvPicPr>
          <p:nvPr userDrawn="1"/>
        </p:nvPicPr>
        <p:blipFill>
          <a:blip r:embed="rId2"/>
          <a:stretch>
            <a:fillRect/>
          </a:stretch>
        </p:blipFill>
        <p:spPr>
          <a:xfrm>
            <a:off x="-624747" y="0"/>
            <a:ext cx="13008768" cy="6858000"/>
          </a:xfrm>
          <a:prstGeom prst="rect">
            <a:avLst/>
          </a:prstGeom>
        </p:spPr>
      </p:pic>
      <p:pic>
        <p:nvPicPr>
          <p:cNvPr id="5" name="Picture 4">
            <a:extLst>
              <a:ext uri="{FF2B5EF4-FFF2-40B4-BE49-F238E27FC236}">
                <a16:creationId xmlns:a16="http://schemas.microsoft.com/office/drawing/2014/main" id="{1476AE2A-F944-459D-A697-B7285482CF6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41077" y="864006"/>
            <a:ext cx="5636150" cy="2836989"/>
          </a:xfrm>
          <a:prstGeom prst="rect">
            <a:avLst/>
          </a:prstGeom>
        </p:spPr>
      </p:pic>
    </p:spTree>
    <p:extLst>
      <p:ext uri="{BB962C8B-B14F-4D97-AF65-F5344CB8AC3E}">
        <p14:creationId xmlns:p14="http://schemas.microsoft.com/office/powerpoint/2010/main" val="2999357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Agenda slide GIE">
    <p:spTree>
      <p:nvGrpSpPr>
        <p:cNvPr id="1" name=""/>
        <p:cNvGrpSpPr/>
        <p:nvPr/>
      </p:nvGrpSpPr>
      <p:grpSpPr>
        <a:xfrm>
          <a:off x="0" y="0"/>
          <a:ext cx="0" cy="0"/>
          <a:chOff x="0" y="0"/>
          <a:chExt cx="0" cy="0"/>
        </a:xfrm>
      </p:grpSpPr>
      <p:pic>
        <p:nvPicPr>
          <p:cNvPr id="7" name="Picture 6" descr="A picture containing nature&#10;&#10;Description generated with high confidence">
            <a:extLst>
              <a:ext uri="{FF2B5EF4-FFF2-40B4-BE49-F238E27FC236}">
                <a16:creationId xmlns:a16="http://schemas.microsoft.com/office/drawing/2014/main" id="{E32BB3C6-8229-41C9-94DD-87B3DA949188}"/>
              </a:ext>
            </a:extLst>
          </p:cNvPr>
          <p:cNvPicPr>
            <a:picLocks noChangeAspect="1"/>
          </p:cNvPicPr>
          <p:nvPr userDrawn="1"/>
        </p:nvPicPr>
        <p:blipFill rotWithShape="1">
          <a:blip r:embed="rId2"/>
          <a:srcRect r="787" b="787"/>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DE67793-5C82-4FDE-986D-7401B753FBE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65210" y="4478215"/>
            <a:ext cx="4168882" cy="2098431"/>
          </a:xfrm>
          <a:prstGeom prst="rect">
            <a:avLst/>
          </a:prstGeom>
        </p:spPr>
      </p:pic>
    </p:spTree>
    <p:extLst>
      <p:ext uri="{BB962C8B-B14F-4D97-AF65-F5344CB8AC3E}">
        <p14:creationId xmlns:p14="http://schemas.microsoft.com/office/powerpoint/2010/main" val="2059958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Agenda slide GLE">
    <p:spTree>
      <p:nvGrpSpPr>
        <p:cNvPr id="1" name=""/>
        <p:cNvGrpSpPr/>
        <p:nvPr/>
      </p:nvGrpSpPr>
      <p:grpSpPr>
        <a:xfrm>
          <a:off x="0" y="0"/>
          <a:ext cx="0" cy="0"/>
          <a:chOff x="0" y="0"/>
          <a:chExt cx="0" cy="0"/>
        </a:xfrm>
      </p:grpSpPr>
      <p:pic>
        <p:nvPicPr>
          <p:cNvPr id="7" name="Picture 6" descr="A picture containing nature&#10;&#10;Description generated with high confidence">
            <a:extLst>
              <a:ext uri="{FF2B5EF4-FFF2-40B4-BE49-F238E27FC236}">
                <a16:creationId xmlns:a16="http://schemas.microsoft.com/office/drawing/2014/main" id="{E32BB3C6-8229-41C9-94DD-87B3DA949188}"/>
              </a:ext>
            </a:extLst>
          </p:cNvPr>
          <p:cNvPicPr>
            <a:picLocks noChangeAspect="1"/>
          </p:cNvPicPr>
          <p:nvPr userDrawn="1"/>
        </p:nvPicPr>
        <p:blipFill rotWithShape="1">
          <a:blip r:embed="rId2"/>
          <a:srcRect r="787" b="787"/>
          <a:stretch/>
        </p:blipFill>
        <p:spPr>
          <a:xfrm>
            <a:off x="0" y="0"/>
            <a:ext cx="12192000" cy="6858000"/>
          </a:xfrm>
          <a:prstGeom prst="rect">
            <a:avLst/>
          </a:prstGeom>
        </p:spPr>
      </p:pic>
      <p:pic>
        <p:nvPicPr>
          <p:cNvPr id="5" name="Picture 4">
            <a:extLst>
              <a:ext uri="{FF2B5EF4-FFF2-40B4-BE49-F238E27FC236}">
                <a16:creationId xmlns:a16="http://schemas.microsoft.com/office/drawing/2014/main" id="{1A9778CF-5D54-4D90-8736-A5A8597D1E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7093" y="4478215"/>
            <a:ext cx="4285116" cy="2122148"/>
          </a:xfrm>
          <a:prstGeom prst="rect">
            <a:avLst/>
          </a:prstGeom>
        </p:spPr>
      </p:pic>
    </p:spTree>
    <p:extLst>
      <p:ext uri="{BB962C8B-B14F-4D97-AF65-F5344CB8AC3E}">
        <p14:creationId xmlns:p14="http://schemas.microsoft.com/office/powerpoint/2010/main" val="744286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Agenda slide GSE">
    <p:spTree>
      <p:nvGrpSpPr>
        <p:cNvPr id="1" name=""/>
        <p:cNvGrpSpPr/>
        <p:nvPr/>
      </p:nvGrpSpPr>
      <p:grpSpPr>
        <a:xfrm>
          <a:off x="0" y="0"/>
          <a:ext cx="0" cy="0"/>
          <a:chOff x="0" y="0"/>
          <a:chExt cx="0" cy="0"/>
        </a:xfrm>
      </p:grpSpPr>
      <p:pic>
        <p:nvPicPr>
          <p:cNvPr id="7" name="Picture 6" descr="A picture containing nature&#10;&#10;Description generated with high confidence">
            <a:extLst>
              <a:ext uri="{FF2B5EF4-FFF2-40B4-BE49-F238E27FC236}">
                <a16:creationId xmlns:a16="http://schemas.microsoft.com/office/drawing/2014/main" id="{E32BB3C6-8229-41C9-94DD-87B3DA949188}"/>
              </a:ext>
            </a:extLst>
          </p:cNvPr>
          <p:cNvPicPr>
            <a:picLocks noChangeAspect="1"/>
          </p:cNvPicPr>
          <p:nvPr userDrawn="1"/>
        </p:nvPicPr>
        <p:blipFill rotWithShape="1">
          <a:blip r:embed="rId2"/>
          <a:srcRect r="787" b="787"/>
          <a:stretch/>
        </p:blipFill>
        <p:spPr>
          <a:xfrm>
            <a:off x="0" y="0"/>
            <a:ext cx="12192000" cy="6858000"/>
          </a:xfrm>
          <a:prstGeom prst="rect">
            <a:avLst/>
          </a:prstGeom>
        </p:spPr>
      </p:pic>
      <p:pic>
        <p:nvPicPr>
          <p:cNvPr id="5" name="Picture 4">
            <a:extLst>
              <a:ext uri="{FF2B5EF4-FFF2-40B4-BE49-F238E27FC236}">
                <a16:creationId xmlns:a16="http://schemas.microsoft.com/office/drawing/2014/main" id="{7828F988-6FB9-4D04-99F8-D2A253432D5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65210" y="4478215"/>
            <a:ext cx="4168882" cy="2098431"/>
          </a:xfrm>
          <a:prstGeom prst="rect">
            <a:avLst/>
          </a:prstGeom>
        </p:spPr>
      </p:pic>
    </p:spTree>
    <p:extLst>
      <p:ext uri="{BB962C8B-B14F-4D97-AF65-F5344CB8AC3E}">
        <p14:creationId xmlns:p14="http://schemas.microsoft.com/office/powerpoint/2010/main" val="385330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Agenda slide GTE">
    <p:spTree>
      <p:nvGrpSpPr>
        <p:cNvPr id="1" name=""/>
        <p:cNvGrpSpPr/>
        <p:nvPr/>
      </p:nvGrpSpPr>
      <p:grpSpPr>
        <a:xfrm>
          <a:off x="0" y="0"/>
          <a:ext cx="0" cy="0"/>
          <a:chOff x="0" y="0"/>
          <a:chExt cx="0" cy="0"/>
        </a:xfrm>
      </p:grpSpPr>
      <p:pic>
        <p:nvPicPr>
          <p:cNvPr id="7" name="Picture 6" descr="A picture containing nature&#10;&#10;Description generated with high confidence">
            <a:extLst>
              <a:ext uri="{FF2B5EF4-FFF2-40B4-BE49-F238E27FC236}">
                <a16:creationId xmlns:a16="http://schemas.microsoft.com/office/drawing/2014/main" id="{E32BB3C6-8229-41C9-94DD-87B3DA949188}"/>
              </a:ext>
            </a:extLst>
          </p:cNvPr>
          <p:cNvPicPr>
            <a:picLocks noChangeAspect="1"/>
          </p:cNvPicPr>
          <p:nvPr userDrawn="1"/>
        </p:nvPicPr>
        <p:blipFill rotWithShape="1">
          <a:blip r:embed="rId2"/>
          <a:srcRect r="787" b="787"/>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3F76E22-A3A4-47CA-9E7D-C877448F2C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76497" y="4478215"/>
            <a:ext cx="4157595" cy="2092750"/>
          </a:xfrm>
          <a:prstGeom prst="rect">
            <a:avLst/>
          </a:prstGeom>
        </p:spPr>
      </p:pic>
    </p:spTree>
    <p:extLst>
      <p:ext uri="{BB962C8B-B14F-4D97-AF65-F5344CB8AC3E}">
        <p14:creationId xmlns:p14="http://schemas.microsoft.com/office/powerpoint/2010/main" val="2353736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Sub-title slide GI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26D9E0-8DC8-47CD-96E8-7524545408A6}"/>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0CE6DBF8-1528-4554-9179-783125EECB3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96505" y="349212"/>
            <a:ext cx="1891404" cy="952049"/>
          </a:xfrm>
          <a:prstGeom prst="rect">
            <a:avLst/>
          </a:prstGeom>
        </p:spPr>
      </p:pic>
    </p:spTree>
    <p:extLst>
      <p:ext uri="{BB962C8B-B14F-4D97-AF65-F5344CB8AC3E}">
        <p14:creationId xmlns:p14="http://schemas.microsoft.com/office/powerpoint/2010/main" val="71080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Front slide GTE">
    <p:spTree>
      <p:nvGrpSpPr>
        <p:cNvPr id="1" name=""/>
        <p:cNvGrpSpPr/>
        <p:nvPr/>
      </p:nvGrpSpPr>
      <p:grpSpPr>
        <a:xfrm>
          <a:off x="0" y="0"/>
          <a:ext cx="0" cy="0"/>
          <a:chOff x="0" y="0"/>
          <a:chExt cx="0" cy="0"/>
        </a:xfrm>
      </p:grpSpPr>
      <p:pic>
        <p:nvPicPr>
          <p:cNvPr id="7" name="Picture 6" descr="A close up of a mountain&#10;&#10;Description generated with high confidence">
            <a:extLst>
              <a:ext uri="{FF2B5EF4-FFF2-40B4-BE49-F238E27FC236}">
                <a16:creationId xmlns:a16="http://schemas.microsoft.com/office/drawing/2014/main" id="{B999DAD1-D973-402C-B598-7453236E0039}"/>
              </a:ext>
            </a:extLst>
          </p:cNvPr>
          <p:cNvPicPr>
            <a:picLocks noChangeAspect="1"/>
          </p:cNvPicPr>
          <p:nvPr userDrawn="1"/>
        </p:nvPicPr>
        <p:blipFill>
          <a:blip r:embed="rId2"/>
          <a:stretch>
            <a:fillRect/>
          </a:stretch>
        </p:blipFill>
        <p:spPr>
          <a:xfrm>
            <a:off x="-624747" y="0"/>
            <a:ext cx="13008768" cy="6858000"/>
          </a:xfrm>
          <a:prstGeom prst="rect">
            <a:avLst/>
          </a:prstGeom>
        </p:spPr>
      </p:pic>
      <p:pic>
        <p:nvPicPr>
          <p:cNvPr id="5" name="Picture 4">
            <a:extLst>
              <a:ext uri="{FF2B5EF4-FFF2-40B4-BE49-F238E27FC236}">
                <a16:creationId xmlns:a16="http://schemas.microsoft.com/office/drawing/2014/main" id="{1476AE2A-F944-459D-A697-B7285482CF6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41077" y="864006"/>
            <a:ext cx="5636150" cy="2836989"/>
          </a:xfrm>
          <a:prstGeom prst="rect">
            <a:avLst/>
          </a:prstGeom>
        </p:spPr>
      </p:pic>
    </p:spTree>
    <p:extLst>
      <p:ext uri="{BB962C8B-B14F-4D97-AF65-F5344CB8AC3E}">
        <p14:creationId xmlns:p14="http://schemas.microsoft.com/office/powerpoint/2010/main" val="117547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Sub-title slide G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26D9E0-8DC8-47CD-96E8-7524545408A6}"/>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6C188EE6-ACCF-4907-88CF-033E547BD7A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5120" y="384380"/>
            <a:ext cx="1922410" cy="952049"/>
          </a:xfrm>
          <a:prstGeom prst="rect">
            <a:avLst/>
          </a:prstGeom>
        </p:spPr>
      </p:pic>
    </p:spTree>
    <p:extLst>
      <p:ext uri="{BB962C8B-B14F-4D97-AF65-F5344CB8AC3E}">
        <p14:creationId xmlns:p14="http://schemas.microsoft.com/office/powerpoint/2010/main" val="95004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Sub-title slide GS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26D9E0-8DC8-47CD-96E8-7524545408A6}"/>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CA4EC5C3-ACA3-46C3-991E-970B810CFD0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96506" y="361836"/>
            <a:ext cx="1891404" cy="952050"/>
          </a:xfrm>
          <a:prstGeom prst="rect">
            <a:avLst/>
          </a:prstGeom>
        </p:spPr>
      </p:pic>
    </p:spTree>
    <p:extLst>
      <p:ext uri="{BB962C8B-B14F-4D97-AF65-F5344CB8AC3E}">
        <p14:creationId xmlns:p14="http://schemas.microsoft.com/office/powerpoint/2010/main" val="2306021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Sub-title slide G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26D9E0-8DC8-47CD-96E8-7524545408A6}"/>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E2B3D677-F848-43A2-B1E2-BD461D56322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92519" y="357649"/>
            <a:ext cx="1907113" cy="959956"/>
          </a:xfrm>
          <a:prstGeom prst="rect">
            <a:avLst/>
          </a:prstGeom>
        </p:spPr>
      </p:pic>
    </p:spTree>
    <p:extLst>
      <p:ext uri="{BB962C8B-B14F-4D97-AF65-F5344CB8AC3E}">
        <p14:creationId xmlns:p14="http://schemas.microsoft.com/office/powerpoint/2010/main" val="2260040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Content slide GIE">
    <p:spTree>
      <p:nvGrpSpPr>
        <p:cNvPr id="1" name=""/>
        <p:cNvGrpSpPr/>
        <p:nvPr/>
      </p:nvGrpSpPr>
      <p:grpSpPr>
        <a:xfrm>
          <a:off x="0" y="0"/>
          <a:ext cx="0" cy="0"/>
          <a:chOff x="0" y="0"/>
          <a:chExt cx="0" cy="0"/>
        </a:xfrm>
      </p:grpSpPr>
      <p:pic>
        <p:nvPicPr>
          <p:cNvPr id="9" name="Picture 11" descr="A picture containing nature&#10;&#10;Description generated with high confidence">
            <a:extLst>
              <a:ext uri="{FF2B5EF4-FFF2-40B4-BE49-F238E27FC236}">
                <a16:creationId xmlns:a16="http://schemas.microsoft.com/office/drawing/2014/main" id="{D7FF6E83-B999-46E6-A6D5-BA72C86F5E6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Marker/>
                    </a14:imgEffect>
                    <a14:imgEffect>
                      <a14:brightnessContrast bright="-20000"/>
                    </a14:imgEffect>
                  </a14:imgLayer>
                </a14:imgProps>
              </a:ext>
            </a:extLst>
          </a:blip>
          <a:srcRect r="19243" b="81456"/>
          <a:stretch/>
        </p:blipFill>
        <p:spPr>
          <a:xfrm>
            <a:off x="10" y="0"/>
            <a:ext cx="12191996" cy="1364776"/>
          </a:xfrm>
          <a:prstGeom prst="rect">
            <a:avLst/>
          </a:prstGeom>
        </p:spPr>
      </p:pic>
      <p:sp>
        <p:nvSpPr>
          <p:cNvPr id="2" name="Espace réservé du numéro de diapositive 5"/>
          <p:cNvSpPr txBox="1">
            <a:spLocks noGrp="1"/>
          </p:cNvSpPr>
          <p:nvPr userDrawn="1"/>
        </p:nvSpPr>
        <p:spPr bwMode="auto">
          <a:xfrm>
            <a:off x="11473847" y="6553200"/>
            <a:ext cx="718159" cy="304800"/>
          </a:xfrm>
          <a:prstGeom prst="rect">
            <a:avLst/>
          </a:prstGeom>
          <a:solidFill>
            <a:srgbClr val="DDDDDD"/>
          </a:solidFill>
          <a:ln w="9525">
            <a:noFill/>
            <a:miter lim="800000"/>
            <a:headEnd/>
            <a:tailEnd/>
          </a:ln>
        </p:spPr>
        <p:txBody>
          <a:bodyPr/>
          <a:lstStyle/>
          <a:p>
            <a:pPr algn="ctr">
              <a:defRPr/>
            </a:pPr>
            <a:fld id="{692C8970-40FE-4B40-984B-FCCB47A0F331}" type="slidenum">
              <a:rPr lang="en-GB" sz="1400">
                <a:latin typeface="Gill Sans MT" panose="020B0502020104020203" pitchFamily="34" charset="0"/>
                <a:cs typeface="Calibri" pitchFamily="34" charset="0"/>
              </a:rPr>
              <a:pPr algn="ctr">
                <a:defRPr/>
              </a:pPr>
              <a:t>‹#›</a:t>
            </a:fld>
            <a:endParaRPr lang="en-GB" sz="1400" dirty="0">
              <a:latin typeface="Gill Sans MT" panose="020B0502020104020203" pitchFamily="34" charset="0"/>
              <a:cs typeface="Calibri" pitchFamily="34" charset="0"/>
            </a:endParaRPr>
          </a:p>
        </p:txBody>
      </p:sp>
      <p:pic>
        <p:nvPicPr>
          <p:cNvPr id="15" name="Picture 14">
            <a:extLst>
              <a:ext uri="{FF2B5EF4-FFF2-40B4-BE49-F238E27FC236}">
                <a16:creationId xmlns:a16="http://schemas.microsoft.com/office/drawing/2014/main" id="{3E4B7F59-ACF6-48CA-BB92-285D466FF89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49004" y="201481"/>
            <a:ext cx="1783922" cy="943377"/>
          </a:xfrm>
          <a:prstGeom prst="rect">
            <a:avLst/>
          </a:prstGeom>
        </p:spPr>
      </p:pic>
    </p:spTree>
    <p:extLst>
      <p:ext uri="{BB962C8B-B14F-4D97-AF65-F5344CB8AC3E}">
        <p14:creationId xmlns:p14="http://schemas.microsoft.com/office/powerpoint/2010/main" val="103196807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Content slide GLE">
    <p:spTree>
      <p:nvGrpSpPr>
        <p:cNvPr id="1" name=""/>
        <p:cNvGrpSpPr/>
        <p:nvPr/>
      </p:nvGrpSpPr>
      <p:grpSpPr>
        <a:xfrm>
          <a:off x="0" y="0"/>
          <a:ext cx="0" cy="0"/>
          <a:chOff x="0" y="0"/>
          <a:chExt cx="0" cy="0"/>
        </a:xfrm>
      </p:grpSpPr>
      <p:pic>
        <p:nvPicPr>
          <p:cNvPr id="9" name="Picture 11" descr="A picture containing nature&#10;&#10;Description generated with high confidence">
            <a:extLst>
              <a:ext uri="{FF2B5EF4-FFF2-40B4-BE49-F238E27FC236}">
                <a16:creationId xmlns:a16="http://schemas.microsoft.com/office/drawing/2014/main" id="{D7FF6E83-B999-46E6-A6D5-BA72C86F5E6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Marker/>
                    </a14:imgEffect>
                    <a14:imgEffect>
                      <a14:brightnessContrast bright="-20000"/>
                    </a14:imgEffect>
                  </a14:imgLayer>
                </a14:imgProps>
              </a:ext>
            </a:extLst>
          </a:blip>
          <a:srcRect r="19243" b="81456"/>
          <a:stretch/>
        </p:blipFill>
        <p:spPr>
          <a:xfrm>
            <a:off x="10" y="0"/>
            <a:ext cx="12191996" cy="1364776"/>
          </a:xfrm>
          <a:prstGeom prst="rect">
            <a:avLst/>
          </a:prstGeom>
        </p:spPr>
      </p:pic>
      <p:sp>
        <p:nvSpPr>
          <p:cNvPr id="2" name="Espace réservé du numéro de diapositive 5"/>
          <p:cNvSpPr txBox="1">
            <a:spLocks noGrp="1"/>
          </p:cNvSpPr>
          <p:nvPr userDrawn="1"/>
        </p:nvSpPr>
        <p:spPr bwMode="auto">
          <a:xfrm>
            <a:off x="11473847" y="6553200"/>
            <a:ext cx="718159" cy="304800"/>
          </a:xfrm>
          <a:prstGeom prst="rect">
            <a:avLst/>
          </a:prstGeom>
          <a:solidFill>
            <a:srgbClr val="DDDDDD"/>
          </a:solidFill>
          <a:ln w="9525">
            <a:noFill/>
            <a:miter lim="800000"/>
            <a:headEnd/>
            <a:tailEnd/>
          </a:ln>
        </p:spPr>
        <p:txBody>
          <a:bodyPr/>
          <a:lstStyle/>
          <a:p>
            <a:pPr algn="ctr">
              <a:defRPr/>
            </a:pPr>
            <a:fld id="{692C8970-40FE-4B40-984B-FCCB47A0F331}" type="slidenum">
              <a:rPr lang="en-GB" sz="1400">
                <a:latin typeface="Gill Sans MT" panose="020B0502020104020203" pitchFamily="34" charset="0"/>
                <a:cs typeface="Calibri" pitchFamily="34" charset="0"/>
              </a:rPr>
              <a:pPr algn="ctr">
                <a:defRPr/>
              </a:pPr>
              <a:t>‹#›</a:t>
            </a:fld>
            <a:endParaRPr lang="en-GB" sz="1400" dirty="0">
              <a:latin typeface="Gill Sans MT" panose="020B0502020104020203" pitchFamily="34" charset="0"/>
              <a:cs typeface="Calibri" pitchFamily="34" charset="0"/>
            </a:endParaRPr>
          </a:p>
        </p:txBody>
      </p:sp>
      <p:pic>
        <p:nvPicPr>
          <p:cNvPr id="6" name="Picture 5">
            <a:extLst>
              <a:ext uri="{FF2B5EF4-FFF2-40B4-BE49-F238E27FC236}">
                <a16:creationId xmlns:a16="http://schemas.microsoft.com/office/drawing/2014/main" id="{3E7280F3-C4B9-4B68-97DF-D1FAF0846FB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30399" y="201481"/>
            <a:ext cx="1810656" cy="957515"/>
          </a:xfrm>
          <a:prstGeom prst="rect">
            <a:avLst/>
          </a:prstGeom>
        </p:spPr>
      </p:pic>
    </p:spTree>
    <p:extLst>
      <p:ext uri="{BB962C8B-B14F-4D97-AF65-F5344CB8AC3E}">
        <p14:creationId xmlns:p14="http://schemas.microsoft.com/office/powerpoint/2010/main" val="363057028"/>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ontent slide GSE">
    <p:spTree>
      <p:nvGrpSpPr>
        <p:cNvPr id="1" name=""/>
        <p:cNvGrpSpPr/>
        <p:nvPr/>
      </p:nvGrpSpPr>
      <p:grpSpPr>
        <a:xfrm>
          <a:off x="0" y="0"/>
          <a:ext cx="0" cy="0"/>
          <a:chOff x="0" y="0"/>
          <a:chExt cx="0" cy="0"/>
        </a:xfrm>
      </p:grpSpPr>
      <p:pic>
        <p:nvPicPr>
          <p:cNvPr id="9" name="Picture 11" descr="A picture containing nature&#10;&#10;Description generated with high confidence">
            <a:extLst>
              <a:ext uri="{FF2B5EF4-FFF2-40B4-BE49-F238E27FC236}">
                <a16:creationId xmlns:a16="http://schemas.microsoft.com/office/drawing/2014/main" id="{D7FF6E83-B999-46E6-A6D5-BA72C86F5E6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Marker/>
                    </a14:imgEffect>
                    <a14:imgEffect>
                      <a14:brightnessContrast bright="-20000"/>
                    </a14:imgEffect>
                  </a14:imgLayer>
                </a14:imgProps>
              </a:ext>
            </a:extLst>
          </a:blip>
          <a:srcRect r="19243" b="81456"/>
          <a:stretch/>
        </p:blipFill>
        <p:spPr>
          <a:xfrm>
            <a:off x="10" y="0"/>
            <a:ext cx="12191996" cy="1364776"/>
          </a:xfrm>
          <a:prstGeom prst="rect">
            <a:avLst/>
          </a:prstGeom>
        </p:spPr>
      </p:pic>
      <p:sp>
        <p:nvSpPr>
          <p:cNvPr id="2" name="Espace réservé du numéro de diapositive 5"/>
          <p:cNvSpPr txBox="1">
            <a:spLocks noGrp="1"/>
          </p:cNvSpPr>
          <p:nvPr userDrawn="1"/>
        </p:nvSpPr>
        <p:spPr bwMode="auto">
          <a:xfrm>
            <a:off x="11473847" y="6553200"/>
            <a:ext cx="718159" cy="304800"/>
          </a:xfrm>
          <a:prstGeom prst="rect">
            <a:avLst/>
          </a:prstGeom>
          <a:solidFill>
            <a:srgbClr val="DDDDDD"/>
          </a:solidFill>
          <a:ln w="9525">
            <a:noFill/>
            <a:miter lim="800000"/>
            <a:headEnd/>
            <a:tailEnd/>
          </a:ln>
        </p:spPr>
        <p:txBody>
          <a:bodyPr/>
          <a:lstStyle/>
          <a:p>
            <a:pPr algn="ctr">
              <a:defRPr/>
            </a:pPr>
            <a:fld id="{692C8970-40FE-4B40-984B-FCCB47A0F331}" type="slidenum">
              <a:rPr lang="en-GB" sz="1400">
                <a:latin typeface="Gill Sans MT" panose="020B0502020104020203" pitchFamily="34" charset="0"/>
                <a:cs typeface="Calibri" pitchFamily="34" charset="0"/>
              </a:rPr>
              <a:pPr algn="ctr">
                <a:defRPr/>
              </a:pPr>
              <a:t>‹#›</a:t>
            </a:fld>
            <a:endParaRPr lang="en-GB" sz="1400" dirty="0">
              <a:latin typeface="Gill Sans MT" panose="020B0502020104020203" pitchFamily="34" charset="0"/>
              <a:cs typeface="Calibri" pitchFamily="34" charset="0"/>
            </a:endParaRPr>
          </a:p>
        </p:txBody>
      </p:sp>
      <p:pic>
        <p:nvPicPr>
          <p:cNvPr id="6" name="Picture 5">
            <a:extLst>
              <a:ext uri="{FF2B5EF4-FFF2-40B4-BE49-F238E27FC236}">
                <a16:creationId xmlns:a16="http://schemas.microsoft.com/office/drawing/2014/main" id="{0027E5B4-390D-447C-A8A4-9FDA3376BB9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10992" y="200648"/>
            <a:ext cx="1821934" cy="963479"/>
          </a:xfrm>
          <a:prstGeom prst="rect">
            <a:avLst/>
          </a:prstGeom>
        </p:spPr>
      </p:pic>
    </p:spTree>
    <p:extLst>
      <p:ext uri="{BB962C8B-B14F-4D97-AF65-F5344CB8AC3E}">
        <p14:creationId xmlns:p14="http://schemas.microsoft.com/office/powerpoint/2010/main" val="2717111296"/>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ontent slide GTE">
    <p:spTree>
      <p:nvGrpSpPr>
        <p:cNvPr id="1" name=""/>
        <p:cNvGrpSpPr/>
        <p:nvPr/>
      </p:nvGrpSpPr>
      <p:grpSpPr>
        <a:xfrm>
          <a:off x="0" y="0"/>
          <a:ext cx="0" cy="0"/>
          <a:chOff x="0" y="0"/>
          <a:chExt cx="0" cy="0"/>
        </a:xfrm>
      </p:grpSpPr>
      <p:pic>
        <p:nvPicPr>
          <p:cNvPr id="9" name="Picture 11" descr="A picture containing nature&#10;&#10;Description generated with high confidence">
            <a:extLst>
              <a:ext uri="{FF2B5EF4-FFF2-40B4-BE49-F238E27FC236}">
                <a16:creationId xmlns:a16="http://schemas.microsoft.com/office/drawing/2014/main" id="{D7FF6E83-B999-46E6-A6D5-BA72C86F5E6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Marker/>
                    </a14:imgEffect>
                    <a14:imgEffect>
                      <a14:brightnessContrast bright="-20000"/>
                    </a14:imgEffect>
                  </a14:imgLayer>
                </a14:imgProps>
              </a:ext>
            </a:extLst>
          </a:blip>
          <a:srcRect r="19243" b="81456"/>
          <a:stretch/>
        </p:blipFill>
        <p:spPr>
          <a:xfrm>
            <a:off x="10" y="0"/>
            <a:ext cx="12191996" cy="1364776"/>
          </a:xfrm>
          <a:prstGeom prst="rect">
            <a:avLst/>
          </a:prstGeom>
        </p:spPr>
      </p:pic>
      <p:sp>
        <p:nvSpPr>
          <p:cNvPr id="2" name="Espace réservé du numéro de diapositive 5"/>
          <p:cNvSpPr txBox="1">
            <a:spLocks noGrp="1"/>
          </p:cNvSpPr>
          <p:nvPr userDrawn="1"/>
        </p:nvSpPr>
        <p:spPr bwMode="auto">
          <a:xfrm>
            <a:off x="11473847" y="6553200"/>
            <a:ext cx="718159" cy="304800"/>
          </a:xfrm>
          <a:prstGeom prst="rect">
            <a:avLst/>
          </a:prstGeom>
          <a:solidFill>
            <a:srgbClr val="DDDDDD"/>
          </a:solidFill>
          <a:ln w="9525">
            <a:noFill/>
            <a:miter lim="800000"/>
            <a:headEnd/>
            <a:tailEnd/>
          </a:ln>
        </p:spPr>
        <p:txBody>
          <a:bodyPr/>
          <a:lstStyle/>
          <a:p>
            <a:pPr algn="ctr">
              <a:defRPr/>
            </a:pPr>
            <a:fld id="{692C8970-40FE-4B40-984B-FCCB47A0F331}" type="slidenum">
              <a:rPr lang="en-GB" sz="1400">
                <a:latin typeface="Gill Sans MT" panose="020B0502020104020203" pitchFamily="34" charset="0"/>
                <a:cs typeface="Calibri" pitchFamily="34" charset="0"/>
              </a:rPr>
              <a:pPr algn="ctr">
                <a:defRPr/>
              </a:pPr>
              <a:t>‹#›</a:t>
            </a:fld>
            <a:endParaRPr lang="en-GB" sz="1400" dirty="0">
              <a:latin typeface="Gill Sans MT" panose="020B0502020104020203" pitchFamily="34" charset="0"/>
              <a:cs typeface="Calibri" pitchFamily="34" charset="0"/>
            </a:endParaRPr>
          </a:p>
        </p:txBody>
      </p:sp>
      <p:pic>
        <p:nvPicPr>
          <p:cNvPr id="6" name="Picture 5">
            <a:extLst>
              <a:ext uri="{FF2B5EF4-FFF2-40B4-BE49-F238E27FC236}">
                <a16:creationId xmlns:a16="http://schemas.microsoft.com/office/drawing/2014/main" id="{DBB25B8B-235F-4187-AFB2-2347025D1575}"/>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16202" y="202026"/>
            <a:ext cx="1816724" cy="960724"/>
          </a:xfrm>
          <a:prstGeom prst="rect">
            <a:avLst/>
          </a:prstGeom>
        </p:spPr>
      </p:pic>
    </p:spTree>
    <p:extLst>
      <p:ext uri="{BB962C8B-B14F-4D97-AF65-F5344CB8AC3E}">
        <p14:creationId xmlns:p14="http://schemas.microsoft.com/office/powerpoint/2010/main" val="1964219736"/>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8_GSE PLAN">
    <p:spTree>
      <p:nvGrpSpPr>
        <p:cNvPr id="1" name=""/>
        <p:cNvGrpSpPr/>
        <p:nvPr/>
      </p:nvGrpSpPr>
      <p:grpSpPr>
        <a:xfrm>
          <a:off x="0" y="0"/>
          <a:ext cx="0" cy="0"/>
          <a:chOff x="0" y="0"/>
          <a:chExt cx="0" cy="0"/>
        </a:xfrm>
      </p:grpSpPr>
      <p:pic>
        <p:nvPicPr>
          <p:cNvPr id="9" name="Picture 11" descr="A picture containing nature&#10;&#10;Description generated with high confidence">
            <a:extLst>
              <a:ext uri="{FF2B5EF4-FFF2-40B4-BE49-F238E27FC236}">
                <a16:creationId xmlns:a16="http://schemas.microsoft.com/office/drawing/2014/main" id="{D7FF6E83-B999-46E6-A6D5-BA72C86F5E6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Marker/>
                    </a14:imgEffect>
                    <a14:imgEffect>
                      <a14:brightnessContrast bright="-20000"/>
                    </a14:imgEffect>
                  </a14:imgLayer>
                </a14:imgProps>
              </a:ext>
            </a:extLst>
          </a:blip>
          <a:srcRect r="19243" b="81456"/>
          <a:stretch/>
        </p:blipFill>
        <p:spPr>
          <a:xfrm>
            <a:off x="10" y="0"/>
            <a:ext cx="12191996" cy="1364776"/>
          </a:xfrm>
          <a:prstGeom prst="rect">
            <a:avLst/>
          </a:prstGeom>
        </p:spPr>
      </p:pic>
      <p:sp>
        <p:nvSpPr>
          <p:cNvPr id="2" name="Espace réservé du numéro de diapositive 5"/>
          <p:cNvSpPr txBox="1">
            <a:spLocks noGrp="1"/>
          </p:cNvSpPr>
          <p:nvPr userDrawn="1"/>
        </p:nvSpPr>
        <p:spPr bwMode="auto">
          <a:xfrm>
            <a:off x="11473847" y="6553200"/>
            <a:ext cx="718159" cy="304800"/>
          </a:xfrm>
          <a:prstGeom prst="rect">
            <a:avLst/>
          </a:prstGeom>
          <a:solidFill>
            <a:srgbClr val="DDDDDD"/>
          </a:solidFill>
          <a:ln w="9525">
            <a:noFill/>
            <a:miter lim="800000"/>
            <a:headEnd/>
            <a:tailEnd/>
          </a:ln>
        </p:spPr>
        <p:txBody>
          <a:bodyPr/>
          <a:lstStyle/>
          <a:p>
            <a:pPr algn="ctr">
              <a:defRPr/>
            </a:pPr>
            <a:fld id="{692C8970-40FE-4B40-984B-FCCB47A0F331}" type="slidenum">
              <a:rPr lang="en-GB" sz="1400">
                <a:latin typeface="Gill Sans MT" panose="020B0502020104020203" pitchFamily="34" charset="0"/>
                <a:cs typeface="Calibri" pitchFamily="34" charset="0"/>
              </a:rPr>
              <a:pPr algn="ctr">
                <a:defRPr/>
              </a:pPr>
              <a:t>‹#›</a:t>
            </a:fld>
            <a:endParaRPr lang="en-GB" sz="1400" dirty="0">
              <a:latin typeface="Gill Sans MT" panose="020B0502020104020203" pitchFamily="34" charset="0"/>
              <a:cs typeface="Calibri" pitchFamily="34" charset="0"/>
            </a:endParaRPr>
          </a:p>
        </p:txBody>
      </p:sp>
      <p:pic>
        <p:nvPicPr>
          <p:cNvPr id="15" name="Picture 14">
            <a:extLst>
              <a:ext uri="{FF2B5EF4-FFF2-40B4-BE49-F238E27FC236}">
                <a16:creationId xmlns:a16="http://schemas.microsoft.com/office/drawing/2014/main" id="{3E4B7F59-ACF6-48CA-BB92-285D466FF89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049004" y="236650"/>
            <a:ext cx="1783922" cy="943377"/>
          </a:xfrm>
          <a:prstGeom prst="rect">
            <a:avLst/>
          </a:prstGeom>
        </p:spPr>
      </p:pic>
    </p:spTree>
    <p:extLst>
      <p:ext uri="{BB962C8B-B14F-4D97-AF65-F5344CB8AC3E}">
        <p14:creationId xmlns:p14="http://schemas.microsoft.com/office/powerpoint/2010/main" val="1393314811"/>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88564-F18D-4B9A-A1F9-405CE6AA8BB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B42B7BF-CD0F-4A6B-8996-F855DFF368D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5F5D826-76DA-4E16-AFEC-5B4271A8A438}"/>
              </a:ext>
            </a:extLst>
          </p:cNvPr>
          <p:cNvSpPr>
            <a:spLocks noGrp="1"/>
          </p:cNvSpPr>
          <p:nvPr>
            <p:ph type="dt" sz="half" idx="10"/>
          </p:nvPr>
        </p:nvSpPr>
        <p:spPr/>
        <p:txBody>
          <a:bodyPr/>
          <a:lstStyle/>
          <a:p>
            <a:fld id="{EF077F79-FAC2-408A-96E0-8856C03B18A0}" type="datetimeFigureOut">
              <a:rPr lang="en-GB" smtClean="0"/>
              <a:t>03/06/2019</a:t>
            </a:fld>
            <a:endParaRPr lang="en-GB"/>
          </a:p>
        </p:txBody>
      </p:sp>
      <p:sp>
        <p:nvSpPr>
          <p:cNvPr id="5" name="Footer Placeholder 4">
            <a:extLst>
              <a:ext uri="{FF2B5EF4-FFF2-40B4-BE49-F238E27FC236}">
                <a16:creationId xmlns:a16="http://schemas.microsoft.com/office/drawing/2014/main" id="{F8EF2164-AD49-4909-94C0-0821199A75C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BB5BD88-C2F9-4731-9C3A-65AE40FD87D4}"/>
              </a:ext>
            </a:extLst>
          </p:cNvPr>
          <p:cNvSpPr>
            <a:spLocks noGrp="1"/>
          </p:cNvSpPr>
          <p:nvPr>
            <p:ph type="sldNum" sz="quarter" idx="12"/>
          </p:nvPr>
        </p:nvSpPr>
        <p:spPr/>
        <p:txBody>
          <a:bodyPr/>
          <a:lstStyle/>
          <a:p>
            <a:fld id="{E80D1E0A-C0DC-4264-A751-82FF53DEC6BC}" type="slidenum">
              <a:rPr lang="en-GB" smtClean="0"/>
              <a:t>‹#›</a:t>
            </a:fld>
            <a:endParaRPr lang="en-GB"/>
          </a:p>
        </p:txBody>
      </p:sp>
    </p:spTree>
    <p:extLst>
      <p:ext uri="{BB962C8B-B14F-4D97-AF65-F5344CB8AC3E}">
        <p14:creationId xmlns:p14="http://schemas.microsoft.com/office/powerpoint/2010/main" val="34674486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35A087-ED4C-4F5C-8222-72C349E32A3B}"/>
              </a:ext>
            </a:extLst>
          </p:cNvPr>
          <p:cNvSpPr/>
          <p:nvPr userDrawn="1"/>
        </p:nvSpPr>
        <p:spPr>
          <a:xfrm>
            <a:off x="9549683" y="242524"/>
            <a:ext cx="2306515" cy="1170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7" name="Picture 6" descr="A picture containing nature&#10;&#10;Description generated with high confidence">
            <a:extLst>
              <a:ext uri="{FF2B5EF4-FFF2-40B4-BE49-F238E27FC236}">
                <a16:creationId xmlns:a16="http://schemas.microsoft.com/office/drawing/2014/main" id="{E32BB3C6-8229-41C9-94DD-87B3DA949188}"/>
              </a:ext>
            </a:extLst>
          </p:cNvPr>
          <p:cNvPicPr>
            <a:picLocks noChangeAspect="1"/>
          </p:cNvPicPr>
          <p:nvPr userDrawn="1"/>
        </p:nvPicPr>
        <p:blipFill rotWithShape="1">
          <a:blip r:embed="rId2"/>
          <a:srcRect r="19243" b="19243"/>
          <a:stretch/>
        </p:blipFill>
        <p:spPr>
          <a:xfrm>
            <a:off x="0" y="0"/>
            <a:ext cx="12192000" cy="6858000"/>
          </a:xfrm>
          <a:prstGeom prst="rect">
            <a:avLst/>
          </a:prstGeom>
        </p:spPr>
      </p:pic>
      <p:sp>
        <p:nvSpPr>
          <p:cNvPr id="4" name="Rectangle 3">
            <a:extLst>
              <a:ext uri="{FF2B5EF4-FFF2-40B4-BE49-F238E27FC236}">
                <a16:creationId xmlns:a16="http://schemas.microsoft.com/office/drawing/2014/main" id="{1ECE9CD2-31F2-4055-8344-57E1153830F3}"/>
              </a:ext>
            </a:extLst>
          </p:cNvPr>
          <p:cNvSpPr/>
          <p:nvPr userDrawn="1"/>
        </p:nvSpPr>
        <p:spPr>
          <a:xfrm>
            <a:off x="0" y="1628800"/>
            <a:ext cx="12192000" cy="522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AA58A6CA-DAC7-4B58-9616-69920C1CB358}"/>
              </a:ext>
            </a:extLst>
          </p:cNvPr>
          <p:cNvSpPr/>
          <p:nvPr userDrawn="1"/>
        </p:nvSpPr>
        <p:spPr>
          <a:xfrm>
            <a:off x="9549681" y="242524"/>
            <a:ext cx="2256005" cy="1170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5" name="Picture 4" descr="A close up of a logo&#10;&#10;Description generated with high confidence">
            <a:extLst>
              <a:ext uri="{FF2B5EF4-FFF2-40B4-BE49-F238E27FC236}">
                <a16:creationId xmlns:a16="http://schemas.microsoft.com/office/drawing/2014/main" id="{F5AA4B4B-1DA0-4B85-9AD0-A0DE69F8265E}"/>
              </a:ext>
            </a:extLst>
          </p:cNvPr>
          <p:cNvPicPr>
            <a:picLocks noChangeAspect="1"/>
          </p:cNvPicPr>
          <p:nvPr userDrawn="1"/>
        </p:nvPicPr>
        <p:blipFill>
          <a:blip r:embed="rId3"/>
          <a:stretch>
            <a:fillRect/>
          </a:stretch>
        </p:blipFill>
        <p:spPr>
          <a:xfrm>
            <a:off x="9600191" y="242524"/>
            <a:ext cx="2205497" cy="1170043"/>
          </a:xfrm>
          <a:prstGeom prst="rect">
            <a:avLst/>
          </a:prstGeom>
        </p:spPr>
      </p:pic>
    </p:spTree>
    <p:extLst>
      <p:ext uri="{BB962C8B-B14F-4D97-AF65-F5344CB8AC3E}">
        <p14:creationId xmlns:p14="http://schemas.microsoft.com/office/powerpoint/2010/main" val="320554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Agenda slide GIE">
    <p:spTree>
      <p:nvGrpSpPr>
        <p:cNvPr id="1" name=""/>
        <p:cNvGrpSpPr/>
        <p:nvPr/>
      </p:nvGrpSpPr>
      <p:grpSpPr>
        <a:xfrm>
          <a:off x="0" y="0"/>
          <a:ext cx="0" cy="0"/>
          <a:chOff x="0" y="0"/>
          <a:chExt cx="0" cy="0"/>
        </a:xfrm>
      </p:grpSpPr>
      <p:pic>
        <p:nvPicPr>
          <p:cNvPr id="7" name="Picture 6" descr="A picture containing nature&#10;&#10;Description generated with high confidence">
            <a:extLst>
              <a:ext uri="{FF2B5EF4-FFF2-40B4-BE49-F238E27FC236}">
                <a16:creationId xmlns:a16="http://schemas.microsoft.com/office/drawing/2014/main" id="{E32BB3C6-8229-41C9-94DD-87B3DA949188}"/>
              </a:ext>
            </a:extLst>
          </p:cNvPr>
          <p:cNvPicPr>
            <a:picLocks noChangeAspect="1"/>
          </p:cNvPicPr>
          <p:nvPr userDrawn="1"/>
        </p:nvPicPr>
        <p:blipFill rotWithShape="1">
          <a:blip r:embed="rId2"/>
          <a:srcRect r="787" b="787"/>
          <a:stretch/>
        </p:blipFill>
        <p:spPr>
          <a:xfrm>
            <a:off x="0" y="0"/>
            <a:ext cx="12192000" cy="6858000"/>
          </a:xfrm>
          <a:prstGeom prst="rect">
            <a:avLst/>
          </a:prstGeom>
        </p:spPr>
      </p:pic>
      <p:pic>
        <p:nvPicPr>
          <p:cNvPr id="4" name="Picture 3">
            <a:extLst>
              <a:ext uri="{FF2B5EF4-FFF2-40B4-BE49-F238E27FC236}">
                <a16:creationId xmlns:a16="http://schemas.microsoft.com/office/drawing/2014/main" id="{FDE67793-5C82-4FDE-986D-7401B753FBE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65210" y="4478215"/>
            <a:ext cx="4168882" cy="2098431"/>
          </a:xfrm>
          <a:prstGeom prst="rect">
            <a:avLst/>
          </a:prstGeom>
        </p:spPr>
      </p:pic>
    </p:spTree>
    <p:extLst>
      <p:ext uri="{BB962C8B-B14F-4D97-AF65-F5344CB8AC3E}">
        <p14:creationId xmlns:p14="http://schemas.microsoft.com/office/powerpoint/2010/main" val="166804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pic>
        <p:nvPicPr>
          <p:cNvPr id="10" name="Grafik 9" descr="l_entsog_ppt.jpg"/>
          <p:cNvPicPr>
            <a:picLocks noChangeAspect="1"/>
          </p:cNvPicPr>
          <p:nvPr userDrawn="1"/>
        </p:nvPicPr>
        <p:blipFill>
          <a:blip r:embed="rId2" cstate="print"/>
          <a:stretch>
            <a:fillRect/>
          </a:stretch>
        </p:blipFill>
        <p:spPr>
          <a:xfrm>
            <a:off x="0" y="4573"/>
            <a:ext cx="12313920" cy="6908109"/>
          </a:xfrm>
          <a:prstGeom prst="rect">
            <a:avLst/>
          </a:prstGeom>
        </p:spPr>
      </p:pic>
      <p:sp>
        <p:nvSpPr>
          <p:cNvPr id="13" name="Rechteck 12"/>
          <p:cNvSpPr/>
          <p:nvPr userDrawn="1"/>
        </p:nvSpPr>
        <p:spPr>
          <a:xfrm>
            <a:off x="2592000" y="2520000"/>
            <a:ext cx="9600000" cy="3240000"/>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itle 4"/>
          <p:cNvSpPr>
            <a:spLocks noGrp="1"/>
          </p:cNvSpPr>
          <p:nvPr>
            <p:ph type="ctrTitle" hasCustomPrompt="1"/>
          </p:nvPr>
        </p:nvSpPr>
        <p:spPr bwMode="auto">
          <a:xfrm>
            <a:off x="2592000" y="2637008"/>
            <a:ext cx="9600000" cy="864000"/>
          </a:xfrm>
          <a:prstGeom prst="rect">
            <a:avLst/>
          </a:prstGeom>
          <a:noFill/>
          <a:ln>
            <a:miter lim="800000"/>
            <a:headEnd/>
            <a:tailEnd/>
          </a:ln>
        </p:spPr>
        <p:txBody>
          <a:bodyPr vert="horz" wrap="square" lIns="91440" tIns="45720" rIns="91440" bIns="45720" numCol="1" anchor="t" anchorCtr="0" compatLnSpc="1">
            <a:prstTxWarp prst="textNoShape">
              <a:avLst/>
            </a:prstTxWarp>
            <a:normAutofit/>
          </a:bodyPr>
          <a:lstStyle>
            <a:lvl1pPr algn="l">
              <a:defRPr b="1" baseline="0">
                <a:solidFill>
                  <a:schemeClr val="tx1"/>
                </a:solidFill>
                <a:latin typeface="+mj-lt"/>
              </a:defRPr>
            </a:lvl1pPr>
          </a:lstStyle>
          <a:p>
            <a:r>
              <a:rPr lang="en-GB" sz="4400" noProof="0" dirty="0">
                <a:solidFill>
                  <a:schemeClr val="tx1"/>
                </a:solidFill>
                <a:ea typeface="ＭＳ Ｐゴシック"/>
                <a:cs typeface="ＭＳ Ｐゴシック"/>
              </a:rPr>
              <a:t>Cover title</a:t>
            </a:r>
          </a:p>
        </p:txBody>
      </p:sp>
      <p:sp>
        <p:nvSpPr>
          <p:cNvPr id="7" name="Text Placeholder 17"/>
          <p:cNvSpPr>
            <a:spLocks noGrp="1"/>
          </p:cNvSpPr>
          <p:nvPr>
            <p:ph type="body" sz="quarter" idx="12" hasCustomPrompt="1"/>
          </p:nvPr>
        </p:nvSpPr>
        <p:spPr>
          <a:xfrm>
            <a:off x="2592001" y="4797152"/>
            <a:ext cx="6360225" cy="936104"/>
          </a:xfrm>
          <a:prstGeom prst="rect">
            <a:avLst/>
          </a:prstGeom>
        </p:spPr>
        <p:txBody>
          <a:bodyPr/>
          <a:lstStyle>
            <a:lvl1pPr marL="0" indent="0" algn="l">
              <a:buFontTx/>
              <a:buNone/>
              <a:defRPr sz="1800" b="1" i="0" baseline="0">
                <a:solidFill>
                  <a:srgbClr val="000000"/>
                </a:solidFill>
              </a:defRPr>
            </a:lvl1pPr>
          </a:lstStyle>
          <a:p>
            <a:pPr lvl="0"/>
            <a:r>
              <a:rPr lang="en-GB" noProof="0" dirty="0"/>
              <a:t>Name: ENTSOG representative</a:t>
            </a:r>
            <a:br>
              <a:rPr lang="en-GB" noProof="0" dirty="0"/>
            </a:br>
            <a:r>
              <a:rPr lang="en-GB" noProof="0" dirty="0"/>
              <a:t>Position: Adviser/EGM/President</a:t>
            </a:r>
          </a:p>
        </p:txBody>
      </p:sp>
      <p:sp>
        <p:nvSpPr>
          <p:cNvPr id="8" name="Text Placeholder 19"/>
          <p:cNvSpPr>
            <a:spLocks noGrp="1"/>
          </p:cNvSpPr>
          <p:nvPr>
            <p:ph type="body" sz="quarter" idx="13" hasCustomPrompt="1"/>
          </p:nvPr>
        </p:nvSpPr>
        <p:spPr>
          <a:xfrm>
            <a:off x="2592000" y="3600001"/>
            <a:ext cx="8064896" cy="503733"/>
          </a:xfrm>
          <a:prstGeom prst="rect">
            <a:avLst/>
          </a:prstGeom>
        </p:spPr>
        <p:txBody>
          <a:bodyPr/>
          <a:lstStyle>
            <a:lvl1pPr marL="0" indent="0" algn="l">
              <a:buFontTx/>
              <a:buNone/>
              <a:defRPr sz="2800" b="1">
                <a:solidFill>
                  <a:schemeClr val="accent2"/>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noProof="0" dirty="0"/>
              <a:t>Cover subtitle</a:t>
            </a:r>
          </a:p>
        </p:txBody>
      </p:sp>
      <p:sp>
        <p:nvSpPr>
          <p:cNvPr id="9" name="Text Placeholder 21"/>
          <p:cNvSpPr>
            <a:spLocks noGrp="1"/>
          </p:cNvSpPr>
          <p:nvPr>
            <p:ph type="body" sz="quarter" idx="14" hasCustomPrompt="1"/>
          </p:nvPr>
        </p:nvSpPr>
        <p:spPr>
          <a:xfrm>
            <a:off x="7920203" y="620688"/>
            <a:ext cx="3743424" cy="360064"/>
          </a:xfrm>
          <a:prstGeom prst="rect">
            <a:avLst/>
          </a:prstGeom>
        </p:spPr>
        <p:txBody>
          <a:bodyPr/>
          <a:lstStyle>
            <a:lvl1pPr marL="0" indent="0" algn="ctr">
              <a:buNone/>
              <a:defRPr sz="1800" b="1" baseline="0">
                <a:solidFill>
                  <a:srgbClr val="87888A"/>
                </a:solidFill>
              </a:defRPr>
            </a:lvl1pPr>
          </a:lstStyle>
          <a:p>
            <a:pPr lvl="0"/>
            <a:r>
              <a:rPr lang="en-GB" noProof="0" dirty="0"/>
              <a:t>&lt;Place&gt; -- DD Month YYYY</a:t>
            </a:r>
          </a:p>
        </p:txBody>
      </p:sp>
    </p:spTree>
    <p:extLst>
      <p:ext uri="{BB962C8B-B14F-4D97-AF65-F5344CB8AC3E}">
        <p14:creationId xmlns:p14="http://schemas.microsoft.com/office/powerpoint/2010/main" val="13490657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lour chart">
    <p:spTree>
      <p:nvGrpSpPr>
        <p:cNvPr id="1" name=""/>
        <p:cNvGrpSpPr/>
        <p:nvPr/>
      </p:nvGrpSpPr>
      <p:grpSpPr>
        <a:xfrm>
          <a:off x="0" y="0"/>
          <a:ext cx="0" cy="0"/>
          <a:chOff x="0" y="0"/>
          <a:chExt cx="0" cy="0"/>
        </a:xfrm>
      </p:grpSpPr>
      <p:sp>
        <p:nvSpPr>
          <p:cNvPr id="11"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graphicFrame>
        <p:nvGraphicFramePr>
          <p:cNvPr id="7" name="Table 6"/>
          <p:cNvGraphicFramePr>
            <a:graphicFrameLocks noGrp="1"/>
          </p:cNvGraphicFramePr>
          <p:nvPr userDrawn="1">
            <p:extLst/>
          </p:nvPr>
        </p:nvGraphicFramePr>
        <p:xfrm>
          <a:off x="527382" y="1052736"/>
          <a:ext cx="9985109" cy="5112561"/>
        </p:xfrm>
        <a:graphic>
          <a:graphicData uri="http://schemas.openxmlformats.org/drawingml/2006/table">
            <a:tbl>
              <a:tblPr firstRow="1" bandRow="1">
                <a:tableStyleId>{5C22544A-7EE6-4342-B048-85BDC9FD1C3A}</a:tableStyleId>
              </a:tblPr>
              <a:tblGrid>
                <a:gridCol w="2763736">
                  <a:extLst>
                    <a:ext uri="{9D8B030D-6E8A-4147-A177-3AD203B41FA5}">
                      <a16:colId xmlns:a16="http://schemas.microsoft.com/office/drawing/2014/main" val="20000"/>
                    </a:ext>
                  </a:extLst>
                </a:gridCol>
                <a:gridCol w="611656">
                  <a:extLst>
                    <a:ext uri="{9D8B030D-6E8A-4147-A177-3AD203B41FA5}">
                      <a16:colId xmlns:a16="http://schemas.microsoft.com/office/drawing/2014/main" val="20001"/>
                    </a:ext>
                  </a:extLst>
                </a:gridCol>
                <a:gridCol w="611656">
                  <a:extLst>
                    <a:ext uri="{9D8B030D-6E8A-4147-A177-3AD203B41FA5}">
                      <a16:colId xmlns:a16="http://schemas.microsoft.com/office/drawing/2014/main" val="20002"/>
                    </a:ext>
                  </a:extLst>
                </a:gridCol>
                <a:gridCol w="611656">
                  <a:extLst>
                    <a:ext uri="{9D8B030D-6E8A-4147-A177-3AD203B41FA5}">
                      <a16:colId xmlns:a16="http://schemas.microsoft.com/office/drawing/2014/main" val="20003"/>
                    </a:ext>
                  </a:extLst>
                </a:gridCol>
                <a:gridCol w="1459163">
                  <a:extLst>
                    <a:ext uri="{9D8B030D-6E8A-4147-A177-3AD203B41FA5}">
                      <a16:colId xmlns:a16="http://schemas.microsoft.com/office/drawing/2014/main" val="20004"/>
                    </a:ext>
                  </a:extLst>
                </a:gridCol>
                <a:gridCol w="1459163">
                  <a:extLst>
                    <a:ext uri="{9D8B030D-6E8A-4147-A177-3AD203B41FA5}">
                      <a16:colId xmlns:a16="http://schemas.microsoft.com/office/drawing/2014/main" val="20005"/>
                    </a:ext>
                  </a:extLst>
                </a:gridCol>
                <a:gridCol w="2468080">
                  <a:extLst>
                    <a:ext uri="{9D8B030D-6E8A-4147-A177-3AD203B41FA5}">
                      <a16:colId xmlns:a16="http://schemas.microsoft.com/office/drawing/2014/main" val="20006"/>
                    </a:ext>
                  </a:extLst>
                </a:gridCol>
              </a:tblGrid>
              <a:tr h="597546">
                <a:tc>
                  <a:txBody>
                    <a:bodyPr/>
                    <a:lstStyle/>
                    <a:p>
                      <a:r>
                        <a:rPr lang="en-GB" sz="1600" b="1" i="1" noProof="0" dirty="0">
                          <a:solidFill>
                            <a:srgbClr val="1F4484"/>
                          </a:solidFill>
                        </a:rPr>
                        <a:t>ENTSOG</a:t>
                      </a:r>
                      <a:r>
                        <a:rPr lang="en-GB" sz="1600" b="1" i="1" baseline="0" noProof="0" dirty="0">
                          <a:solidFill>
                            <a:srgbClr val="1F4484"/>
                          </a:solidFill>
                        </a:rPr>
                        <a:t> </a:t>
                      </a:r>
                      <a:r>
                        <a:rPr lang="en-GB" sz="1600" b="1" i="1" noProof="0" dirty="0">
                          <a:solidFill>
                            <a:srgbClr val="1F4484"/>
                          </a:solidFill>
                        </a:rPr>
                        <a:t>Colour chart</a:t>
                      </a: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600" b="1" i="1" noProof="0" dirty="0">
                          <a:solidFill>
                            <a:srgbClr val="1F4484"/>
                          </a:solidFill>
                        </a:rPr>
                        <a:t>R</a:t>
                      </a: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600" b="1" i="1" noProof="0" dirty="0">
                          <a:solidFill>
                            <a:srgbClr val="1F4484"/>
                          </a:solidFill>
                        </a:rPr>
                        <a:t>G</a:t>
                      </a: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600" b="1" i="1" noProof="0" dirty="0">
                          <a:solidFill>
                            <a:srgbClr val="1F4484"/>
                          </a:solidFill>
                        </a:rPr>
                        <a:t>B</a:t>
                      </a: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600" b="1" noProof="0" dirty="0">
                          <a:solidFill>
                            <a:srgbClr val="1F4484"/>
                          </a:solidFill>
                        </a:rPr>
                        <a:t>CMYK</a:t>
                      </a:r>
                      <a:endParaRPr lang="en-GB" sz="1600" b="1" noProof="0" dirty="0">
                        <a:solidFill>
                          <a:srgbClr val="1F4484"/>
                        </a:solidFill>
                      </a:endParaRP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600" b="1" noProof="0" dirty="0">
                        <a:solidFill>
                          <a:srgbClr val="1F4484"/>
                        </a:solidFill>
                      </a:endParaRP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1" noProof="0" dirty="0">
                          <a:solidFill>
                            <a:srgbClr val="1F4484"/>
                          </a:solidFill>
                        </a:rPr>
                        <a:t>used in (eg. NeMo)</a:t>
                      </a:r>
                      <a:endParaRPr lang="en-GB" sz="1600" b="1" noProof="0" dirty="0">
                        <a:solidFill>
                          <a:srgbClr val="1F4484"/>
                        </a:solidFill>
                      </a:endParaRPr>
                    </a:p>
                  </a:txBody>
                  <a:tcPr marL="107768" marR="107768" marT="40414" marB="404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6305">
                <a:tc>
                  <a:txBody>
                    <a:bodyPr/>
                    <a:lstStyle/>
                    <a:p>
                      <a:r>
                        <a:rPr lang="en-GB" sz="1200" b="1" baseline="0" noProof="0" dirty="0">
                          <a:solidFill>
                            <a:srgbClr val="1F4484"/>
                          </a:solidFill>
                        </a:rPr>
                        <a:t>Dark Grey</a:t>
                      </a: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28</a:t>
                      </a: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30</a:t>
                      </a: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33</a:t>
                      </a: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0/0/0/60</a:t>
                      </a:r>
                      <a:endParaRPr lang="en-GB" sz="1200" b="1" noProof="0" dirty="0">
                        <a:solidFill>
                          <a:srgbClr val="1F4484"/>
                        </a:solidFill>
                      </a:endParaRP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80828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1F4484"/>
                          </a:solidFill>
                          <a:latin typeface="+mn-lt"/>
                          <a:ea typeface="+mn-ea"/>
                          <a:cs typeface="+mn-cs"/>
                        </a:rPr>
                        <a:t>Presentation, (NP)</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96305">
                <a:tc>
                  <a:txBody>
                    <a:bodyPr/>
                    <a:lstStyle/>
                    <a:p>
                      <a:r>
                        <a:rPr lang="en-GB" sz="1200" b="1" baseline="0" noProof="0" dirty="0">
                          <a:solidFill>
                            <a:srgbClr val="1F4484"/>
                          </a:solidFill>
                        </a:rPr>
                        <a:t>Grey</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91</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91</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91</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25/20/20/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FBFBF"/>
                    </a:solidFill>
                  </a:tcPr>
                </a:tc>
                <a:tc>
                  <a:txBody>
                    <a:bodyPr/>
                    <a:lstStyle/>
                    <a:p>
                      <a:r>
                        <a:rPr lang="de-DE" sz="1200" b="1" kern="1200" noProof="0" dirty="0">
                          <a:solidFill>
                            <a:srgbClr val="1F4484"/>
                          </a:solidFill>
                          <a:latin typeface="+mn-lt"/>
                          <a:ea typeface="+mn-ea"/>
                          <a:cs typeface="+mn-cs"/>
                        </a:rPr>
                        <a:t>Presentation</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96305">
                <a:tc>
                  <a:txBody>
                    <a:bodyPr/>
                    <a:lstStyle/>
                    <a:p>
                      <a:r>
                        <a:rPr lang="en-GB" sz="1200" b="1" baseline="0" noProof="0" dirty="0">
                          <a:solidFill>
                            <a:srgbClr val="1F4484"/>
                          </a:solidFill>
                        </a:rPr>
                        <a:t>Light Grey</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217</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217</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217</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4/10/11/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9D9D9"/>
                    </a:solidFill>
                  </a:tcPr>
                </a:tc>
                <a:tc>
                  <a:txBody>
                    <a:bodyPr/>
                    <a:lstStyle/>
                    <a:p>
                      <a:r>
                        <a:rPr lang="de-DE" sz="1200" b="1" kern="1200" noProof="0" dirty="0">
                          <a:solidFill>
                            <a:srgbClr val="1F4484"/>
                          </a:solidFill>
                          <a:latin typeface="+mn-lt"/>
                          <a:ea typeface="+mn-ea"/>
                          <a:cs typeface="+mn-cs"/>
                        </a:rPr>
                        <a:t>Presentation</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96305">
                <a:tc>
                  <a:txBody>
                    <a:bodyPr/>
                    <a:lstStyle/>
                    <a:p>
                      <a:r>
                        <a:rPr lang="de-DE" sz="1200" b="1" baseline="0" noProof="0" dirty="0">
                          <a:solidFill>
                            <a:srgbClr val="D9D9D9"/>
                          </a:solidFill>
                        </a:rPr>
                        <a:t>Grey</a:t>
                      </a:r>
                      <a:endParaRPr lang="en-GB" sz="1200" b="1" baseline="0"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baseline="0" noProof="0" dirty="0">
                          <a:solidFill>
                            <a:srgbClr val="D9D9D9"/>
                          </a:solidFill>
                        </a:rPr>
                        <a:t>234</a:t>
                      </a:r>
                      <a:endParaRPr lang="en-GB" sz="1200" b="1" baseline="0"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baseline="0" noProof="0" dirty="0">
                          <a:solidFill>
                            <a:srgbClr val="D9D9D9"/>
                          </a:solidFill>
                        </a:rPr>
                        <a:t>231</a:t>
                      </a:r>
                      <a:endParaRPr lang="en-GB" sz="1200" b="1" baseline="0"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baseline="0" noProof="0" dirty="0">
                          <a:solidFill>
                            <a:srgbClr val="D9D9D9"/>
                          </a:solidFill>
                        </a:rPr>
                        <a:t>222</a:t>
                      </a:r>
                      <a:endParaRPr lang="en-GB" sz="1200" b="1" baseline="0"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kern="1200" baseline="0" noProof="0" dirty="0">
                          <a:solidFill>
                            <a:srgbClr val="D9D9D9"/>
                          </a:solidFill>
                          <a:latin typeface="+mn-lt"/>
                          <a:ea typeface="+mn-ea"/>
                          <a:cs typeface="+mn-cs"/>
                        </a:rPr>
                        <a:t>7/6/11/0</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7DE"/>
                    </a:solidFill>
                  </a:tcPr>
                </a:tc>
                <a:tc>
                  <a:txBody>
                    <a:bodyPr/>
                    <a:lstStyle/>
                    <a:p>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96305">
                <a:tc>
                  <a:txBody>
                    <a:bodyPr/>
                    <a:lstStyle/>
                    <a:p>
                      <a:r>
                        <a:rPr lang="en-GB" sz="1200" b="1" baseline="0" noProof="0" dirty="0">
                          <a:solidFill>
                            <a:srgbClr val="1F4484"/>
                          </a:solidFill>
                        </a:rPr>
                        <a:t>Dark Blue (ENTSOG)</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31</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68</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32</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99/84/18/6</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F4484"/>
                    </a:solidFill>
                  </a:tcPr>
                </a:tc>
                <a:tc>
                  <a:txBody>
                    <a:bodyPr/>
                    <a:lstStyle/>
                    <a:p>
                      <a:r>
                        <a:rPr lang="de-DE" sz="1200" b="1" kern="1200" noProof="0" dirty="0">
                          <a:solidFill>
                            <a:srgbClr val="1F4484"/>
                          </a:solidFill>
                          <a:latin typeface="+mn-lt"/>
                          <a:ea typeface="+mn-ea"/>
                          <a:cs typeface="+mn-cs"/>
                        </a:rPr>
                        <a:t>Presentation,</a:t>
                      </a:r>
                      <a:r>
                        <a:rPr lang="de-DE" sz="1200" b="1" kern="1200" baseline="0" noProof="0" dirty="0">
                          <a:solidFill>
                            <a:srgbClr val="1F4484"/>
                          </a:solidFill>
                          <a:latin typeface="+mn-lt"/>
                          <a:ea typeface="+mn-ea"/>
                          <a:cs typeface="+mn-cs"/>
                        </a:rPr>
                        <a:t> (LNG)</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96305">
                <a:tc>
                  <a:txBody>
                    <a:bodyPr/>
                    <a:lstStyle/>
                    <a:p>
                      <a:pPr marL="0" algn="l" defTabSz="914400" rtl="0" eaLnBrk="1" latinLnBrk="0" hangingPunct="1"/>
                      <a:r>
                        <a:rPr lang="en-GB" sz="1200" b="1" kern="1200" baseline="0" noProof="0" dirty="0">
                          <a:solidFill>
                            <a:srgbClr val="D9D9D9"/>
                          </a:solidFill>
                          <a:latin typeface="+mn-lt"/>
                          <a:ea typeface="+mn-ea"/>
                          <a:cs typeface="+mn-cs"/>
                        </a:rPr>
                        <a:t>Blue</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9</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56</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216</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75/23/0/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39CD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196305">
                <a:tc>
                  <a:txBody>
                    <a:bodyPr/>
                    <a:lstStyle/>
                    <a:p>
                      <a:r>
                        <a:rPr lang="de-DE" sz="1200" b="1" noProof="0" dirty="0">
                          <a:solidFill>
                            <a:srgbClr val="1F4484"/>
                          </a:solidFill>
                        </a:rPr>
                        <a:t>Blue</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62</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08</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64</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kern="1200" noProof="0" dirty="0">
                          <a:solidFill>
                            <a:srgbClr val="1F4484"/>
                          </a:solidFill>
                          <a:latin typeface="+mn-lt"/>
                          <a:ea typeface="+mn-ea"/>
                          <a:cs typeface="+mn-cs"/>
                        </a:rPr>
                        <a:t>82/57/12/1</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E6CA4"/>
                    </a:solidFill>
                  </a:tcPr>
                </a:tc>
                <a:tc>
                  <a:txBody>
                    <a:bodyPr/>
                    <a:lstStyle/>
                    <a:p>
                      <a:r>
                        <a:rPr lang="de-DE" sz="1200" b="1" kern="1200" noProof="0" dirty="0">
                          <a:solidFill>
                            <a:srgbClr val="1F4484"/>
                          </a:solidFill>
                          <a:latin typeface="+mn-lt"/>
                          <a:ea typeface="+mn-ea"/>
                          <a:cs typeface="+mn-cs"/>
                        </a:rPr>
                        <a:t>Presentation</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196305">
                <a:tc>
                  <a:txBody>
                    <a:bodyPr/>
                    <a:lstStyle/>
                    <a:p>
                      <a:r>
                        <a:rPr lang="de-DE" sz="1200" b="1" noProof="0" dirty="0">
                          <a:solidFill>
                            <a:srgbClr val="1F4484"/>
                          </a:solidFill>
                        </a:rPr>
                        <a:t>Middle Blue</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07</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49</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99</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kern="1200" noProof="0" dirty="0">
                          <a:solidFill>
                            <a:srgbClr val="1F4484"/>
                          </a:solidFill>
                          <a:latin typeface="+mn-lt"/>
                          <a:ea typeface="+mn-ea"/>
                          <a:cs typeface="+mn-cs"/>
                        </a:rPr>
                        <a:t>0/34/4/0</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6B95C7"/>
                    </a:solidFill>
                  </a:tcPr>
                </a:tc>
                <a:tc>
                  <a:txBody>
                    <a:bodyPr/>
                    <a:lstStyle/>
                    <a:p>
                      <a:r>
                        <a:rPr lang="de-DE" sz="1200" b="1" kern="1200" noProof="0" dirty="0">
                          <a:solidFill>
                            <a:srgbClr val="1F4484"/>
                          </a:solidFill>
                          <a:latin typeface="+mn-lt"/>
                          <a:ea typeface="+mn-ea"/>
                          <a:cs typeface="+mn-cs"/>
                        </a:rPr>
                        <a:t>Presentation</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196305">
                <a:tc>
                  <a:txBody>
                    <a:bodyPr/>
                    <a:lstStyle/>
                    <a:p>
                      <a:r>
                        <a:rPr lang="de-DE" sz="1200" b="1" noProof="0" dirty="0">
                          <a:solidFill>
                            <a:srgbClr val="1F4484"/>
                          </a:solidFill>
                        </a:rPr>
                        <a:t>Light Blue</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77</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99</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225</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kern="1200" noProof="0" dirty="0">
                          <a:solidFill>
                            <a:srgbClr val="1F4484"/>
                          </a:solidFill>
                          <a:latin typeface="+mn-lt"/>
                          <a:ea typeface="+mn-ea"/>
                          <a:cs typeface="+mn-cs"/>
                        </a:rPr>
                        <a:t>29/14/3/0</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1C7E1"/>
                    </a:solidFill>
                  </a:tcPr>
                </a:tc>
                <a:tc>
                  <a:txBody>
                    <a:bodyPr/>
                    <a:lstStyle/>
                    <a:p>
                      <a:r>
                        <a:rPr lang="de-DE" sz="1200" b="1" kern="1200" noProof="0" dirty="0">
                          <a:solidFill>
                            <a:srgbClr val="1F4484"/>
                          </a:solidFill>
                          <a:latin typeface="+mn-lt"/>
                          <a:ea typeface="+mn-ea"/>
                          <a:cs typeface="+mn-cs"/>
                        </a:rPr>
                        <a:t>Presentation</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196305">
                <a:tc>
                  <a:txBody>
                    <a:bodyPr/>
                    <a:lstStyle/>
                    <a:p>
                      <a:pPr marL="0" algn="l" defTabSz="914400" rtl="0" eaLnBrk="1" latinLnBrk="0" hangingPunct="1"/>
                      <a:r>
                        <a:rPr lang="de-DE" sz="1200" b="1" kern="1200" baseline="0" noProof="0" dirty="0">
                          <a:solidFill>
                            <a:srgbClr val="D9D9D9"/>
                          </a:solidFill>
                          <a:latin typeface="+mn-lt"/>
                          <a:ea typeface="+mn-ea"/>
                          <a:cs typeface="+mn-cs"/>
                        </a:rPr>
                        <a:t>Bluish</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217</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233</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247</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kern="1200" noProof="0" dirty="0">
                          <a:solidFill>
                            <a:srgbClr val="D9D9D9"/>
                          </a:solidFill>
                          <a:latin typeface="+mn-lt"/>
                          <a:ea typeface="+mn-ea"/>
                          <a:cs typeface="+mn-cs"/>
                        </a:rPr>
                        <a:t>13/3/0/0</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9E9F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196305">
                <a:tc>
                  <a:txBody>
                    <a:bodyPr/>
                    <a:lstStyle/>
                    <a:p>
                      <a:pPr marL="0" algn="l" defTabSz="914400" rtl="0" eaLnBrk="1" latinLnBrk="0" hangingPunct="1"/>
                      <a:r>
                        <a:rPr lang="de-DE" sz="1200" b="1" kern="1200" baseline="0" noProof="0" dirty="0">
                          <a:solidFill>
                            <a:srgbClr val="1F4484"/>
                          </a:solidFill>
                          <a:latin typeface="+mn-lt"/>
                          <a:ea typeface="+mn-ea"/>
                          <a:cs typeface="+mn-cs"/>
                        </a:rPr>
                        <a:t>Dark Green</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130</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152</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36</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54/25/100/5</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829824"/>
                    </a:solidFill>
                  </a:tcPr>
                </a:tc>
                <a:tc>
                  <a:txBody>
                    <a:bodyPr/>
                    <a:lstStyle/>
                    <a:p>
                      <a:r>
                        <a:rPr lang="de-DE" sz="1200" b="1" kern="1200" noProof="0" dirty="0">
                          <a:solidFill>
                            <a:srgbClr val="1F4484"/>
                          </a:solidFill>
                          <a:latin typeface="+mn-lt"/>
                          <a:ea typeface="+mn-ea"/>
                          <a:cs typeface="+mn-cs"/>
                        </a:rPr>
                        <a:t>Presentation, (Libya)</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196305">
                <a:tc>
                  <a:txBody>
                    <a:bodyPr/>
                    <a:lstStyle/>
                    <a:p>
                      <a:pPr marL="0" algn="l" defTabSz="914400" rtl="0" eaLnBrk="1" latinLnBrk="0" hangingPunct="1"/>
                      <a:r>
                        <a:rPr lang="en-GB" sz="1200" b="1" kern="1200" baseline="0" noProof="0" dirty="0">
                          <a:solidFill>
                            <a:srgbClr val="D9D9D9"/>
                          </a:solidFill>
                          <a:latin typeface="+mn-lt"/>
                          <a:ea typeface="+mn-ea"/>
                          <a:cs typeface="+mn-cs"/>
                        </a:rPr>
                        <a:t>Green</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28</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95</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66</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55/0/100/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80C342"/>
                    </a:solidFill>
                  </a:tcPr>
                </a:tc>
                <a:tc>
                  <a:txBody>
                    <a:bodyPr/>
                    <a:lstStyle/>
                    <a:p>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196305">
                <a:tc>
                  <a:txBody>
                    <a:bodyPr/>
                    <a:lstStyle/>
                    <a:p>
                      <a:pPr marL="0" algn="l" defTabSz="914400" rtl="0" eaLnBrk="1" latinLnBrk="0" hangingPunct="1"/>
                      <a:r>
                        <a:rPr lang="de-DE" sz="1200" b="1" kern="1200" baseline="0" noProof="0" dirty="0">
                          <a:solidFill>
                            <a:srgbClr val="1F4484"/>
                          </a:solidFill>
                          <a:latin typeface="+mn-lt"/>
                          <a:ea typeface="+mn-ea"/>
                          <a:cs typeface="+mn-cs"/>
                        </a:rPr>
                        <a:t>Middle Green</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159</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186</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44</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43/10/100/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9FBA2C"/>
                    </a:solidFill>
                  </a:tcPr>
                </a:tc>
                <a:tc>
                  <a:txBody>
                    <a:bodyPr/>
                    <a:lstStyle/>
                    <a:p>
                      <a:r>
                        <a:rPr lang="de-DE" sz="1200" b="1" kern="1200" noProof="0" dirty="0">
                          <a:solidFill>
                            <a:srgbClr val="1F4484"/>
                          </a:solidFill>
                          <a:latin typeface="+mn-lt"/>
                          <a:ea typeface="+mn-ea"/>
                          <a:cs typeface="+mn-cs"/>
                        </a:rPr>
                        <a:t>Presentation, (Algeria)</a:t>
                      </a:r>
                      <a:r>
                        <a:rPr lang="de-DE" sz="1200" b="1" kern="1200" baseline="0" noProof="0" dirty="0">
                          <a:solidFill>
                            <a:srgbClr val="1F4484"/>
                          </a:solidFill>
                          <a:latin typeface="+mn-lt"/>
                          <a:ea typeface="+mn-ea"/>
                          <a:cs typeface="+mn-cs"/>
                        </a:rPr>
                        <a:t> </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196305">
                <a:tc>
                  <a:txBody>
                    <a:bodyPr/>
                    <a:lstStyle/>
                    <a:p>
                      <a:r>
                        <a:rPr lang="en-GB" sz="1200" b="1" baseline="0" noProof="0" dirty="0">
                          <a:solidFill>
                            <a:srgbClr val="1F4484"/>
                          </a:solidFill>
                        </a:rPr>
                        <a:t>Green (ENTSOG)</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193</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213</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55</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29/1/96/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1D537"/>
                    </a:solidFill>
                  </a:tcPr>
                </a:tc>
                <a:tc>
                  <a:txBody>
                    <a:bodyPr/>
                    <a:lstStyle/>
                    <a:p>
                      <a:r>
                        <a:rPr lang="de-DE" sz="1200" b="1" kern="1200" noProof="0" dirty="0">
                          <a:solidFill>
                            <a:srgbClr val="1F4484"/>
                          </a:solidFill>
                          <a:latin typeface="+mn-lt"/>
                          <a:ea typeface="+mn-ea"/>
                          <a:cs typeface="+mn-cs"/>
                        </a:rPr>
                        <a:t>Presentation</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196305">
                <a:tc>
                  <a:txBody>
                    <a:bodyPr/>
                    <a:lstStyle/>
                    <a:p>
                      <a:pPr marL="0" algn="l" defTabSz="914400" rtl="0" eaLnBrk="1" latinLnBrk="0" hangingPunct="1"/>
                      <a:r>
                        <a:rPr lang="en-GB" sz="1200" b="1" kern="1200" baseline="0" noProof="0" dirty="0">
                          <a:solidFill>
                            <a:srgbClr val="D9D9D9"/>
                          </a:solidFill>
                          <a:latin typeface="+mn-lt"/>
                          <a:ea typeface="+mn-ea"/>
                          <a:cs typeface="+mn-cs"/>
                        </a:rPr>
                        <a:t>Greenish</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205</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228</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74</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21/0/40/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DE4AE"/>
                    </a:solidFill>
                  </a:tcPr>
                </a:tc>
                <a:tc>
                  <a:txBody>
                    <a:bodyPr/>
                    <a:lstStyle/>
                    <a:p>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5"/>
                  </a:ext>
                </a:extLst>
              </a:tr>
              <a:tr h="196305">
                <a:tc>
                  <a:txBody>
                    <a:bodyPr/>
                    <a:lstStyle/>
                    <a:p>
                      <a:r>
                        <a:rPr lang="de-DE" sz="1200" b="1" noProof="0" dirty="0">
                          <a:solidFill>
                            <a:srgbClr val="1F4484"/>
                          </a:solidFill>
                        </a:rPr>
                        <a:t>Light</a:t>
                      </a:r>
                      <a:r>
                        <a:rPr lang="de-DE" sz="1200" b="1" baseline="0" noProof="0" dirty="0">
                          <a:solidFill>
                            <a:srgbClr val="1F4484"/>
                          </a:solidFill>
                        </a:rPr>
                        <a:t> Purple</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kern="1200" dirty="0">
                          <a:solidFill>
                            <a:srgbClr val="1F4484"/>
                          </a:solidFill>
                          <a:latin typeface="+mn-lt"/>
                          <a:ea typeface="+mn-ea"/>
                          <a:cs typeface="+mn-cs"/>
                        </a:rPr>
                        <a:t>141</a:t>
                      </a:r>
                      <a:endParaRPr lang="en-GB" sz="1200" b="1" kern="120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17</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171</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49/58/7/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8D75A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1F4484"/>
                          </a:solidFill>
                          <a:latin typeface="+mn-lt"/>
                          <a:ea typeface="+mn-ea"/>
                          <a:cs typeface="+mn-cs"/>
                        </a:rPr>
                        <a:t>Presentation, (UGS)</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6"/>
                  </a:ext>
                </a:extLst>
              </a:tr>
              <a:tr h="196305">
                <a:tc>
                  <a:txBody>
                    <a:bodyPr/>
                    <a:lstStyle/>
                    <a:p>
                      <a:pPr marL="0" algn="l" defTabSz="914400" rtl="0" eaLnBrk="1" latinLnBrk="0" hangingPunct="1"/>
                      <a:r>
                        <a:rPr lang="de-DE" sz="1200" b="1" kern="1200" baseline="0" noProof="0" dirty="0">
                          <a:solidFill>
                            <a:srgbClr val="D9D9D9"/>
                          </a:solidFill>
                          <a:latin typeface="+mn-lt"/>
                          <a:ea typeface="+mn-ea"/>
                          <a:cs typeface="+mn-cs"/>
                        </a:rPr>
                        <a:t>Pink</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dirty="0">
                          <a:solidFill>
                            <a:srgbClr val="D9D9D9"/>
                          </a:solidFill>
                          <a:latin typeface="+mn-lt"/>
                          <a:ea typeface="+mn-ea"/>
                          <a:cs typeface="+mn-cs"/>
                        </a:rPr>
                        <a:t>204</a:t>
                      </a:r>
                      <a:endParaRPr lang="en-GB" sz="1200" b="1" kern="1200" baseline="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72</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152</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17/86/1/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C489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
                  </a:ext>
                </a:extLst>
              </a:tr>
              <a:tr h="196305">
                <a:tc>
                  <a:txBody>
                    <a:bodyPr/>
                    <a:lstStyle/>
                    <a:p>
                      <a:r>
                        <a:rPr lang="en-GB" sz="1200" b="1" baseline="0" noProof="0" dirty="0">
                          <a:solidFill>
                            <a:srgbClr val="1F4484"/>
                          </a:solidFill>
                        </a:rPr>
                        <a:t>Red</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232</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38</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200" b="1" baseline="0" noProof="0" dirty="0">
                          <a:solidFill>
                            <a:srgbClr val="1F4484"/>
                          </a:solidFill>
                        </a:rPr>
                        <a:t>44</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2/98/93/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262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1F4484"/>
                          </a:solidFill>
                          <a:latin typeface="+mn-lt"/>
                          <a:ea typeface="+mn-ea"/>
                          <a:cs typeface="+mn-cs"/>
                        </a:rPr>
                        <a:t>Presentation, (Russia)</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8"/>
                  </a:ext>
                </a:extLst>
              </a:tr>
              <a:tr h="196305">
                <a:tc>
                  <a:txBody>
                    <a:bodyPr/>
                    <a:lstStyle/>
                    <a:p>
                      <a:pPr marL="0" algn="l" defTabSz="914400" rtl="0" eaLnBrk="1" latinLnBrk="0" hangingPunct="1"/>
                      <a:r>
                        <a:rPr lang="de-DE" sz="1200" b="1" kern="1200" baseline="0" noProof="0" dirty="0">
                          <a:solidFill>
                            <a:srgbClr val="1F4484"/>
                          </a:solidFill>
                          <a:latin typeface="+mn-lt"/>
                          <a:ea typeface="+mn-ea"/>
                          <a:cs typeface="+mn-cs"/>
                        </a:rPr>
                        <a:t>Dark Orange</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1F4484"/>
                          </a:solidFill>
                          <a:latin typeface="+mn-lt"/>
                          <a:ea typeface="+mn-ea"/>
                          <a:cs typeface="+mn-cs"/>
                        </a:rPr>
                        <a:t>235</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1F4484"/>
                          </a:solidFill>
                          <a:latin typeface="+mn-lt"/>
                          <a:ea typeface="+mn-ea"/>
                          <a:cs typeface="+mn-cs"/>
                        </a:rPr>
                        <a:t>122</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1F4484"/>
                          </a:solidFill>
                          <a:latin typeface="+mn-lt"/>
                          <a:ea typeface="+mn-ea"/>
                          <a:cs typeface="+mn-cs"/>
                        </a:rPr>
                        <a:t>59</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4/64/87/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7A3B"/>
                    </a:solidFill>
                  </a:tcPr>
                </a:tc>
                <a:tc>
                  <a:txBody>
                    <a:bodyPr/>
                    <a:lstStyle/>
                    <a:p>
                      <a:r>
                        <a:rPr lang="de-DE" sz="1200" b="1" kern="1200" noProof="0" dirty="0">
                          <a:solidFill>
                            <a:srgbClr val="1F4484"/>
                          </a:solidFill>
                          <a:latin typeface="+mn-lt"/>
                          <a:ea typeface="+mn-ea"/>
                          <a:cs typeface="+mn-cs"/>
                        </a:rPr>
                        <a:t>Presentation, (Caspia)</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9"/>
                  </a:ext>
                </a:extLst>
              </a:tr>
              <a:tr h="196305">
                <a:tc>
                  <a:txBody>
                    <a:bodyPr/>
                    <a:lstStyle/>
                    <a:p>
                      <a:pPr marL="0" algn="l" defTabSz="914400" rtl="0" eaLnBrk="1" latinLnBrk="0" hangingPunct="1"/>
                      <a:r>
                        <a:rPr lang="en-GB" sz="1200" b="1" kern="1200" baseline="0" noProof="0" dirty="0">
                          <a:solidFill>
                            <a:srgbClr val="D9D9D9"/>
                          </a:solidFill>
                          <a:latin typeface="+mn-lt"/>
                          <a:ea typeface="+mn-ea"/>
                          <a:cs typeface="+mn-cs"/>
                        </a:rPr>
                        <a:t>Orange</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249</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80</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41</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1/32/94/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B429"/>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0"/>
                  </a:ext>
                </a:extLst>
              </a:tr>
              <a:tr h="196305">
                <a:tc>
                  <a:txBody>
                    <a:bodyPr/>
                    <a:lstStyle/>
                    <a:p>
                      <a:pPr marL="0" algn="l" defTabSz="914400" rtl="0" eaLnBrk="1" latinLnBrk="0" hangingPunct="1"/>
                      <a:r>
                        <a:rPr lang="de-DE" sz="1200" b="1" kern="1200" baseline="0" noProof="0" dirty="0">
                          <a:solidFill>
                            <a:srgbClr val="1F4484"/>
                          </a:solidFill>
                          <a:latin typeface="+mn-lt"/>
                          <a:ea typeface="+mn-ea"/>
                          <a:cs typeface="+mn-cs"/>
                        </a:rPr>
                        <a:t>Dark Yellow</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242</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202</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1F4484"/>
                          </a:solidFill>
                          <a:latin typeface="+mn-lt"/>
                          <a:ea typeface="+mn-ea"/>
                          <a:cs typeface="+mn-cs"/>
                        </a:rPr>
                        <a:t>0</a:t>
                      </a:r>
                      <a:endParaRPr lang="en-GB" sz="1200" b="1" kern="1200" baseline="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1F4484"/>
                          </a:solidFill>
                        </a:rPr>
                        <a:t>6/18/100/0</a:t>
                      </a:r>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1F4484"/>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A00"/>
                    </a:solidFill>
                  </a:tcPr>
                </a:tc>
                <a:tc>
                  <a:txBody>
                    <a:bodyPr/>
                    <a:lstStyle/>
                    <a:p>
                      <a:r>
                        <a:rPr lang="de-DE" sz="1200" b="1" kern="1200" noProof="0" dirty="0">
                          <a:solidFill>
                            <a:srgbClr val="1F4484"/>
                          </a:solidFill>
                          <a:latin typeface="+mn-lt"/>
                          <a:ea typeface="+mn-ea"/>
                          <a:cs typeface="+mn-cs"/>
                        </a:rPr>
                        <a:t>Presentation, (Norway)</a:t>
                      </a:r>
                      <a:endParaRPr lang="en-GB" sz="1200" b="1" kern="1200" noProof="0" dirty="0">
                        <a:solidFill>
                          <a:srgbClr val="1F4484"/>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1"/>
                  </a:ext>
                </a:extLst>
              </a:tr>
              <a:tr h="196305">
                <a:tc>
                  <a:txBody>
                    <a:bodyPr/>
                    <a:lstStyle/>
                    <a:p>
                      <a:pPr marL="0" algn="l" defTabSz="914400" rtl="0" eaLnBrk="1" latinLnBrk="0" hangingPunct="1"/>
                      <a:r>
                        <a:rPr lang="de-DE" sz="1200" b="1" kern="1200" baseline="0" noProof="0" dirty="0">
                          <a:solidFill>
                            <a:srgbClr val="D9D9D9"/>
                          </a:solidFill>
                          <a:latin typeface="+mn-lt"/>
                          <a:ea typeface="+mn-ea"/>
                          <a:cs typeface="+mn-cs"/>
                        </a:rPr>
                        <a:t>Yellow</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248</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234</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50</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5/1/90/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8EA32"/>
                    </a:solidFill>
                  </a:tcPr>
                </a:tc>
                <a:tc>
                  <a:txBody>
                    <a:bodyPr/>
                    <a:lstStyle/>
                    <a:p>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2"/>
                  </a:ext>
                </a:extLst>
              </a:tr>
              <a:tr h="196305">
                <a:tc>
                  <a:txBody>
                    <a:bodyPr/>
                    <a:lstStyle/>
                    <a:p>
                      <a:pPr marL="0" algn="l" defTabSz="914400" rtl="0" eaLnBrk="1" latinLnBrk="0" hangingPunct="1"/>
                      <a:r>
                        <a:rPr lang="en-GB" sz="1200" b="1" kern="1200" baseline="0" noProof="0" dirty="0">
                          <a:solidFill>
                            <a:srgbClr val="D9D9D9"/>
                          </a:solidFill>
                          <a:latin typeface="+mn-lt"/>
                          <a:ea typeface="+mn-ea"/>
                          <a:cs typeface="+mn-cs"/>
                        </a:rPr>
                        <a:t>Light Yellow</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251</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200" b="1" kern="1200" baseline="0" noProof="0" dirty="0">
                          <a:solidFill>
                            <a:srgbClr val="D9D9D9"/>
                          </a:solidFill>
                          <a:latin typeface="+mn-lt"/>
                          <a:ea typeface="+mn-ea"/>
                          <a:cs typeface="+mn-cs"/>
                        </a:rPr>
                        <a:t>247</a:t>
                      </a:r>
                      <a:endParaRPr lang="en-GB" sz="1200" b="1" kern="1200" baseline="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200" b="1" kern="1200" baseline="0" noProof="0" dirty="0">
                          <a:solidFill>
                            <a:srgbClr val="D9D9D9"/>
                          </a:solidFill>
                          <a:latin typeface="+mn-lt"/>
                          <a:ea typeface="+mn-ea"/>
                          <a:cs typeface="+mn-cs"/>
                        </a:rPr>
                        <a:t>194</a:t>
                      </a: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200" b="1" noProof="0" dirty="0">
                          <a:solidFill>
                            <a:srgbClr val="D9D9D9"/>
                          </a:solidFill>
                        </a:rPr>
                        <a:t>2/0/30/0</a:t>
                      </a:r>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200" b="1" noProof="0" dirty="0">
                        <a:solidFill>
                          <a:srgbClr val="D9D9D9"/>
                        </a:solidFill>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BF7C2"/>
                    </a:solidFill>
                  </a:tcPr>
                </a:tc>
                <a:tc>
                  <a:txBody>
                    <a:bodyPr/>
                    <a:lstStyle/>
                    <a:p>
                      <a:r>
                        <a:rPr lang="de-DE" sz="1200" b="1" kern="1200" noProof="0" dirty="0">
                          <a:solidFill>
                            <a:srgbClr val="D9D9D9"/>
                          </a:solidFill>
                          <a:latin typeface="+mn-lt"/>
                          <a:ea typeface="+mn-ea"/>
                          <a:cs typeface="+mn-cs"/>
                        </a:rPr>
                        <a:t>Cap. map</a:t>
                      </a:r>
                      <a:endParaRPr lang="en-GB" sz="1200" b="1" kern="1200" noProof="0" dirty="0">
                        <a:solidFill>
                          <a:srgbClr val="D9D9D9"/>
                        </a:solidFill>
                        <a:latin typeface="+mn-lt"/>
                        <a:ea typeface="+mn-ea"/>
                        <a:cs typeface="+mn-cs"/>
                      </a:endParaRPr>
                    </a:p>
                  </a:txBody>
                  <a:tcPr marL="107768" marR="107768"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3"/>
                  </a:ext>
                </a:extLst>
              </a:tr>
            </a:tbl>
          </a:graphicData>
        </a:graphic>
      </p:graphicFrame>
    </p:spTree>
    <p:extLst>
      <p:ext uri="{BB962C8B-B14F-4D97-AF65-F5344CB8AC3E}">
        <p14:creationId xmlns:p14="http://schemas.microsoft.com/office/powerpoint/2010/main" val="16962577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9"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12" name="Titre 1"/>
          <p:cNvSpPr>
            <a:spLocks noGrp="1"/>
          </p:cNvSpPr>
          <p:nvPr>
            <p:ph type="title" hasCustomPrompt="1"/>
          </p:nvPr>
        </p:nvSpPr>
        <p:spPr>
          <a:xfrm>
            <a:off x="815413" y="612000"/>
            <a:ext cx="8976000"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Title</a:t>
            </a:r>
          </a:p>
        </p:txBody>
      </p:sp>
    </p:spTree>
    <p:extLst>
      <p:ext uri="{BB962C8B-B14F-4D97-AF65-F5344CB8AC3E}">
        <p14:creationId xmlns:p14="http://schemas.microsoft.com/office/powerpoint/2010/main" val="7541984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5" name="Grafik 4" descr="l_entsog_ppt4.jpg"/>
          <p:cNvPicPr>
            <a:picLocks noChangeAspect="1"/>
          </p:cNvPicPr>
          <p:nvPr userDrawn="1"/>
        </p:nvPicPr>
        <p:blipFill>
          <a:blip r:embed="rId2" cstate="print"/>
          <a:stretch>
            <a:fillRect/>
          </a:stretch>
        </p:blipFill>
        <p:spPr>
          <a:xfrm>
            <a:off x="0" y="1780032"/>
            <a:ext cx="10631424" cy="5077968"/>
          </a:xfrm>
          <a:prstGeom prst="rect">
            <a:avLst/>
          </a:prstGeom>
        </p:spPr>
      </p:pic>
      <p:sp>
        <p:nvSpPr>
          <p:cNvPr id="4" name="Rechteck 3"/>
          <p:cNvSpPr/>
          <p:nvPr userDrawn="1"/>
        </p:nvSpPr>
        <p:spPr>
          <a:xfrm>
            <a:off x="2592000" y="2564904"/>
            <a:ext cx="9600000" cy="2591928"/>
          </a:xfrm>
          <a:prstGeom prst="rect">
            <a:avLst/>
          </a:prstGeom>
          <a:solidFill>
            <a:schemeClr val="accent3">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Espace réservé du numéro de diapositive 5"/>
          <p:cNvSpPr>
            <a:spLocks noGrp="1"/>
          </p:cNvSpPr>
          <p:nvPr>
            <p:ph type="sldNum" sz="quarter" idx="12"/>
          </p:nvPr>
        </p:nvSpPr>
        <p:spPr>
          <a:xfrm>
            <a:off x="11088000" y="6336000"/>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7" name="Titre 1"/>
          <p:cNvSpPr>
            <a:spLocks noGrp="1"/>
          </p:cNvSpPr>
          <p:nvPr>
            <p:ph type="title" hasCustomPrompt="1"/>
          </p:nvPr>
        </p:nvSpPr>
        <p:spPr>
          <a:xfrm>
            <a:off x="2832864" y="3501008"/>
            <a:ext cx="9359136"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Chapter</a:t>
            </a:r>
          </a:p>
        </p:txBody>
      </p:sp>
    </p:spTree>
    <p:extLst>
      <p:ext uri="{BB962C8B-B14F-4D97-AF65-F5344CB8AC3E}">
        <p14:creationId xmlns:p14="http://schemas.microsoft.com/office/powerpoint/2010/main" val="21210707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Shift+Alt+right Arrow">
    <p:spTree>
      <p:nvGrpSpPr>
        <p:cNvPr id="1" name=""/>
        <p:cNvGrpSpPr/>
        <p:nvPr/>
      </p:nvGrpSpPr>
      <p:grpSpPr>
        <a:xfrm>
          <a:off x="0" y="0"/>
          <a:ext cx="0" cy="0"/>
          <a:chOff x="0" y="0"/>
          <a:chExt cx="0" cy="0"/>
        </a:xfrm>
      </p:grpSpPr>
      <p:sp>
        <p:nvSpPr>
          <p:cNvPr id="8"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7" name="Text Placeholder 7"/>
          <p:cNvSpPr>
            <a:spLocks noGrp="1"/>
          </p:cNvSpPr>
          <p:nvPr>
            <p:ph type="body" sz="quarter" idx="16" hasCustomPrompt="1"/>
          </p:nvPr>
        </p:nvSpPr>
        <p:spPr>
          <a:xfrm>
            <a:off x="813923" y="1244705"/>
            <a:ext cx="11041227" cy="4330005"/>
          </a:xfrm>
          <a:prstGeom prst="rect">
            <a:avLst/>
          </a:prstGeom>
        </p:spPr>
        <p:txBody>
          <a:bodyPr/>
          <a:lstStyle>
            <a:lvl1pPr marL="0" marR="0" indent="0" algn="l" defTabSz="914400" rtl="0" eaLnBrk="0" fontAlgn="base" latinLnBrk="0" hangingPunct="0">
              <a:lnSpc>
                <a:spcPct val="100000"/>
              </a:lnSpc>
              <a:spcBef>
                <a:spcPts val="0"/>
              </a:spcBef>
              <a:spcAft>
                <a:spcPct val="0"/>
              </a:spcAft>
              <a:buClr>
                <a:schemeClr val="accent3"/>
              </a:buClr>
              <a:buSzTx/>
              <a:buFontTx/>
              <a:buNone/>
              <a:tabLst/>
              <a:defRPr lang="en-GB" sz="2200" b="1" i="1" kern="100" noProof="0" smtClean="0">
                <a:solidFill>
                  <a:srgbClr val="000000"/>
                </a:solidFill>
                <a:latin typeface="+mn-lt"/>
                <a:sym typeface="Wingdings" pitchFamily="2" charset="2"/>
              </a:defRPr>
            </a:lvl1pPr>
            <a:lvl2pPr marL="171450" indent="-171450">
              <a:spcBef>
                <a:spcPts val="600"/>
              </a:spcBef>
              <a:buClr>
                <a:schemeClr val="accent3"/>
              </a:buClr>
              <a:buFont typeface="Calibri" pitchFamily="34" charset="0"/>
              <a:buChar char="&gt;"/>
              <a:defRPr sz="1800" baseline="0">
                <a:solidFill>
                  <a:srgbClr val="000000"/>
                </a:solidFill>
              </a:defRPr>
            </a:lvl2pPr>
            <a:lvl3pPr marL="400050" indent="-171450">
              <a:spcBef>
                <a:spcPts val="300"/>
              </a:spcBef>
              <a:buClr>
                <a:schemeClr val="accent3"/>
              </a:buClr>
              <a:buFont typeface="Wingdings" pitchFamily="2" charset="2"/>
              <a:buChar char="§"/>
              <a:defRPr sz="1800" baseline="0">
                <a:solidFill>
                  <a:srgbClr val="000000"/>
                </a:solidFill>
              </a:defRPr>
            </a:lvl3pPr>
            <a:lvl4pPr marL="628650" indent="-171450">
              <a:spcBef>
                <a:spcPts val="300"/>
              </a:spcBef>
              <a:buClr>
                <a:schemeClr val="accent3"/>
              </a:buClr>
              <a:buFont typeface="Courier New" pitchFamily="49" charset="0"/>
              <a:buChar char="o"/>
              <a:defRPr sz="1600">
                <a:solidFill>
                  <a:srgbClr val="000000"/>
                </a:solidFill>
              </a:defRPr>
            </a:lvl4pPr>
            <a:lvl5pPr marL="857250" indent="-171450">
              <a:spcBef>
                <a:spcPts val="300"/>
              </a:spcBef>
              <a:buClr>
                <a:schemeClr val="accent3"/>
              </a:buClr>
              <a:buFont typeface="Arial" pitchFamily="34" charset="0"/>
              <a:buChar char="-"/>
              <a:defRPr sz="1600">
                <a:solidFill>
                  <a:srgbClr val="000000"/>
                </a:solidFill>
              </a:defRPr>
            </a:lvl5pPr>
          </a:lstStyle>
          <a:p>
            <a:pPr marL="0" marR="0" lvl="0" indent="0" algn="l" defTabSz="914400" rtl="0" eaLnBrk="0" fontAlgn="base" latinLnBrk="0" hangingPunct="0">
              <a:lnSpc>
                <a:spcPct val="100000"/>
              </a:lnSpc>
              <a:spcBef>
                <a:spcPts val="0"/>
              </a:spcBef>
              <a:spcAft>
                <a:spcPct val="0"/>
              </a:spcAft>
              <a:buClr>
                <a:schemeClr val="accent3"/>
              </a:buClr>
              <a:buSzTx/>
              <a:buFontTx/>
              <a:buNone/>
              <a:tabLst/>
              <a:defRPr/>
            </a:pPr>
            <a:r>
              <a:rPr lang="en-GB" b="1" i="1" kern="100" noProof="0" dirty="0">
                <a:solidFill>
                  <a:srgbClr val="000000"/>
                </a:solidFill>
                <a:latin typeface="+mj-lt"/>
              </a:rPr>
              <a:t>Diff. bullet levels with: Shift + Alt + </a:t>
            </a:r>
            <a:r>
              <a:rPr lang="en-GB" b="1" i="1" kern="100" noProof="0" dirty="0" err="1">
                <a:solidFill>
                  <a:srgbClr val="000000"/>
                </a:solidFill>
                <a:latin typeface="+mj-lt"/>
              </a:rPr>
              <a:t>rightArrow</a:t>
            </a:r>
            <a:endParaRPr lang="en-GB" noProof="0" dirty="0"/>
          </a:p>
          <a:p>
            <a:pPr lvl="1"/>
            <a:r>
              <a:rPr lang="de-DE" noProof="0" dirty="0"/>
              <a:t>Second level (Calibri, 18, black)</a:t>
            </a:r>
            <a:endParaRPr lang="en-GB" noProof="0" dirty="0"/>
          </a:p>
          <a:p>
            <a:pPr lvl="2"/>
            <a:r>
              <a:rPr lang="en-GB" noProof="0" dirty="0"/>
              <a:t>Third level (Calibri, 18, black)</a:t>
            </a:r>
          </a:p>
          <a:p>
            <a:pPr lvl="3"/>
            <a:r>
              <a:rPr lang="en-GB" noProof="0" dirty="0"/>
              <a:t>Fourth level (Calibri, 16, black)</a:t>
            </a:r>
          </a:p>
          <a:p>
            <a:pPr lvl="4"/>
            <a:r>
              <a:rPr lang="en-GB" noProof="0" dirty="0"/>
              <a:t>Fifth level</a:t>
            </a:r>
          </a:p>
          <a:p>
            <a:pPr lvl="0"/>
            <a:endParaRPr lang="en-GB" noProof="0" dirty="0"/>
          </a:p>
        </p:txBody>
      </p:sp>
      <p:sp>
        <p:nvSpPr>
          <p:cNvPr id="10" name="Titre 1"/>
          <p:cNvSpPr>
            <a:spLocks noGrp="1"/>
          </p:cNvSpPr>
          <p:nvPr>
            <p:ph type="title" hasCustomPrompt="1"/>
          </p:nvPr>
        </p:nvSpPr>
        <p:spPr>
          <a:xfrm>
            <a:off x="816640" y="604709"/>
            <a:ext cx="8927765"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Title</a:t>
            </a:r>
          </a:p>
        </p:txBody>
      </p:sp>
      <p:sp>
        <p:nvSpPr>
          <p:cNvPr id="12" name="Text Placeholder 17"/>
          <p:cNvSpPr>
            <a:spLocks noGrp="1"/>
          </p:cNvSpPr>
          <p:nvPr>
            <p:ph type="body" sz="quarter" idx="14" hasCustomPrompt="1"/>
          </p:nvPr>
        </p:nvSpPr>
        <p:spPr>
          <a:xfrm>
            <a:off x="881233" y="5718726"/>
            <a:ext cx="10890772" cy="374571"/>
          </a:xfrm>
          <a:prstGeom prst="roundRect">
            <a:avLst/>
          </a:prstGeom>
          <a:noFill/>
          <a:ln w="50800" cap="rnd" cmpd="sng">
            <a:solidFill>
              <a:srgbClr val="B1C7E1"/>
            </a:solidFill>
            <a:prstDash val="solid"/>
            <a:miter lim="800000"/>
            <a:headEnd/>
            <a:tailEnd/>
          </a:ln>
          <a:scene3d>
            <a:camera prst="orthographicFront"/>
            <a:lightRig rig="threePt" dir="t">
              <a:rot lat="0" lon="0" rev="6600000"/>
            </a:lightRig>
          </a:scene3d>
          <a:sp3d>
            <a:bevelT/>
          </a:sp3d>
        </p:spPr>
        <p:txBody>
          <a:bodyPr>
            <a:spAutoFit/>
          </a:bodyPr>
          <a:lstStyle>
            <a:lvl1pPr marL="0" indent="0" algn="ctr">
              <a:buFontTx/>
              <a:buNone/>
              <a:defRPr lang="en-GB" sz="1600" i="1" dirty="0">
                <a:solidFill>
                  <a:schemeClr val="tx1"/>
                </a:solidFill>
                <a:ea typeface="+mn-ea"/>
                <a:cs typeface="Arial" pitchFamily="34" charset="0"/>
              </a:defRPr>
            </a:lvl1pPr>
          </a:lstStyle>
          <a:p>
            <a:pPr lvl="0" algn="ctr">
              <a:spcBef>
                <a:spcPct val="0"/>
              </a:spcBef>
            </a:pPr>
            <a:r>
              <a:rPr lang="en-GB" sz="1600" i="1" dirty="0">
                <a:solidFill>
                  <a:srgbClr val="000000"/>
                </a:solidFill>
                <a:latin typeface="+mn-lt"/>
                <a:cs typeface="Arial" pitchFamily="34" charset="0"/>
              </a:rPr>
              <a:t>&lt;…&gt; (Calibri, Italic, 16, black, </a:t>
            </a:r>
            <a:r>
              <a:rPr lang="en-GB" sz="1600" i="1" dirty="0" err="1">
                <a:solidFill>
                  <a:srgbClr val="000000"/>
                </a:solidFill>
                <a:latin typeface="+mn-lt"/>
                <a:cs typeface="Arial" pitchFamily="34" charset="0"/>
              </a:rPr>
              <a:t>center</a:t>
            </a:r>
            <a:r>
              <a:rPr lang="en-GB" sz="1600" i="1" dirty="0">
                <a:solidFill>
                  <a:srgbClr val="000000"/>
                </a:solidFill>
                <a:latin typeface="+mn-lt"/>
                <a:cs typeface="Arial" pitchFamily="34" charset="0"/>
              </a:rPr>
              <a:t>)</a:t>
            </a:r>
          </a:p>
        </p:txBody>
      </p:sp>
    </p:spTree>
    <p:extLst>
      <p:ext uri="{BB962C8B-B14F-4D97-AF65-F5344CB8AC3E}">
        <p14:creationId xmlns:p14="http://schemas.microsoft.com/office/powerpoint/2010/main" val="2085923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Tabulator">
    <p:spTree>
      <p:nvGrpSpPr>
        <p:cNvPr id="1" name=""/>
        <p:cNvGrpSpPr/>
        <p:nvPr/>
      </p:nvGrpSpPr>
      <p:grpSpPr>
        <a:xfrm>
          <a:off x="0" y="0"/>
          <a:ext cx="0" cy="0"/>
          <a:chOff x="0" y="0"/>
          <a:chExt cx="0" cy="0"/>
        </a:xfrm>
      </p:grpSpPr>
      <p:sp>
        <p:nvSpPr>
          <p:cNvPr id="10"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9" name="Titre 1"/>
          <p:cNvSpPr>
            <a:spLocks noGrp="1"/>
          </p:cNvSpPr>
          <p:nvPr>
            <p:ph type="title" hasCustomPrompt="1"/>
          </p:nvPr>
        </p:nvSpPr>
        <p:spPr>
          <a:xfrm>
            <a:off x="813989" y="604709"/>
            <a:ext cx="8640000"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Title</a:t>
            </a:r>
          </a:p>
        </p:txBody>
      </p:sp>
      <p:sp>
        <p:nvSpPr>
          <p:cNvPr id="13" name="Text Placeholder 17"/>
          <p:cNvSpPr>
            <a:spLocks noGrp="1"/>
          </p:cNvSpPr>
          <p:nvPr>
            <p:ph type="body" sz="quarter" idx="14" hasCustomPrompt="1"/>
          </p:nvPr>
        </p:nvSpPr>
        <p:spPr>
          <a:xfrm>
            <a:off x="878582" y="5718726"/>
            <a:ext cx="10890772" cy="374571"/>
          </a:xfrm>
          <a:prstGeom prst="roundRect">
            <a:avLst/>
          </a:prstGeom>
          <a:noFill/>
          <a:ln w="50800" cmpd="sng">
            <a:solidFill>
              <a:srgbClr val="B1C7E1"/>
            </a:solidFill>
            <a:prstDash val="solid"/>
            <a:miter lim="800000"/>
            <a:headEnd/>
            <a:tailEnd/>
          </a:ln>
          <a:scene3d>
            <a:camera prst="orthographicFront"/>
            <a:lightRig rig="threePt" dir="t">
              <a:rot lat="0" lon="0" rev="6600000"/>
            </a:lightRig>
          </a:scene3d>
          <a:sp3d>
            <a:bevelT/>
          </a:sp3d>
        </p:spPr>
        <p:txBody>
          <a:bodyPr>
            <a:spAutoFit/>
          </a:bodyPr>
          <a:lstStyle>
            <a:lvl1pPr marL="0" indent="0" algn="ctr">
              <a:buFontTx/>
              <a:buNone/>
              <a:defRPr lang="en-GB" sz="1600" i="1" dirty="0">
                <a:solidFill>
                  <a:schemeClr val="tx1"/>
                </a:solidFill>
                <a:ea typeface="+mn-ea"/>
                <a:cs typeface="Arial" pitchFamily="34" charset="0"/>
              </a:defRPr>
            </a:lvl1pPr>
          </a:lstStyle>
          <a:p>
            <a:pPr lvl="0" algn="ctr">
              <a:spcBef>
                <a:spcPct val="0"/>
              </a:spcBef>
            </a:pPr>
            <a:r>
              <a:rPr lang="en-GB" sz="1600" i="1" dirty="0">
                <a:solidFill>
                  <a:srgbClr val="000000"/>
                </a:solidFill>
                <a:latin typeface="+mn-lt"/>
                <a:cs typeface="Arial" pitchFamily="34" charset="0"/>
              </a:rPr>
              <a:t>&lt;…&gt; (Calibri, Italic, 16, black, </a:t>
            </a:r>
            <a:r>
              <a:rPr lang="en-GB" sz="1600" i="1" dirty="0" err="1">
                <a:solidFill>
                  <a:srgbClr val="000000"/>
                </a:solidFill>
                <a:latin typeface="+mn-lt"/>
                <a:cs typeface="Arial" pitchFamily="34" charset="0"/>
              </a:rPr>
              <a:t>center</a:t>
            </a:r>
            <a:r>
              <a:rPr lang="en-GB" sz="1600" i="1" dirty="0">
                <a:solidFill>
                  <a:srgbClr val="000000"/>
                </a:solidFill>
                <a:latin typeface="+mn-lt"/>
                <a:cs typeface="Arial" pitchFamily="34" charset="0"/>
              </a:rPr>
              <a:t>)</a:t>
            </a:r>
          </a:p>
        </p:txBody>
      </p:sp>
      <p:sp>
        <p:nvSpPr>
          <p:cNvPr id="14" name="Text Placeholder 7"/>
          <p:cNvSpPr>
            <a:spLocks noGrp="1"/>
          </p:cNvSpPr>
          <p:nvPr>
            <p:ph type="body" sz="quarter" idx="16" hasCustomPrompt="1"/>
          </p:nvPr>
        </p:nvSpPr>
        <p:spPr>
          <a:xfrm>
            <a:off x="811272" y="1758285"/>
            <a:ext cx="11041227" cy="3816424"/>
          </a:xfrm>
          <a:prstGeom prst="rect">
            <a:avLst/>
          </a:prstGeom>
        </p:spPr>
        <p:txBody>
          <a:bodyPr/>
          <a:lstStyle>
            <a:lvl1pPr marL="171450" indent="-171450">
              <a:spcBef>
                <a:spcPts val="600"/>
              </a:spcBef>
              <a:buClr>
                <a:schemeClr val="accent3"/>
              </a:buClr>
              <a:buFont typeface="Calibri" pitchFamily="34" charset="0"/>
              <a:buChar char="&gt;"/>
              <a:defRPr sz="1800" baseline="0">
                <a:solidFill>
                  <a:srgbClr val="000000"/>
                </a:solidFill>
                <a:sym typeface="Wingdings" pitchFamily="2" charset="2"/>
              </a:defRPr>
            </a:lvl1pPr>
            <a:lvl2pPr marL="400050" indent="-171450">
              <a:spcBef>
                <a:spcPts val="300"/>
              </a:spcBef>
              <a:buClr>
                <a:schemeClr val="accent3"/>
              </a:buClr>
              <a:buFont typeface="Wingdings" pitchFamily="2" charset="2"/>
              <a:buChar char="§"/>
              <a:defRPr sz="1800" baseline="0">
                <a:solidFill>
                  <a:srgbClr val="000000"/>
                </a:solidFill>
              </a:defRPr>
            </a:lvl2pPr>
            <a:lvl3pPr marL="628650" indent="-171450">
              <a:spcBef>
                <a:spcPts val="300"/>
              </a:spcBef>
              <a:buClr>
                <a:schemeClr val="accent3"/>
              </a:buClr>
              <a:buFont typeface="Courier New" pitchFamily="49" charset="0"/>
              <a:buChar char="o"/>
              <a:defRPr sz="1600" baseline="0">
                <a:solidFill>
                  <a:srgbClr val="000000"/>
                </a:solidFill>
              </a:defRPr>
            </a:lvl3pPr>
            <a:lvl4pPr marL="857250" indent="-171450">
              <a:spcBef>
                <a:spcPts val="300"/>
              </a:spcBef>
              <a:buClr>
                <a:schemeClr val="accent3"/>
              </a:buClr>
              <a:defRPr sz="1600">
                <a:solidFill>
                  <a:srgbClr val="000000"/>
                </a:solidFill>
              </a:defRPr>
            </a:lvl4pPr>
            <a:lvl5pPr>
              <a:defRPr>
                <a:solidFill>
                  <a:srgbClr val="000000"/>
                </a:solidFill>
              </a:defRPr>
            </a:lvl5pPr>
          </a:lstStyle>
          <a:p>
            <a:pPr lvl="0"/>
            <a:r>
              <a:rPr lang="en-GB" noProof="0" dirty="0"/>
              <a:t>Diff. bullet levels with “tabulator”</a:t>
            </a:r>
          </a:p>
          <a:p>
            <a:pPr lvl="1"/>
            <a:r>
              <a:rPr lang="en-GB" noProof="0" dirty="0"/>
              <a:t>Third level (Calibri, 18, black)</a:t>
            </a:r>
          </a:p>
          <a:p>
            <a:pPr lvl="2"/>
            <a:r>
              <a:rPr lang="en-GB" noProof="0" dirty="0"/>
              <a:t>Fourth level (Calibri, 16, black)</a:t>
            </a:r>
          </a:p>
          <a:p>
            <a:pPr lvl="3"/>
            <a:r>
              <a:rPr lang="en-GB" noProof="0" dirty="0"/>
              <a:t>Fifth level</a:t>
            </a:r>
          </a:p>
        </p:txBody>
      </p:sp>
      <p:sp>
        <p:nvSpPr>
          <p:cNvPr id="15" name="Text Placeholder 17"/>
          <p:cNvSpPr>
            <a:spLocks noGrp="1"/>
          </p:cNvSpPr>
          <p:nvPr>
            <p:ph type="body" sz="quarter" idx="13" hasCustomPrompt="1"/>
          </p:nvPr>
        </p:nvSpPr>
        <p:spPr>
          <a:xfrm>
            <a:off x="815082" y="1245583"/>
            <a:ext cx="11041559" cy="440695"/>
          </a:xfrm>
          <a:prstGeom prst="rect">
            <a:avLst/>
          </a:prstGeom>
        </p:spPr>
        <p:txBody>
          <a:bodyPr/>
          <a:lstStyle>
            <a:lvl1pPr marL="0" indent="0" algn="l">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First Level (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Tree>
    <p:extLst>
      <p:ext uri="{BB962C8B-B14F-4D97-AF65-F5344CB8AC3E}">
        <p14:creationId xmlns:p14="http://schemas.microsoft.com/office/powerpoint/2010/main" val="18429319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Chart: Tabulator">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18131" y="590665"/>
            <a:ext cx="8640000"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Title</a:t>
            </a:r>
          </a:p>
        </p:txBody>
      </p:sp>
      <p:sp>
        <p:nvSpPr>
          <p:cNvPr id="11"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4" name="Chart Placeholder 3"/>
          <p:cNvSpPr>
            <a:spLocks noGrp="1"/>
          </p:cNvSpPr>
          <p:nvPr>
            <p:ph type="chart" sz="quarter" idx="13"/>
          </p:nvPr>
        </p:nvSpPr>
        <p:spPr>
          <a:xfrm>
            <a:off x="6784584" y="2032274"/>
            <a:ext cx="5088565" cy="4205039"/>
          </a:xfrm>
          <a:prstGeom prst="rect">
            <a:avLst/>
          </a:prstGeom>
        </p:spPr>
        <p:txBody>
          <a:bodyPr/>
          <a:lstStyle>
            <a:lvl1pPr marL="0" marR="0" indent="0" algn="ctr" defTabSz="914400" rtl="0" eaLnBrk="0" fontAlgn="base" latinLnBrk="0" hangingPunct="0">
              <a:lnSpc>
                <a:spcPct val="100000"/>
              </a:lnSpc>
              <a:spcBef>
                <a:spcPct val="20000"/>
              </a:spcBef>
              <a:spcAft>
                <a:spcPct val="0"/>
              </a:spcAft>
              <a:buClrTx/>
              <a:buSzTx/>
              <a:buFont typeface="Arial" pitchFamily="34" charset="0"/>
              <a:buNone/>
              <a:tabLst/>
              <a:defRPr lang="en-GB" sz="2200" b="1" i="1" u="none" strike="noStrike" kern="1200" baseline="0" noProof="0">
                <a:solidFill>
                  <a:prstClr val="black"/>
                </a:solidFill>
                <a:effectLst/>
                <a:latin typeface="+mj-lt"/>
                <a:ea typeface="+mn-ea"/>
                <a:cs typeface="+mn-cs"/>
              </a:defRPr>
            </a:lvl1pPr>
          </a:lstStyle>
          <a:p>
            <a:r>
              <a:rPr lang="en-US"/>
              <a:t>Click icon to add chart</a:t>
            </a:r>
            <a:endParaRPr lang="en-GB" dirty="0"/>
          </a:p>
        </p:txBody>
      </p:sp>
      <p:sp>
        <p:nvSpPr>
          <p:cNvPr id="10" name="Text Placeholder 7"/>
          <p:cNvSpPr>
            <a:spLocks noGrp="1"/>
          </p:cNvSpPr>
          <p:nvPr>
            <p:ph type="body" sz="quarter" idx="16" hasCustomPrompt="1"/>
          </p:nvPr>
        </p:nvSpPr>
        <p:spPr>
          <a:xfrm>
            <a:off x="815413" y="2032273"/>
            <a:ext cx="5890349" cy="4205039"/>
          </a:xfrm>
          <a:prstGeom prst="rect">
            <a:avLst/>
          </a:prstGeom>
        </p:spPr>
        <p:txBody>
          <a:bodyPr/>
          <a:lstStyle>
            <a:lvl1pPr marL="171450" indent="-171450">
              <a:spcBef>
                <a:spcPts val="600"/>
              </a:spcBef>
              <a:buClr>
                <a:schemeClr val="accent3"/>
              </a:buClr>
              <a:buFont typeface="Calibri" pitchFamily="34" charset="0"/>
              <a:buChar char="&gt;"/>
              <a:defRPr sz="1800" baseline="0">
                <a:solidFill>
                  <a:srgbClr val="000000"/>
                </a:solidFill>
              </a:defRPr>
            </a:lvl1pPr>
            <a:lvl2pPr marL="400050" indent="-171450">
              <a:spcBef>
                <a:spcPts val="300"/>
              </a:spcBef>
              <a:buClr>
                <a:schemeClr val="accent3"/>
              </a:buClr>
              <a:buFont typeface="Wingdings" pitchFamily="2" charset="2"/>
              <a:buChar char="§"/>
              <a:defRPr lang="en-US" sz="1800" kern="1200" baseline="0" dirty="0" smtClean="0">
                <a:solidFill>
                  <a:srgbClr val="000000"/>
                </a:solidFill>
                <a:latin typeface="+mn-lt"/>
                <a:ea typeface="ＭＳ Ｐゴシック" pitchFamily="-111" charset="-128"/>
                <a:cs typeface="ＭＳ Ｐゴシック"/>
              </a:defRPr>
            </a:lvl2pPr>
            <a:lvl3pPr marL="628650" indent="-171450">
              <a:spcBef>
                <a:spcPts val="300"/>
              </a:spcBef>
              <a:buClr>
                <a:schemeClr val="accent3"/>
              </a:buClr>
              <a:buFont typeface="Courier New" pitchFamily="49" charset="0"/>
              <a:buChar char="o"/>
              <a:defRPr sz="1600" baseline="0">
                <a:solidFill>
                  <a:srgbClr val="000000"/>
                </a:solidFill>
              </a:defRPr>
            </a:lvl3pPr>
            <a:lvl4pPr marL="857250" indent="-171450">
              <a:spcBef>
                <a:spcPts val="300"/>
              </a:spcBef>
              <a:buClr>
                <a:schemeClr val="accent3"/>
              </a:buClr>
              <a:defRPr sz="1600">
                <a:solidFill>
                  <a:srgbClr val="000000"/>
                </a:solidFill>
              </a:defRPr>
            </a:lvl4pPr>
            <a:lvl5pPr>
              <a:defRPr>
                <a:solidFill>
                  <a:srgbClr val="000000"/>
                </a:solidFill>
              </a:defRPr>
            </a:lvl5pPr>
          </a:lstStyle>
          <a:p>
            <a:pPr lvl="0"/>
            <a:r>
              <a:rPr lang="en-US" dirty="0"/>
              <a:t>Diff. bullet levels with “tabulator”</a:t>
            </a:r>
          </a:p>
          <a:p>
            <a:pPr lvl="1"/>
            <a:r>
              <a:rPr lang="en-US" dirty="0"/>
              <a:t>Third level (Calibri, 18, black)</a:t>
            </a:r>
          </a:p>
          <a:p>
            <a:pPr lvl="2"/>
            <a:r>
              <a:rPr lang="en-US" dirty="0"/>
              <a:t>Fourth level (Calibri, 16, black)</a:t>
            </a:r>
          </a:p>
          <a:p>
            <a:pPr lvl="3"/>
            <a:r>
              <a:rPr lang="en-US" dirty="0"/>
              <a:t>Fifth level</a:t>
            </a:r>
          </a:p>
        </p:txBody>
      </p:sp>
      <p:sp>
        <p:nvSpPr>
          <p:cNvPr id="12" name="Text Placeholder 17"/>
          <p:cNvSpPr>
            <a:spLocks noGrp="1"/>
          </p:cNvSpPr>
          <p:nvPr>
            <p:ph type="body" sz="quarter" idx="17" hasCustomPrompt="1"/>
          </p:nvPr>
        </p:nvSpPr>
        <p:spPr>
          <a:xfrm>
            <a:off x="819223" y="1231539"/>
            <a:ext cx="5890527" cy="728727"/>
          </a:xfrm>
          <a:prstGeom prst="rect">
            <a:avLst/>
          </a:prstGeom>
        </p:spPr>
        <p:txBody>
          <a:bodyPr/>
          <a:lstStyle>
            <a:lvl1pPr marL="0" indent="0" algn="l">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First Level (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
        <p:nvSpPr>
          <p:cNvPr id="14" name="Text Placeholder 17"/>
          <p:cNvSpPr>
            <a:spLocks noGrp="1"/>
          </p:cNvSpPr>
          <p:nvPr>
            <p:ph type="body" sz="quarter" idx="18" hasCustomPrompt="1"/>
          </p:nvPr>
        </p:nvSpPr>
        <p:spPr>
          <a:xfrm>
            <a:off x="6784586" y="1221136"/>
            <a:ext cx="5088565" cy="728727"/>
          </a:xfrm>
          <a:prstGeom prst="rect">
            <a:avLst/>
          </a:prstGeom>
        </p:spPr>
        <p:txBody>
          <a:bodyPr/>
          <a:lstStyle>
            <a:lvl1pPr marL="0" indent="0" algn="ctr">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Chart Title </a:t>
            </a:r>
            <a:br>
              <a:rPr lang="en-GB" b="1" i="1" kern="100" dirty="0">
                <a:solidFill>
                  <a:srgbClr val="000000"/>
                </a:solidFill>
                <a:latin typeface="+mj-lt"/>
              </a:rPr>
            </a:br>
            <a:r>
              <a:rPr lang="en-GB" b="1" i="1" kern="100" dirty="0">
                <a:solidFill>
                  <a:srgbClr val="000000"/>
                </a:solidFill>
                <a:latin typeface="+mj-lt"/>
              </a:rPr>
              <a:t>(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Tree>
    <p:extLst>
      <p:ext uri="{BB962C8B-B14F-4D97-AF65-F5344CB8AC3E}">
        <p14:creationId xmlns:p14="http://schemas.microsoft.com/office/powerpoint/2010/main" val="2538879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10" name="Titre 1"/>
          <p:cNvSpPr>
            <a:spLocks noGrp="1"/>
          </p:cNvSpPr>
          <p:nvPr>
            <p:ph type="title" hasCustomPrompt="1"/>
          </p:nvPr>
        </p:nvSpPr>
        <p:spPr>
          <a:xfrm>
            <a:off x="814320" y="590665"/>
            <a:ext cx="8640000"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Title</a:t>
            </a:r>
          </a:p>
        </p:txBody>
      </p:sp>
      <p:sp>
        <p:nvSpPr>
          <p:cNvPr id="9"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15" name="Chart Placeholder 3"/>
          <p:cNvSpPr>
            <a:spLocks noGrp="1"/>
          </p:cNvSpPr>
          <p:nvPr>
            <p:ph type="chart" sz="quarter" idx="13"/>
          </p:nvPr>
        </p:nvSpPr>
        <p:spPr>
          <a:xfrm>
            <a:off x="815412" y="2032274"/>
            <a:ext cx="11041227" cy="4205039"/>
          </a:xfrm>
          <a:prstGeom prst="rect">
            <a:avLst/>
          </a:prstGeom>
        </p:spPr>
        <p:txBody>
          <a:bodyPr/>
          <a:lstStyle>
            <a:lvl1pPr marL="0" marR="0" indent="0" algn="ctr" defTabSz="914400" rtl="0" eaLnBrk="0" fontAlgn="base" latinLnBrk="0" hangingPunct="0">
              <a:lnSpc>
                <a:spcPct val="100000"/>
              </a:lnSpc>
              <a:spcBef>
                <a:spcPct val="20000"/>
              </a:spcBef>
              <a:spcAft>
                <a:spcPct val="0"/>
              </a:spcAft>
              <a:buClrTx/>
              <a:buSzTx/>
              <a:buFont typeface="Arial" pitchFamily="34" charset="0"/>
              <a:buNone/>
              <a:tabLst/>
              <a:defRPr lang="en-GB" sz="2200" b="1" i="1" u="none" strike="noStrike" kern="1200" baseline="0" noProof="0">
                <a:solidFill>
                  <a:prstClr val="black"/>
                </a:solidFill>
                <a:effectLst/>
                <a:latin typeface="+mj-lt"/>
                <a:ea typeface="+mn-ea"/>
                <a:cs typeface="+mn-cs"/>
              </a:defRPr>
            </a:lvl1pPr>
          </a:lstStyle>
          <a:p>
            <a:r>
              <a:rPr lang="en-US"/>
              <a:t>Click icon to add chart</a:t>
            </a:r>
            <a:endParaRPr lang="en-GB" dirty="0"/>
          </a:p>
        </p:txBody>
      </p:sp>
      <p:sp>
        <p:nvSpPr>
          <p:cNvPr id="16" name="Text Placeholder 17"/>
          <p:cNvSpPr>
            <a:spLocks noGrp="1"/>
          </p:cNvSpPr>
          <p:nvPr>
            <p:ph type="body" sz="quarter" idx="18" hasCustomPrompt="1"/>
          </p:nvPr>
        </p:nvSpPr>
        <p:spPr>
          <a:xfrm>
            <a:off x="815413" y="1221136"/>
            <a:ext cx="11041227" cy="728727"/>
          </a:xfrm>
          <a:prstGeom prst="rect">
            <a:avLst/>
          </a:prstGeom>
        </p:spPr>
        <p:txBody>
          <a:bodyPr/>
          <a:lstStyle>
            <a:lvl1pPr marL="0" indent="0" algn="ctr">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Chart Title (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Tree>
    <p:extLst>
      <p:ext uri="{BB962C8B-B14F-4D97-AF65-F5344CB8AC3E}">
        <p14:creationId xmlns:p14="http://schemas.microsoft.com/office/powerpoint/2010/main" val="19810512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4" name="Titre 1"/>
          <p:cNvSpPr>
            <a:spLocks noGrp="1"/>
          </p:cNvSpPr>
          <p:nvPr>
            <p:ph type="title" hasCustomPrompt="1"/>
          </p:nvPr>
        </p:nvSpPr>
        <p:spPr>
          <a:xfrm>
            <a:off x="801621" y="595424"/>
            <a:ext cx="8640000" cy="540000"/>
          </a:xfrm>
          <a:prstGeom prst="rect">
            <a:avLst/>
          </a:prstGeom>
        </p:spPr>
        <p:txBody>
          <a:bodyPr>
            <a:noAutofit/>
          </a:bodyPr>
          <a:lstStyle>
            <a:lvl1pPr algn="l">
              <a:defRPr sz="3200" b="1" baseline="0">
                <a:solidFill>
                  <a:schemeClr val="tx1"/>
                </a:solidFill>
                <a:latin typeface="Calibri" pitchFamily="34" charset="0"/>
                <a:cs typeface="Arial" pitchFamily="34" charset="0"/>
              </a:defRPr>
            </a:lvl1pPr>
          </a:lstStyle>
          <a:p>
            <a:r>
              <a:rPr lang="en-GB" noProof="0" dirty="0"/>
              <a:t>Title</a:t>
            </a:r>
          </a:p>
        </p:txBody>
      </p:sp>
      <p:sp>
        <p:nvSpPr>
          <p:cNvPr id="15" name="Espace réservé du numéro de diapositive 5"/>
          <p:cNvSpPr>
            <a:spLocks noGrp="1"/>
          </p:cNvSpPr>
          <p:nvPr>
            <p:ph type="sldNum" sz="quarter" idx="13"/>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3" name="Table Placeholder 2"/>
          <p:cNvSpPr>
            <a:spLocks noGrp="1"/>
          </p:cNvSpPr>
          <p:nvPr>
            <p:ph type="tbl" sz="quarter" idx="14"/>
          </p:nvPr>
        </p:nvSpPr>
        <p:spPr>
          <a:xfrm>
            <a:off x="815413" y="1316952"/>
            <a:ext cx="11041227" cy="5064376"/>
          </a:xfrm>
          <a:prstGeom prst="rect">
            <a:avLst/>
          </a:prstGeom>
        </p:spPr>
        <p:txBody>
          <a:bodyPr/>
          <a:lstStyle>
            <a:lvl1pPr marL="0" indent="0" algn="ctr">
              <a:buNone/>
              <a:defRPr sz="1800"/>
            </a:lvl1pPr>
          </a:lstStyle>
          <a:p>
            <a:r>
              <a:rPr lang="en-US"/>
              <a:t>Click icon to add table</a:t>
            </a:r>
            <a:endParaRPr lang="en-GB" dirty="0"/>
          </a:p>
        </p:txBody>
      </p:sp>
    </p:spTree>
    <p:extLst>
      <p:ext uri="{BB962C8B-B14F-4D97-AF65-F5344CB8AC3E}">
        <p14:creationId xmlns:p14="http://schemas.microsoft.com/office/powerpoint/2010/main" val="8848076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nd of presentation">
    <p:spTree>
      <p:nvGrpSpPr>
        <p:cNvPr id="1" name=""/>
        <p:cNvGrpSpPr/>
        <p:nvPr/>
      </p:nvGrpSpPr>
      <p:grpSpPr>
        <a:xfrm>
          <a:off x="0" y="0"/>
          <a:ext cx="0" cy="0"/>
          <a:chOff x="0" y="0"/>
          <a:chExt cx="0" cy="0"/>
        </a:xfrm>
      </p:grpSpPr>
      <p:sp>
        <p:nvSpPr>
          <p:cNvPr id="3" name="Titre 1"/>
          <p:cNvSpPr>
            <a:spLocks noGrp="1"/>
          </p:cNvSpPr>
          <p:nvPr>
            <p:ph type="title" hasCustomPrompt="1"/>
          </p:nvPr>
        </p:nvSpPr>
        <p:spPr>
          <a:xfrm>
            <a:off x="3023659" y="4149080"/>
            <a:ext cx="6240693" cy="432049"/>
          </a:xfrm>
          <a:prstGeom prst="rect">
            <a:avLst/>
          </a:prstGeom>
        </p:spPr>
        <p:txBody>
          <a:bodyPr>
            <a:noAutofit/>
          </a:bodyPr>
          <a:lstStyle>
            <a:lvl1pPr algn="l">
              <a:defRPr sz="1200" b="0" baseline="0">
                <a:solidFill>
                  <a:srgbClr val="000000"/>
                </a:solidFill>
                <a:latin typeface="Calibri" pitchFamily="34" charset="0"/>
                <a:cs typeface="Arial" pitchFamily="34" charset="0"/>
              </a:defRPr>
            </a:lvl1pPr>
          </a:lstStyle>
          <a:p>
            <a:r>
              <a:rPr lang="en-GB" sz="1200" dirty="0"/>
              <a:t>XY</a:t>
            </a:r>
            <a:br>
              <a:rPr lang="en-GB" sz="1200" dirty="0"/>
            </a:br>
            <a:r>
              <a:rPr lang="en-GB" sz="1200" dirty="0"/>
              <a:t>&lt;Position&gt;</a:t>
            </a:r>
            <a:endParaRPr lang="en-GB" noProof="0" dirty="0"/>
          </a:p>
        </p:txBody>
      </p:sp>
      <p:sp>
        <p:nvSpPr>
          <p:cNvPr id="5" name="Titre 1"/>
          <p:cNvSpPr txBox="1">
            <a:spLocks/>
          </p:cNvSpPr>
          <p:nvPr userDrawn="1"/>
        </p:nvSpPr>
        <p:spPr>
          <a:xfrm>
            <a:off x="624619" y="2348880"/>
            <a:ext cx="11040000" cy="540000"/>
          </a:xfrm>
          <a:prstGeom prst="rect">
            <a:avLst/>
          </a:prstGeom>
        </p:spPr>
        <p:txBody>
          <a:bodyPr>
            <a:noAutofit/>
          </a:bodyPr>
          <a:lstStyle>
            <a:lvl1pPr algn="ctr" rtl="0" eaLnBrk="0" fontAlgn="base" hangingPunct="0">
              <a:spcBef>
                <a:spcPct val="0"/>
              </a:spcBef>
              <a:spcAft>
                <a:spcPct val="0"/>
              </a:spcAft>
              <a:defRPr sz="3200" b="1" kern="1200" baseline="0">
                <a:solidFill>
                  <a:schemeClr val="tx1"/>
                </a:solidFill>
                <a:latin typeface="Calibri" pitchFamily="34" charset="0"/>
                <a:ea typeface="ＭＳ Ｐゴシック" charset="-128"/>
                <a:cs typeface="Arial" pitchFamily="34"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GB" sz="3200" dirty="0"/>
              <a:t>Thank You for Your Attention</a:t>
            </a:r>
          </a:p>
        </p:txBody>
      </p:sp>
      <p:sp>
        <p:nvSpPr>
          <p:cNvPr id="7" name="Titre 1"/>
          <p:cNvSpPr txBox="1">
            <a:spLocks/>
          </p:cNvSpPr>
          <p:nvPr userDrawn="1"/>
        </p:nvSpPr>
        <p:spPr>
          <a:xfrm>
            <a:off x="3023659" y="4581128"/>
            <a:ext cx="6240693" cy="540000"/>
          </a:xfrm>
          <a:prstGeom prst="rect">
            <a:avLst/>
          </a:prstGeom>
        </p:spPr>
        <p:txBody>
          <a:bodyPr>
            <a:noAutofit/>
          </a:bodyPr>
          <a:lstStyle>
            <a:lvl1pPr algn="ctr" rtl="0" eaLnBrk="0" fontAlgn="base" hangingPunct="0">
              <a:spcBef>
                <a:spcPct val="0"/>
              </a:spcBef>
              <a:spcAft>
                <a:spcPct val="0"/>
              </a:spcAft>
              <a:defRPr sz="3200" b="1" kern="1200" baseline="0">
                <a:solidFill>
                  <a:schemeClr val="tx1"/>
                </a:solidFill>
                <a:latin typeface="Calibri" pitchFamily="34" charset="0"/>
                <a:ea typeface="ＭＳ Ｐゴシック" charset="-128"/>
                <a:cs typeface="Arial" pitchFamily="34"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GB" sz="1200" b="0" kern="1200" baseline="0" dirty="0">
                <a:solidFill>
                  <a:srgbClr val="000000"/>
                </a:solidFill>
                <a:latin typeface="Calibri" pitchFamily="34" charset="0"/>
                <a:ea typeface="ＭＳ Ｐゴシック" charset="-128"/>
                <a:cs typeface="Arial" pitchFamily="34" charset="0"/>
              </a:rPr>
              <a:t>ENTSOG -- European Network of Transmission System Operators for Gas</a:t>
            </a:r>
            <a:br>
              <a:rPr lang="en-GB" sz="1200" b="0" kern="1200" baseline="0" dirty="0">
                <a:solidFill>
                  <a:srgbClr val="000000"/>
                </a:solidFill>
                <a:latin typeface="Calibri" pitchFamily="34" charset="0"/>
                <a:ea typeface="ＭＳ Ｐゴシック" charset="-128"/>
                <a:cs typeface="Arial" pitchFamily="34" charset="0"/>
              </a:rPr>
            </a:br>
            <a:r>
              <a:rPr lang="en-GB" sz="1200" b="0" kern="1200" baseline="0" dirty="0">
                <a:solidFill>
                  <a:srgbClr val="000000"/>
                </a:solidFill>
                <a:latin typeface="Calibri" pitchFamily="34" charset="0"/>
                <a:ea typeface="ＭＳ Ｐゴシック" charset="-128"/>
                <a:cs typeface="Arial" pitchFamily="34" charset="0"/>
              </a:rPr>
              <a:t>Avenue de </a:t>
            </a:r>
            <a:r>
              <a:rPr lang="en-GB" sz="1200" b="0" kern="1200" baseline="0" dirty="0" err="1">
                <a:solidFill>
                  <a:srgbClr val="000000"/>
                </a:solidFill>
                <a:latin typeface="Calibri" pitchFamily="34" charset="0"/>
                <a:ea typeface="ＭＳ Ｐゴシック" charset="-128"/>
                <a:cs typeface="Arial" pitchFamily="34" charset="0"/>
              </a:rPr>
              <a:t>Cortenbergh</a:t>
            </a:r>
            <a:r>
              <a:rPr lang="en-GB" sz="1200" b="0" kern="1200" baseline="0" dirty="0">
                <a:solidFill>
                  <a:srgbClr val="000000"/>
                </a:solidFill>
                <a:latin typeface="Calibri" pitchFamily="34" charset="0"/>
                <a:ea typeface="ＭＳ Ｐゴシック" charset="-128"/>
                <a:cs typeface="Arial" pitchFamily="34" charset="0"/>
              </a:rPr>
              <a:t> 100, B-1000 Brussels</a:t>
            </a:r>
          </a:p>
        </p:txBody>
      </p:sp>
      <p:sp>
        <p:nvSpPr>
          <p:cNvPr id="8" name="Titre 1"/>
          <p:cNvSpPr txBox="1">
            <a:spLocks/>
          </p:cNvSpPr>
          <p:nvPr userDrawn="1"/>
        </p:nvSpPr>
        <p:spPr>
          <a:xfrm>
            <a:off x="3023659" y="5193256"/>
            <a:ext cx="6240693" cy="540000"/>
          </a:xfrm>
          <a:prstGeom prst="rect">
            <a:avLst/>
          </a:prstGeom>
        </p:spPr>
        <p:txBody>
          <a:bodyPr>
            <a:noAutofit/>
          </a:bodyPr>
          <a:lstStyle>
            <a:lvl1pPr algn="ctr" rtl="0" eaLnBrk="0" fontAlgn="base" hangingPunct="0">
              <a:spcBef>
                <a:spcPct val="0"/>
              </a:spcBef>
              <a:spcAft>
                <a:spcPct val="0"/>
              </a:spcAft>
              <a:defRPr sz="3200" b="1" kern="1200" baseline="0">
                <a:solidFill>
                  <a:schemeClr val="tx1"/>
                </a:solidFill>
                <a:latin typeface="Calibri" pitchFamily="34" charset="0"/>
                <a:ea typeface="ＭＳ Ｐゴシック" charset="-128"/>
                <a:cs typeface="Arial" pitchFamily="34"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GB" sz="1200" b="0" kern="1200" baseline="0" dirty="0">
                <a:solidFill>
                  <a:srgbClr val="000000"/>
                </a:solidFill>
                <a:latin typeface="Calibri" pitchFamily="34" charset="0"/>
                <a:ea typeface="ＭＳ Ｐゴシック" charset="-128"/>
                <a:cs typeface="Arial" pitchFamily="34" charset="0"/>
              </a:rPr>
              <a:t>EML:</a:t>
            </a:r>
          </a:p>
          <a:p>
            <a:pPr algn="l"/>
            <a:r>
              <a:rPr lang="de-DE" sz="1200" b="0" kern="1200" baseline="0" dirty="0">
                <a:solidFill>
                  <a:srgbClr val="000000"/>
                </a:solidFill>
                <a:latin typeface="Calibri" pitchFamily="34" charset="0"/>
                <a:ea typeface="ＭＳ Ｐゴシック" charset="-128"/>
                <a:cs typeface="Arial" pitchFamily="34" charset="0"/>
              </a:rPr>
              <a:t>WWW: </a:t>
            </a:r>
            <a:r>
              <a:rPr lang="de-DE" sz="1200" b="0" u="sng" kern="1200" baseline="0" dirty="0">
                <a:solidFill>
                  <a:schemeClr val="tx1"/>
                </a:solidFill>
                <a:latin typeface="Calibri" pitchFamily="34" charset="0"/>
                <a:ea typeface="ＭＳ Ｐゴシック" charset="-128"/>
                <a:cs typeface="Arial" pitchFamily="34" charset="0"/>
              </a:rPr>
              <a:t>www.entsog.eu</a:t>
            </a:r>
            <a:endParaRPr lang="en-GB" sz="1200" b="0" u="sng" kern="1200" baseline="0" dirty="0">
              <a:solidFill>
                <a:schemeClr val="tx1"/>
              </a:solidFill>
              <a:latin typeface="Calibri" pitchFamily="34" charset="0"/>
              <a:ea typeface="ＭＳ Ｐゴシック" charset="-128"/>
              <a:cs typeface="Arial" pitchFamily="34" charset="0"/>
            </a:endParaRPr>
          </a:p>
        </p:txBody>
      </p:sp>
      <p:sp>
        <p:nvSpPr>
          <p:cNvPr id="13" name="Text Placeholder 12"/>
          <p:cNvSpPr>
            <a:spLocks noGrp="1"/>
          </p:cNvSpPr>
          <p:nvPr>
            <p:ph type="body" sz="quarter" idx="10" hasCustomPrompt="1"/>
          </p:nvPr>
        </p:nvSpPr>
        <p:spPr>
          <a:xfrm>
            <a:off x="3657633" y="5185768"/>
            <a:ext cx="1536072" cy="287933"/>
          </a:xfrm>
          <a:prstGeom prst="rect">
            <a:avLst/>
          </a:prstGeom>
        </p:spPr>
        <p:txBody>
          <a:bodyPr/>
          <a:lstStyle>
            <a:lvl1pPr marL="0" indent="0">
              <a:buNone/>
              <a:defRPr sz="1200" u="sng"/>
            </a:lvl1pPr>
            <a:lvl2pPr>
              <a:defRPr sz="1200"/>
            </a:lvl2pPr>
            <a:lvl3pPr>
              <a:defRPr sz="1200"/>
            </a:lvl3pPr>
            <a:lvl4pPr>
              <a:defRPr sz="1200"/>
            </a:lvl4pPr>
            <a:lvl5pPr>
              <a:defRPr sz="1200"/>
            </a:lvl5pPr>
          </a:lstStyle>
          <a:p>
            <a:pPr lvl="0"/>
            <a:r>
              <a:rPr lang="en-GB" noProof="0"/>
              <a:t>x.y@entsog.eu</a:t>
            </a:r>
          </a:p>
        </p:txBody>
      </p:sp>
    </p:spTree>
    <p:extLst>
      <p:ext uri="{BB962C8B-B14F-4D97-AF65-F5344CB8AC3E}">
        <p14:creationId xmlns:p14="http://schemas.microsoft.com/office/powerpoint/2010/main" val="6920146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Agenda slide GLE">
    <p:spTree>
      <p:nvGrpSpPr>
        <p:cNvPr id="1" name=""/>
        <p:cNvGrpSpPr/>
        <p:nvPr/>
      </p:nvGrpSpPr>
      <p:grpSpPr>
        <a:xfrm>
          <a:off x="0" y="0"/>
          <a:ext cx="0" cy="0"/>
          <a:chOff x="0" y="0"/>
          <a:chExt cx="0" cy="0"/>
        </a:xfrm>
      </p:grpSpPr>
      <p:pic>
        <p:nvPicPr>
          <p:cNvPr id="7" name="Picture 6" descr="A picture containing nature&#10;&#10;Description generated with high confidence">
            <a:extLst>
              <a:ext uri="{FF2B5EF4-FFF2-40B4-BE49-F238E27FC236}">
                <a16:creationId xmlns:a16="http://schemas.microsoft.com/office/drawing/2014/main" id="{E32BB3C6-8229-41C9-94DD-87B3DA949188}"/>
              </a:ext>
            </a:extLst>
          </p:cNvPr>
          <p:cNvPicPr>
            <a:picLocks noChangeAspect="1"/>
          </p:cNvPicPr>
          <p:nvPr userDrawn="1"/>
        </p:nvPicPr>
        <p:blipFill rotWithShape="1">
          <a:blip r:embed="rId2"/>
          <a:srcRect r="787" b="787"/>
          <a:stretch/>
        </p:blipFill>
        <p:spPr>
          <a:xfrm>
            <a:off x="0" y="0"/>
            <a:ext cx="12192000" cy="6858000"/>
          </a:xfrm>
          <a:prstGeom prst="rect">
            <a:avLst/>
          </a:prstGeom>
        </p:spPr>
      </p:pic>
      <p:pic>
        <p:nvPicPr>
          <p:cNvPr id="5" name="Picture 4">
            <a:extLst>
              <a:ext uri="{FF2B5EF4-FFF2-40B4-BE49-F238E27FC236}">
                <a16:creationId xmlns:a16="http://schemas.microsoft.com/office/drawing/2014/main" id="{1A9778CF-5D54-4D90-8736-A5A8597D1E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07093" y="4478215"/>
            <a:ext cx="4285116" cy="2122148"/>
          </a:xfrm>
          <a:prstGeom prst="rect">
            <a:avLst/>
          </a:prstGeom>
        </p:spPr>
      </p:pic>
    </p:spTree>
    <p:extLst>
      <p:ext uri="{BB962C8B-B14F-4D97-AF65-F5344CB8AC3E}">
        <p14:creationId xmlns:p14="http://schemas.microsoft.com/office/powerpoint/2010/main" val="1567270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608" y="0"/>
            <a:ext cx="12130785" cy="6858000"/>
          </a:xfrm>
          <a:prstGeom prst="rect">
            <a:avLst/>
          </a:prstGeom>
        </p:spPr>
      </p:pic>
      <p:sp>
        <p:nvSpPr>
          <p:cNvPr id="6" name="Title 4"/>
          <p:cNvSpPr>
            <a:spLocks noGrp="1"/>
          </p:cNvSpPr>
          <p:nvPr>
            <p:ph type="ctrTitle" hasCustomPrompt="1"/>
          </p:nvPr>
        </p:nvSpPr>
        <p:spPr bwMode="auto">
          <a:xfrm>
            <a:off x="815413" y="2530800"/>
            <a:ext cx="10572824" cy="857256"/>
          </a:xfrm>
          <a:prstGeom prst="rect">
            <a:avLst/>
          </a:prstGeom>
          <a:noFill/>
          <a:ln>
            <a:miter lim="800000"/>
            <a:headEnd/>
            <a:tailEnd/>
          </a:ln>
        </p:spPr>
        <p:txBody>
          <a:bodyPr vert="horz" wrap="square" lIns="91440" tIns="45720" rIns="91440" bIns="45720" numCol="1" anchor="t" anchorCtr="0" compatLnSpc="1">
            <a:prstTxWarp prst="textNoShape">
              <a:avLst/>
            </a:prstTxWarp>
            <a:normAutofit/>
          </a:bodyPr>
          <a:lstStyle>
            <a:lvl1pPr>
              <a:defRPr b="1" baseline="0">
                <a:solidFill>
                  <a:schemeClr val="tx1"/>
                </a:solidFill>
                <a:latin typeface="+mj-lt"/>
              </a:defRPr>
            </a:lvl1pPr>
          </a:lstStyle>
          <a:p>
            <a:r>
              <a:rPr lang="en-GB" sz="4400" noProof="0">
                <a:solidFill>
                  <a:schemeClr val="tx1"/>
                </a:solidFill>
                <a:ea typeface="ＭＳ Ｐゴシック"/>
                <a:cs typeface="ＭＳ Ｐゴシック"/>
              </a:rPr>
              <a:t>Cover title</a:t>
            </a:r>
          </a:p>
        </p:txBody>
      </p:sp>
      <p:sp>
        <p:nvSpPr>
          <p:cNvPr id="18" name="Text Placeholder 17"/>
          <p:cNvSpPr>
            <a:spLocks noGrp="1"/>
          </p:cNvSpPr>
          <p:nvPr>
            <p:ph type="body" sz="quarter" idx="12" hasCustomPrompt="1"/>
          </p:nvPr>
        </p:nvSpPr>
        <p:spPr>
          <a:xfrm>
            <a:off x="2904128" y="4941168"/>
            <a:ext cx="6360225" cy="936104"/>
          </a:xfrm>
          <a:prstGeom prst="rect">
            <a:avLst/>
          </a:prstGeom>
        </p:spPr>
        <p:txBody>
          <a:bodyPr/>
          <a:lstStyle>
            <a:lvl1pPr marL="0" indent="0" algn="ctr">
              <a:buFontTx/>
              <a:buNone/>
              <a:defRPr sz="2400" b="1" i="0" baseline="0">
                <a:solidFill>
                  <a:srgbClr val="000000"/>
                </a:solidFill>
              </a:defRPr>
            </a:lvl1pPr>
          </a:lstStyle>
          <a:p>
            <a:pPr lvl="0"/>
            <a:r>
              <a:rPr lang="en-GB" noProof="0"/>
              <a:t>Name: ENTSOG representative</a:t>
            </a:r>
            <a:br>
              <a:rPr lang="en-GB" noProof="0"/>
            </a:br>
            <a:r>
              <a:rPr lang="en-GB" noProof="0"/>
              <a:t>Position: Adviser/EGM/President</a:t>
            </a:r>
          </a:p>
        </p:txBody>
      </p:sp>
      <p:sp>
        <p:nvSpPr>
          <p:cNvPr id="20" name="Text Placeholder 19"/>
          <p:cNvSpPr>
            <a:spLocks noGrp="1"/>
          </p:cNvSpPr>
          <p:nvPr>
            <p:ph type="body" sz="quarter" idx="13" hasCustomPrompt="1"/>
          </p:nvPr>
        </p:nvSpPr>
        <p:spPr>
          <a:xfrm>
            <a:off x="1487488" y="3789364"/>
            <a:ext cx="9409045" cy="503733"/>
          </a:xfrm>
          <a:prstGeom prst="rect">
            <a:avLst/>
          </a:prstGeom>
        </p:spPr>
        <p:txBody>
          <a:bodyPr/>
          <a:lstStyle>
            <a:lvl1pPr marL="0" indent="0" algn="ctr">
              <a:buFontTx/>
              <a:buNone/>
              <a:defRPr sz="2800" b="1">
                <a:solidFill>
                  <a:schemeClr val="accent3"/>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noProof="0" dirty="0"/>
              <a:t>Cover subtitle</a:t>
            </a:r>
          </a:p>
        </p:txBody>
      </p:sp>
      <p:sp>
        <p:nvSpPr>
          <p:cNvPr id="22" name="Text Placeholder 21"/>
          <p:cNvSpPr>
            <a:spLocks noGrp="1"/>
          </p:cNvSpPr>
          <p:nvPr>
            <p:ph type="body" sz="quarter" idx="14" hasCustomPrompt="1"/>
          </p:nvPr>
        </p:nvSpPr>
        <p:spPr>
          <a:xfrm>
            <a:off x="4221989" y="6237289"/>
            <a:ext cx="3743424" cy="360064"/>
          </a:xfrm>
          <a:prstGeom prst="rect">
            <a:avLst/>
          </a:prstGeom>
        </p:spPr>
        <p:txBody>
          <a:bodyPr/>
          <a:lstStyle>
            <a:lvl1pPr marL="0" indent="0" algn="ctr">
              <a:buNone/>
              <a:defRPr sz="1800" b="1" baseline="0">
                <a:solidFill>
                  <a:srgbClr val="87888A"/>
                </a:solidFill>
              </a:defRPr>
            </a:lvl1pPr>
          </a:lstStyle>
          <a:p>
            <a:pPr lvl="0"/>
            <a:r>
              <a:rPr lang="en-GB" noProof="0"/>
              <a:t>&lt;Place&gt; -- DD Month YYYY</a:t>
            </a:r>
          </a:p>
        </p:txBody>
      </p:sp>
    </p:spTree>
    <p:extLst>
      <p:ext uri="{BB962C8B-B14F-4D97-AF65-F5344CB8AC3E}">
        <p14:creationId xmlns:p14="http://schemas.microsoft.com/office/powerpoint/2010/main" val="32492085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page DRAF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608" y="0"/>
            <a:ext cx="12130785" cy="6858000"/>
          </a:xfrm>
          <a:prstGeom prst="rect">
            <a:avLst/>
          </a:prstGeom>
        </p:spPr>
      </p:pic>
      <p:sp>
        <p:nvSpPr>
          <p:cNvPr id="6" name="Title 4"/>
          <p:cNvSpPr>
            <a:spLocks noGrp="1"/>
          </p:cNvSpPr>
          <p:nvPr>
            <p:ph type="ctrTitle" hasCustomPrompt="1"/>
          </p:nvPr>
        </p:nvSpPr>
        <p:spPr bwMode="auto">
          <a:xfrm>
            <a:off x="815413" y="2530800"/>
            <a:ext cx="10572824" cy="857256"/>
          </a:xfrm>
          <a:prstGeom prst="rect">
            <a:avLst/>
          </a:prstGeom>
          <a:noFill/>
          <a:ln>
            <a:miter lim="800000"/>
            <a:headEnd/>
            <a:tailEnd/>
          </a:ln>
        </p:spPr>
        <p:txBody>
          <a:bodyPr vert="horz" wrap="square" lIns="91440" tIns="45720" rIns="91440" bIns="45720" numCol="1" anchor="t" anchorCtr="0" compatLnSpc="1">
            <a:prstTxWarp prst="textNoShape">
              <a:avLst/>
            </a:prstTxWarp>
            <a:normAutofit/>
          </a:bodyPr>
          <a:lstStyle>
            <a:lvl1pPr>
              <a:defRPr b="1" baseline="0">
                <a:solidFill>
                  <a:schemeClr val="tx1"/>
                </a:solidFill>
                <a:latin typeface="+mj-lt"/>
              </a:defRPr>
            </a:lvl1pPr>
          </a:lstStyle>
          <a:p>
            <a:r>
              <a:rPr lang="en-GB" sz="4400" noProof="0">
                <a:solidFill>
                  <a:schemeClr val="tx1"/>
                </a:solidFill>
                <a:ea typeface="ＭＳ Ｐゴシック"/>
                <a:cs typeface="ＭＳ Ｐゴシック"/>
              </a:rPr>
              <a:t>Cover title</a:t>
            </a:r>
          </a:p>
        </p:txBody>
      </p:sp>
      <p:sp>
        <p:nvSpPr>
          <p:cNvPr id="18" name="Text Placeholder 17"/>
          <p:cNvSpPr>
            <a:spLocks noGrp="1"/>
          </p:cNvSpPr>
          <p:nvPr>
            <p:ph type="body" sz="quarter" idx="12" hasCustomPrompt="1"/>
          </p:nvPr>
        </p:nvSpPr>
        <p:spPr>
          <a:xfrm>
            <a:off x="2904128" y="4941168"/>
            <a:ext cx="6360225" cy="936104"/>
          </a:xfrm>
          <a:prstGeom prst="rect">
            <a:avLst/>
          </a:prstGeom>
        </p:spPr>
        <p:txBody>
          <a:bodyPr/>
          <a:lstStyle>
            <a:lvl1pPr marL="0" indent="0" algn="ctr">
              <a:buFontTx/>
              <a:buNone/>
              <a:defRPr sz="2400" b="1" i="0" baseline="0">
                <a:solidFill>
                  <a:srgbClr val="000000"/>
                </a:solidFill>
              </a:defRPr>
            </a:lvl1pPr>
          </a:lstStyle>
          <a:p>
            <a:pPr lvl="0"/>
            <a:r>
              <a:rPr lang="en-GB" noProof="0"/>
              <a:t>Name: ENTSOG representative</a:t>
            </a:r>
            <a:br>
              <a:rPr lang="en-GB" noProof="0"/>
            </a:br>
            <a:r>
              <a:rPr lang="en-GB" noProof="0"/>
              <a:t>Position: Adviser/EGM/President</a:t>
            </a:r>
          </a:p>
        </p:txBody>
      </p:sp>
      <p:sp>
        <p:nvSpPr>
          <p:cNvPr id="20" name="Text Placeholder 19"/>
          <p:cNvSpPr>
            <a:spLocks noGrp="1"/>
          </p:cNvSpPr>
          <p:nvPr>
            <p:ph type="body" sz="quarter" idx="13" hasCustomPrompt="1"/>
          </p:nvPr>
        </p:nvSpPr>
        <p:spPr>
          <a:xfrm>
            <a:off x="1487488" y="3789364"/>
            <a:ext cx="9409045" cy="503733"/>
          </a:xfrm>
          <a:prstGeom prst="rect">
            <a:avLst/>
          </a:prstGeom>
        </p:spPr>
        <p:txBody>
          <a:bodyPr/>
          <a:lstStyle>
            <a:lvl1pPr marL="0" indent="0" algn="ctr">
              <a:buFontTx/>
              <a:buNone/>
              <a:defRPr sz="2800" b="1">
                <a:solidFill>
                  <a:schemeClr val="accent3"/>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noProof="0" dirty="0"/>
              <a:t>Cover subtitle</a:t>
            </a:r>
          </a:p>
        </p:txBody>
      </p:sp>
      <p:sp>
        <p:nvSpPr>
          <p:cNvPr id="8" name="PowerPlusWaterMarkObject357831064"/>
          <p:cNvSpPr>
            <a:spLocks noChangeArrowheads="1" noChangeShapeType="1" noTextEdit="1"/>
          </p:cNvSpPr>
          <p:nvPr userDrawn="1"/>
        </p:nvSpPr>
        <p:spPr bwMode="auto">
          <a:xfrm rot="18900000">
            <a:off x="3323361" y="2133516"/>
            <a:ext cx="5820731" cy="224036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rtl="0">
              <a:buNone/>
            </a:pPr>
            <a:r>
              <a:rPr lang="en-US" sz="100" b="0" spc="0" dirty="0">
                <a:ln>
                  <a:noFill/>
                </a:ln>
                <a:solidFill>
                  <a:srgbClr val="C0C0C0">
                    <a:alpha val="50000"/>
                  </a:srgbClr>
                </a:solidFill>
                <a:latin typeface="Arial" pitchFamily="34" charset="0"/>
                <a:cs typeface="Arial" pitchFamily="34" charset="0"/>
              </a:rPr>
              <a:t>DRAFT</a:t>
            </a:r>
          </a:p>
        </p:txBody>
      </p:sp>
      <p:sp>
        <p:nvSpPr>
          <p:cNvPr id="22" name="Text Placeholder 21"/>
          <p:cNvSpPr>
            <a:spLocks noGrp="1"/>
          </p:cNvSpPr>
          <p:nvPr>
            <p:ph type="body" sz="quarter" idx="14" hasCustomPrompt="1"/>
          </p:nvPr>
        </p:nvSpPr>
        <p:spPr>
          <a:xfrm>
            <a:off x="4221989" y="6237289"/>
            <a:ext cx="3743424" cy="360064"/>
          </a:xfrm>
          <a:prstGeom prst="rect">
            <a:avLst/>
          </a:prstGeom>
        </p:spPr>
        <p:txBody>
          <a:bodyPr/>
          <a:lstStyle>
            <a:lvl1pPr marL="0" indent="0" algn="ctr">
              <a:buNone/>
              <a:defRPr sz="1800" b="1" baseline="0">
                <a:solidFill>
                  <a:srgbClr val="87888A"/>
                </a:solidFill>
              </a:defRPr>
            </a:lvl1pPr>
          </a:lstStyle>
          <a:p>
            <a:pPr lvl="0"/>
            <a:r>
              <a:rPr lang="en-GB" noProof="0"/>
              <a:t>&lt;Place&gt; -- DD Month YYYY</a:t>
            </a:r>
          </a:p>
        </p:txBody>
      </p:sp>
    </p:spTree>
    <p:extLst>
      <p:ext uri="{BB962C8B-B14F-4D97-AF65-F5344CB8AC3E}">
        <p14:creationId xmlns:p14="http://schemas.microsoft.com/office/powerpoint/2010/main" val="15818464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lour char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8"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smtClean="0"/>
              <a:pPr>
                <a:defRPr/>
              </a:pPr>
              <a:t>‹#›</a:t>
            </a:fld>
            <a:endParaRPr lang="en-GB"/>
          </a:p>
        </p:txBody>
      </p:sp>
      <p:graphicFrame>
        <p:nvGraphicFramePr>
          <p:cNvPr id="9" name="Table 8"/>
          <p:cNvGraphicFramePr>
            <a:graphicFrameLocks noGrp="1"/>
          </p:cNvGraphicFramePr>
          <p:nvPr userDrawn="1">
            <p:extLst/>
          </p:nvPr>
        </p:nvGraphicFramePr>
        <p:xfrm>
          <a:off x="527381" y="548680"/>
          <a:ext cx="10753195" cy="5290064"/>
        </p:xfrm>
        <a:graphic>
          <a:graphicData uri="http://schemas.openxmlformats.org/drawingml/2006/table">
            <a:tbl>
              <a:tblPr firstRow="1" bandRow="1">
                <a:tableStyleId>{5C22544A-7EE6-4342-B048-85BDC9FD1C3A}</a:tableStyleId>
              </a:tblPr>
              <a:tblGrid>
                <a:gridCol w="2976331">
                  <a:extLst>
                    <a:ext uri="{9D8B030D-6E8A-4147-A177-3AD203B41FA5}">
                      <a16:colId xmlns:a16="http://schemas.microsoft.com/office/drawing/2014/main" val="20000"/>
                    </a:ext>
                  </a:extLst>
                </a:gridCol>
                <a:gridCol w="658707">
                  <a:extLst>
                    <a:ext uri="{9D8B030D-6E8A-4147-A177-3AD203B41FA5}">
                      <a16:colId xmlns:a16="http://schemas.microsoft.com/office/drawing/2014/main" val="20001"/>
                    </a:ext>
                  </a:extLst>
                </a:gridCol>
                <a:gridCol w="658707">
                  <a:extLst>
                    <a:ext uri="{9D8B030D-6E8A-4147-A177-3AD203B41FA5}">
                      <a16:colId xmlns:a16="http://schemas.microsoft.com/office/drawing/2014/main" val="20002"/>
                    </a:ext>
                  </a:extLst>
                </a:gridCol>
                <a:gridCol w="658707">
                  <a:extLst>
                    <a:ext uri="{9D8B030D-6E8A-4147-A177-3AD203B41FA5}">
                      <a16:colId xmlns:a16="http://schemas.microsoft.com/office/drawing/2014/main" val="20003"/>
                    </a:ext>
                  </a:extLst>
                </a:gridCol>
                <a:gridCol w="1571405">
                  <a:extLst>
                    <a:ext uri="{9D8B030D-6E8A-4147-A177-3AD203B41FA5}">
                      <a16:colId xmlns:a16="http://schemas.microsoft.com/office/drawing/2014/main" val="20004"/>
                    </a:ext>
                  </a:extLst>
                </a:gridCol>
                <a:gridCol w="1571405">
                  <a:extLst>
                    <a:ext uri="{9D8B030D-6E8A-4147-A177-3AD203B41FA5}">
                      <a16:colId xmlns:a16="http://schemas.microsoft.com/office/drawing/2014/main" val="20005"/>
                    </a:ext>
                  </a:extLst>
                </a:gridCol>
                <a:gridCol w="2657933">
                  <a:extLst>
                    <a:ext uri="{9D8B030D-6E8A-4147-A177-3AD203B41FA5}">
                      <a16:colId xmlns:a16="http://schemas.microsoft.com/office/drawing/2014/main" val="20006"/>
                    </a:ext>
                  </a:extLst>
                </a:gridCol>
              </a:tblGrid>
              <a:tr h="296752">
                <a:tc>
                  <a:txBody>
                    <a:bodyPr/>
                    <a:lstStyle/>
                    <a:p>
                      <a:r>
                        <a:rPr lang="en-GB" sz="1800" b="1" i="1" noProof="0" dirty="0">
                          <a:solidFill>
                            <a:srgbClr val="1F4484"/>
                          </a:solidFill>
                        </a:rPr>
                        <a:t>ENTSOG</a:t>
                      </a:r>
                      <a:r>
                        <a:rPr lang="en-GB" sz="1800" b="1" i="1" baseline="0" noProof="0" dirty="0">
                          <a:solidFill>
                            <a:srgbClr val="1F4484"/>
                          </a:solidFill>
                        </a:rPr>
                        <a:t> </a:t>
                      </a:r>
                      <a:r>
                        <a:rPr lang="en-GB" sz="1800" b="1" i="1" noProof="0" dirty="0">
                          <a:solidFill>
                            <a:srgbClr val="1F4484"/>
                          </a:solidFill>
                        </a:rPr>
                        <a:t>Colour chart</a:t>
                      </a:r>
                    </a:p>
                  </a:txBody>
                  <a:tcPr marL="121920" marR="12192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800" b="1" i="1" noProof="0" dirty="0">
                          <a:solidFill>
                            <a:srgbClr val="1F4484"/>
                          </a:solidFill>
                        </a:rPr>
                        <a:t>R</a:t>
                      </a:r>
                    </a:p>
                  </a:txBody>
                  <a:tcPr marL="121920" marR="12192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800" b="1" i="1" noProof="0" dirty="0">
                          <a:solidFill>
                            <a:srgbClr val="1F4484"/>
                          </a:solidFill>
                        </a:rPr>
                        <a:t>G</a:t>
                      </a:r>
                    </a:p>
                  </a:txBody>
                  <a:tcPr marL="121920" marR="12192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800" b="1" i="1" noProof="0" dirty="0">
                          <a:solidFill>
                            <a:srgbClr val="1F4484"/>
                          </a:solidFill>
                        </a:rPr>
                        <a:t>B</a:t>
                      </a:r>
                    </a:p>
                  </a:txBody>
                  <a:tcPr marL="121920" marR="12192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800" b="1" noProof="0" dirty="0">
                          <a:solidFill>
                            <a:srgbClr val="1F4484"/>
                          </a:solidFill>
                        </a:rPr>
                        <a:t>CMYK</a:t>
                      </a:r>
                      <a:endParaRPr lang="en-GB" sz="1800" b="1" noProof="0" dirty="0">
                        <a:solidFill>
                          <a:srgbClr val="1F4484"/>
                        </a:solidFill>
                      </a:endParaRPr>
                    </a:p>
                  </a:txBody>
                  <a:tcPr marL="121920" marR="12192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800" b="1" noProof="0" dirty="0">
                        <a:solidFill>
                          <a:srgbClr val="1F4484"/>
                        </a:solidFill>
                      </a:endParaRPr>
                    </a:p>
                  </a:txBody>
                  <a:tcPr marL="121920" marR="12192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800" b="1" noProof="0" dirty="0">
                          <a:solidFill>
                            <a:srgbClr val="1F4484"/>
                          </a:solidFill>
                        </a:rPr>
                        <a:t>used in (eg. NeMo)</a:t>
                      </a:r>
                      <a:endParaRPr lang="en-GB" sz="1800" b="1" noProof="0" dirty="0">
                        <a:solidFill>
                          <a:srgbClr val="1F4484"/>
                        </a:solidFill>
                      </a:endParaRPr>
                    </a:p>
                  </a:txBody>
                  <a:tcPr marL="121920" marR="12192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44016">
                <a:tc>
                  <a:txBody>
                    <a:bodyPr/>
                    <a:lstStyle/>
                    <a:p>
                      <a:r>
                        <a:rPr lang="en-GB" sz="1400" b="1" baseline="0" noProof="0" dirty="0">
                          <a:solidFill>
                            <a:srgbClr val="1F4484"/>
                          </a:solidFill>
                        </a:rPr>
                        <a:t>Dark Grey</a:t>
                      </a:r>
                    </a:p>
                  </a:txBody>
                  <a:tcPr marL="121920" marR="121920"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128</a:t>
                      </a:r>
                    </a:p>
                  </a:txBody>
                  <a:tcPr marL="121920" marR="121920"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130</a:t>
                      </a:r>
                    </a:p>
                  </a:txBody>
                  <a:tcPr marL="121920" marR="121920"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133</a:t>
                      </a:r>
                    </a:p>
                  </a:txBody>
                  <a:tcPr marL="121920" marR="121920"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0/0/0/60</a:t>
                      </a:r>
                      <a:endParaRPr lang="en-GB" sz="1400" b="1" noProof="0" dirty="0">
                        <a:solidFill>
                          <a:srgbClr val="1F4484"/>
                        </a:solidFill>
                      </a:endParaRPr>
                    </a:p>
                  </a:txBody>
                  <a:tcPr marL="121920" marR="121920"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1F4484"/>
                        </a:solidFill>
                      </a:endParaRPr>
                    </a:p>
                  </a:txBody>
                  <a:tcPr marL="121920" marR="121920"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80828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b="1" kern="1200" noProof="0" dirty="0">
                          <a:solidFill>
                            <a:srgbClr val="1F4484"/>
                          </a:solidFill>
                          <a:latin typeface="+mn-lt"/>
                          <a:ea typeface="+mn-ea"/>
                          <a:cs typeface="+mn-cs"/>
                        </a:rPr>
                        <a:t>Presentation, (NP)</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44016">
                <a:tc>
                  <a:txBody>
                    <a:bodyPr/>
                    <a:lstStyle/>
                    <a:p>
                      <a:r>
                        <a:rPr lang="en-GB" sz="1400" b="1" baseline="0" noProof="0" dirty="0">
                          <a:solidFill>
                            <a:srgbClr val="1F4484"/>
                          </a:solidFill>
                        </a:rPr>
                        <a:t>Grey</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191</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191</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191</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25/20/20/0</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FBFBF"/>
                    </a:solidFill>
                  </a:tcPr>
                </a:tc>
                <a:tc>
                  <a:txBody>
                    <a:bodyPr/>
                    <a:lstStyle/>
                    <a:p>
                      <a:r>
                        <a:rPr lang="de-DE" sz="1400" b="1" kern="1200" noProof="0" dirty="0">
                          <a:solidFill>
                            <a:srgbClr val="1F4484"/>
                          </a:solidFill>
                          <a:latin typeface="+mn-lt"/>
                          <a:ea typeface="+mn-ea"/>
                          <a:cs typeface="+mn-cs"/>
                        </a:rPr>
                        <a:t>Presentation</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44016">
                <a:tc>
                  <a:txBody>
                    <a:bodyPr/>
                    <a:lstStyle/>
                    <a:p>
                      <a:r>
                        <a:rPr lang="en-GB" sz="1400" b="1" baseline="0" noProof="0" dirty="0">
                          <a:solidFill>
                            <a:srgbClr val="1F4484"/>
                          </a:solidFill>
                        </a:rPr>
                        <a:t>Light Grey</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217</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217</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217</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14/10/11/0</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9D9D9"/>
                    </a:solidFill>
                  </a:tcPr>
                </a:tc>
                <a:tc>
                  <a:txBody>
                    <a:bodyPr/>
                    <a:lstStyle/>
                    <a:p>
                      <a:r>
                        <a:rPr lang="de-DE" sz="1400" b="1" kern="1200" noProof="0" dirty="0">
                          <a:solidFill>
                            <a:srgbClr val="1F4484"/>
                          </a:solidFill>
                          <a:latin typeface="+mn-lt"/>
                          <a:ea typeface="+mn-ea"/>
                          <a:cs typeface="+mn-cs"/>
                        </a:rPr>
                        <a:t>Presentation</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44016">
                <a:tc>
                  <a:txBody>
                    <a:bodyPr/>
                    <a:lstStyle/>
                    <a:p>
                      <a:r>
                        <a:rPr lang="de-DE" sz="1400" b="1" baseline="0" noProof="0" dirty="0">
                          <a:solidFill>
                            <a:srgbClr val="D9D9D9"/>
                          </a:solidFill>
                        </a:rPr>
                        <a:t>Grey</a:t>
                      </a:r>
                      <a:endParaRPr lang="en-GB" sz="1400" b="1" baseline="0"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baseline="0" noProof="0" dirty="0">
                          <a:solidFill>
                            <a:srgbClr val="D9D9D9"/>
                          </a:solidFill>
                        </a:rPr>
                        <a:t>234</a:t>
                      </a:r>
                      <a:endParaRPr lang="en-GB" sz="1400" b="1" baseline="0"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baseline="0" noProof="0" dirty="0">
                          <a:solidFill>
                            <a:srgbClr val="D9D9D9"/>
                          </a:solidFill>
                        </a:rPr>
                        <a:t>231</a:t>
                      </a:r>
                      <a:endParaRPr lang="en-GB" sz="1400" b="1" baseline="0"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baseline="0" noProof="0" dirty="0">
                          <a:solidFill>
                            <a:srgbClr val="D9D9D9"/>
                          </a:solidFill>
                        </a:rPr>
                        <a:t>222</a:t>
                      </a:r>
                      <a:endParaRPr lang="en-GB" sz="1400" b="1" baseline="0"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kern="1200" baseline="0" noProof="0" dirty="0">
                          <a:solidFill>
                            <a:srgbClr val="D9D9D9"/>
                          </a:solidFill>
                          <a:latin typeface="+mn-lt"/>
                          <a:ea typeface="+mn-ea"/>
                          <a:cs typeface="+mn-cs"/>
                        </a:rPr>
                        <a:t>7/6/11/0</a:t>
                      </a:r>
                      <a:endParaRPr lang="en-GB" sz="1400" b="1" kern="1200" baseline="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AE7DE"/>
                    </a:solidFill>
                  </a:tcPr>
                </a:tc>
                <a:tc>
                  <a:txBody>
                    <a:bodyPr/>
                    <a:lstStyle/>
                    <a:p>
                      <a:r>
                        <a:rPr lang="de-DE" sz="1400" b="1" kern="1200" noProof="0" dirty="0">
                          <a:solidFill>
                            <a:srgbClr val="D9D9D9"/>
                          </a:solidFill>
                          <a:latin typeface="+mn-lt"/>
                          <a:ea typeface="+mn-ea"/>
                          <a:cs typeface="+mn-cs"/>
                        </a:rPr>
                        <a:t>Cap. map</a:t>
                      </a:r>
                      <a:endParaRPr lang="en-GB" sz="1400" b="1" kern="120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0">
                <a:tc>
                  <a:txBody>
                    <a:bodyPr/>
                    <a:lstStyle/>
                    <a:p>
                      <a:r>
                        <a:rPr lang="en-GB" sz="1400" b="1" baseline="0" noProof="0" dirty="0">
                          <a:solidFill>
                            <a:srgbClr val="1F4484"/>
                          </a:solidFill>
                        </a:rPr>
                        <a:t>Dark Blue (ENTSOG)</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31</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68</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132</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99/84/18/6</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F4484"/>
                    </a:solidFill>
                  </a:tcPr>
                </a:tc>
                <a:tc>
                  <a:txBody>
                    <a:bodyPr/>
                    <a:lstStyle/>
                    <a:p>
                      <a:r>
                        <a:rPr lang="de-DE" sz="1400" b="1" kern="1200" noProof="0" dirty="0">
                          <a:solidFill>
                            <a:srgbClr val="1F4484"/>
                          </a:solidFill>
                          <a:latin typeface="+mn-lt"/>
                          <a:ea typeface="+mn-ea"/>
                          <a:cs typeface="+mn-cs"/>
                        </a:rPr>
                        <a:t>Presentation,</a:t>
                      </a:r>
                      <a:r>
                        <a:rPr lang="de-DE" sz="1400" b="1" kern="1200" baseline="0" noProof="0" dirty="0">
                          <a:solidFill>
                            <a:srgbClr val="1F4484"/>
                          </a:solidFill>
                          <a:latin typeface="+mn-lt"/>
                          <a:ea typeface="+mn-ea"/>
                          <a:cs typeface="+mn-cs"/>
                        </a:rPr>
                        <a:t> (LNG)</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0">
                <a:tc>
                  <a:txBody>
                    <a:bodyPr/>
                    <a:lstStyle/>
                    <a:p>
                      <a:pPr marL="0" algn="l" defTabSz="914400" rtl="0" eaLnBrk="1" latinLnBrk="0" hangingPunct="1"/>
                      <a:r>
                        <a:rPr lang="en-GB" sz="1400" b="1" kern="1200" baseline="0" noProof="0" dirty="0">
                          <a:solidFill>
                            <a:srgbClr val="D9D9D9"/>
                          </a:solidFill>
                          <a:latin typeface="+mn-lt"/>
                          <a:ea typeface="+mn-ea"/>
                          <a:cs typeface="+mn-cs"/>
                        </a:rPr>
                        <a:t>Blue</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19</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156</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216</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D9D9D9"/>
                          </a:solidFill>
                        </a:rPr>
                        <a:t>75/23/0/0</a:t>
                      </a:r>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39CD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b="1" kern="1200" noProof="0" dirty="0">
                          <a:solidFill>
                            <a:srgbClr val="D9D9D9"/>
                          </a:solidFill>
                          <a:latin typeface="+mn-lt"/>
                          <a:ea typeface="+mn-ea"/>
                          <a:cs typeface="+mn-cs"/>
                        </a:rPr>
                        <a:t>Cap. map</a:t>
                      </a:r>
                      <a:endParaRPr lang="en-GB" sz="1400" b="1" kern="120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0">
                <a:tc>
                  <a:txBody>
                    <a:bodyPr/>
                    <a:lstStyle/>
                    <a:p>
                      <a:r>
                        <a:rPr lang="de-DE" sz="1400" b="1" noProof="0" dirty="0">
                          <a:solidFill>
                            <a:srgbClr val="1F4484"/>
                          </a:solidFill>
                        </a:rPr>
                        <a:t>Blue</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62</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108</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164</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kern="1200" noProof="0" dirty="0">
                          <a:solidFill>
                            <a:srgbClr val="1F4484"/>
                          </a:solidFill>
                          <a:latin typeface="+mn-lt"/>
                          <a:ea typeface="+mn-ea"/>
                          <a:cs typeface="+mn-cs"/>
                        </a:rPr>
                        <a:t>82/57/12/1</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E6CA4"/>
                    </a:solidFill>
                  </a:tcPr>
                </a:tc>
                <a:tc>
                  <a:txBody>
                    <a:bodyPr/>
                    <a:lstStyle/>
                    <a:p>
                      <a:r>
                        <a:rPr lang="de-DE" sz="1400" b="1" kern="1200" noProof="0" dirty="0">
                          <a:solidFill>
                            <a:srgbClr val="1F4484"/>
                          </a:solidFill>
                          <a:latin typeface="+mn-lt"/>
                          <a:ea typeface="+mn-ea"/>
                          <a:cs typeface="+mn-cs"/>
                        </a:rPr>
                        <a:t>Presentation</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0">
                <a:tc>
                  <a:txBody>
                    <a:bodyPr/>
                    <a:lstStyle/>
                    <a:p>
                      <a:r>
                        <a:rPr lang="de-DE" sz="1400" b="1" noProof="0" dirty="0">
                          <a:solidFill>
                            <a:srgbClr val="1F4484"/>
                          </a:solidFill>
                        </a:rPr>
                        <a:t>Middle Blue</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107</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149</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199</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kern="1200" noProof="0" dirty="0">
                          <a:solidFill>
                            <a:srgbClr val="1F4484"/>
                          </a:solidFill>
                          <a:latin typeface="+mn-lt"/>
                          <a:ea typeface="+mn-ea"/>
                          <a:cs typeface="+mn-cs"/>
                        </a:rPr>
                        <a:t>0/34/4/0</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6B95C7"/>
                    </a:solidFill>
                  </a:tcPr>
                </a:tc>
                <a:tc>
                  <a:txBody>
                    <a:bodyPr/>
                    <a:lstStyle/>
                    <a:p>
                      <a:r>
                        <a:rPr lang="de-DE" sz="1400" b="1" kern="1200" noProof="0" dirty="0">
                          <a:solidFill>
                            <a:srgbClr val="1F4484"/>
                          </a:solidFill>
                          <a:latin typeface="+mn-lt"/>
                          <a:ea typeface="+mn-ea"/>
                          <a:cs typeface="+mn-cs"/>
                        </a:rPr>
                        <a:t>Presentation</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0">
                <a:tc>
                  <a:txBody>
                    <a:bodyPr/>
                    <a:lstStyle/>
                    <a:p>
                      <a:r>
                        <a:rPr lang="de-DE" sz="1400" b="1" noProof="0" dirty="0">
                          <a:solidFill>
                            <a:srgbClr val="1F4484"/>
                          </a:solidFill>
                        </a:rPr>
                        <a:t>Light Blue</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177</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199</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225</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kern="1200" noProof="0" dirty="0">
                          <a:solidFill>
                            <a:srgbClr val="1F4484"/>
                          </a:solidFill>
                          <a:latin typeface="+mn-lt"/>
                          <a:ea typeface="+mn-ea"/>
                          <a:cs typeface="+mn-cs"/>
                        </a:rPr>
                        <a:t>29/14/3/0</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1C7E1"/>
                    </a:solidFill>
                  </a:tcPr>
                </a:tc>
                <a:tc>
                  <a:txBody>
                    <a:bodyPr/>
                    <a:lstStyle/>
                    <a:p>
                      <a:r>
                        <a:rPr lang="de-DE" sz="1400" b="1" kern="1200" noProof="0" dirty="0">
                          <a:solidFill>
                            <a:srgbClr val="1F4484"/>
                          </a:solidFill>
                          <a:latin typeface="+mn-lt"/>
                          <a:ea typeface="+mn-ea"/>
                          <a:cs typeface="+mn-cs"/>
                        </a:rPr>
                        <a:t>Presentation</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38080">
                <a:tc>
                  <a:txBody>
                    <a:bodyPr/>
                    <a:lstStyle/>
                    <a:p>
                      <a:pPr marL="0" algn="l" defTabSz="914400" rtl="0" eaLnBrk="1" latinLnBrk="0" hangingPunct="1"/>
                      <a:r>
                        <a:rPr lang="de-DE" sz="1400" b="1" kern="1200" baseline="0" noProof="0" dirty="0">
                          <a:solidFill>
                            <a:srgbClr val="D9D9D9"/>
                          </a:solidFill>
                          <a:latin typeface="+mn-lt"/>
                          <a:ea typeface="+mn-ea"/>
                          <a:cs typeface="+mn-cs"/>
                        </a:rPr>
                        <a:t>Bluish</a:t>
                      </a:r>
                      <a:endParaRPr lang="en-GB" sz="1400" b="1" kern="1200" baseline="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D9D9D9"/>
                          </a:solidFill>
                          <a:latin typeface="+mn-lt"/>
                          <a:ea typeface="+mn-ea"/>
                          <a:cs typeface="+mn-cs"/>
                        </a:rPr>
                        <a:t>217</a:t>
                      </a:r>
                      <a:endParaRPr lang="en-GB" sz="1400" b="1" kern="1200" baseline="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D9D9D9"/>
                          </a:solidFill>
                          <a:latin typeface="+mn-lt"/>
                          <a:ea typeface="+mn-ea"/>
                          <a:cs typeface="+mn-cs"/>
                        </a:rPr>
                        <a:t>233</a:t>
                      </a:r>
                      <a:endParaRPr lang="en-GB" sz="1400" b="1" kern="1200" baseline="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D9D9D9"/>
                          </a:solidFill>
                          <a:latin typeface="+mn-lt"/>
                          <a:ea typeface="+mn-ea"/>
                          <a:cs typeface="+mn-cs"/>
                        </a:rPr>
                        <a:t>247</a:t>
                      </a:r>
                      <a:endParaRPr lang="en-GB" sz="1400" b="1" kern="1200" baseline="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kern="1200" noProof="0" dirty="0">
                          <a:solidFill>
                            <a:srgbClr val="D9D9D9"/>
                          </a:solidFill>
                          <a:latin typeface="+mn-lt"/>
                          <a:ea typeface="+mn-ea"/>
                          <a:cs typeface="+mn-cs"/>
                        </a:rPr>
                        <a:t>13/3/0/0</a:t>
                      </a:r>
                      <a:endParaRPr lang="en-GB" sz="1400" b="1" kern="120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kern="120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D9E9F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b="1" kern="1200" noProof="0" dirty="0">
                          <a:solidFill>
                            <a:srgbClr val="D9D9D9"/>
                          </a:solidFill>
                          <a:latin typeface="+mn-lt"/>
                          <a:ea typeface="+mn-ea"/>
                          <a:cs typeface="+mn-cs"/>
                        </a:rPr>
                        <a:t>Cap. map</a:t>
                      </a:r>
                      <a:endParaRPr lang="en-GB" sz="1400" b="1" kern="120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0">
                <a:tc>
                  <a:txBody>
                    <a:bodyPr/>
                    <a:lstStyle/>
                    <a:p>
                      <a:pPr marL="0" algn="l" defTabSz="914400" rtl="0" eaLnBrk="1" latinLnBrk="0" hangingPunct="1"/>
                      <a:r>
                        <a:rPr lang="de-DE" sz="1400" b="1" kern="1200" baseline="0" noProof="0" dirty="0">
                          <a:solidFill>
                            <a:srgbClr val="1F4484"/>
                          </a:solidFill>
                          <a:latin typeface="+mn-lt"/>
                          <a:ea typeface="+mn-ea"/>
                          <a:cs typeface="+mn-cs"/>
                        </a:rPr>
                        <a:t>Dark Green</a:t>
                      </a:r>
                      <a:endParaRPr lang="en-GB" sz="1400" b="1" kern="1200" baseline="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1F4484"/>
                          </a:solidFill>
                          <a:latin typeface="+mn-lt"/>
                          <a:ea typeface="+mn-ea"/>
                          <a:cs typeface="+mn-cs"/>
                        </a:rPr>
                        <a:t>130</a:t>
                      </a:r>
                      <a:endParaRPr lang="en-GB" sz="1400" b="1" kern="1200" baseline="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1F4484"/>
                          </a:solidFill>
                          <a:latin typeface="+mn-lt"/>
                          <a:ea typeface="+mn-ea"/>
                          <a:cs typeface="+mn-cs"/>
                        </a:rPr>
                        <a:t>152</a:t>
                      </a:r>
                      <a:endParaRPr lang="en-GB" sz="1400" b="1" kern="1200" baseline="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1F4484"/>
                          </a:solidFill>
                          <a:latin typeface="+mn-lt"/>
                          <a:ea typeface="+mn-ea"/>
                          <a:cs typeface="+mn-cs"/>
                        </a:rPr>
                        <a:t>36</a:t>
                      </a:r>
                      <a:endParaRPr lang="en-GB" sz="1400" b="1" kern="1200" baseline="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54/25/100/5</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829824"/>
                    </a:solidFill>
                  </a:tcPr>
                </a:tc>
                <a:tc>
                  <a:txBody>
                    <a:bodyPr/>
                    <a:lstStyle/>
                    <a:p>
                      <a:r>
                        <a:rPr lang="de-DE" sz="1400" b="1" kern="1200" noProof="0" dirty="0">
                          <a:solidFill>
                            <a:srgbClr val="1F4484"/>
                          </a:solidFill>
                          <a:latin typeface="+mn-lt"/>
                          <a:ea typeface="+mn-ea"/>
                          <a:cs typeface="+mn-cs"/>
                        </a:rPr>
                        <a:t>Presentation, (Libya)</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0">
                <a:tc>
                  <a:txBody>
                    <a:bodyPr/>
                    <a:lstStyle/>
                    <a:p>
                      <a:pPr marL="0" algn="l" defTabSz="914400" rtl="0" eaLnBrk="1" latinLnBrk="0" hangingPunct="1"/>
                      <a:r>
                        <a:rPr lang="en-GB" sz="1400" b="1" kern="1200" baseline="0" noProof="0" dirty="0">
                          <a:solidFill>
                            <a:srgbClr val="D9D9D9"/>
                          </a:solidFill>
                          <a:latin typeface="+mn-lt"/>
                          <a:ea typeface="+mn-ea"/>
                          <a:cs typeface="+mn-cs"/>
                        </a:rPr>
                        <a:t>Green</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128</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195</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66</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D9D9D9"/>
                          </a:solidFill>
                        </a:rPr>
                        <a:t>55/0/100/0</a:t>
                      </a:r>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80C342"/>
                    </a:solidFill>
                  </a:tcPr>
                </a:tc>
                <a:tc>
                  <a:txBody>
                    <a:bodyPr/>
                    <a:lstStyle/>
                    <a:p>
                      <a:r>
                        <a:rPr lang="de-DE" sz="1400" b="1" kern="1200" noProof="0" dirty="0">
                          <a:solidFill>
                            <a:srgbClr val="D9D9D9"/>
                          </a:solidFill>
                          <a:latin typeface="+mn-lt"/>
                          <a:ea typeface="+mn-ea"/>
                          <a:cs typeface="+mn-cs"/>
                        </a:rPr>
                        <a:t>Cap. map</a:t>
                      </a:r>
                      <a:endParaRPr lang="en-GB" sz="1400" b="1" kern="120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0">
                <a:tc>
                  <a:txBody>
                    <a:bodyPr/>
                    <a:lstStyle/>
                    <a:p>
                      <a:pPr marL="0" algn="l" defTabSz="914400" rtl="0" eaLnBrk="1" latinLnBrk="0" hangingPunct="1"/>
                      <a:r>
                        <a:rPr lang="de-DE" sz="1400" b="1" kern="1200" baseline="0" noProof="0" dirty="0">
                          <a:solidFill>
                            <a:srgbClr val="1F4484"/>
                          </a:solidFill>
                          <a:latin typeface="+mn-lt"/>
                          <a:ea typeface="+mn-ea"/>
                          <a:cs typeface="+mn-cs"/>
                        </a:rPr>
                        <a:t>Middle Green</a:t>
                      </a:r>
                      <a:endParaRPr lang="en-GB" sz="1400" b="1" kern="1200" baseline="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1F4484"/>
                          </a:solidFill>
                          <a:latin typeface="+mn-lt"/>
                          <a:ea typeface="+mn-ea"/>
                          <a:cs typeface="+mn-cs"/>
                        </a:rPr>
                        <a:t>159</a:t>
                      </a:r>
                      <a:endParaRPr lang="en-GB" sz="1400" b="1" kern="1200" baseline="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1F4484"/>
                          </a:solidFill>
                          <a:latin typeface="+mn-lt"/>
                          <a:ea typeface="+mn-ea"/>
                          <a:cs typeface="+mn-cs"/>
                        </a:rPr>
                        <a:t>186</a:t>
                      </a:r>
                      <a:endParaRPr lang="en-GB" sz="1400" b="1" kern="1200" baseline="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1F4484"/>
                          </a:solidFill>
                          <a:latin typeface="+mn-lt"/>
                          <a:ea typeface="+mn-ea"/>
                          <a:cs typeface="+mn-cs"/>
                        </a:rPr>
                        <a:t>44</a:t>
                      </a:r>
                      <a:endParaRPr lang="en-GB" sz="1400" b="1" kern="1200" baseline="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43/10/100/0</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9FBA2C"/>
                    </a:solidFill>
                  </a:tcPr>
                </a:tc>
                <a:tc>
                  <a:txBody>
                    <a:bodyPr/>
                    <a:lstStyle/>
                    <a:p>
                      <a:r>
                        <a:rPr lang="de-DE" sz="1400" b="1" kern="1200" noProof="0" dirty="0">
                          <a:solidFill>
                            <a:srgbClr val="1F4484"/>
                          </a:solidFill>
                          <a:latin typeface="+mn-lt"/>
                          <a:ea typeface="+mn-ea"/>
                          <a:cs typeface="+mn-cs"/>
                        </a:rPr>
                        <a:t>Presentation, (Algeria)</a:t>
                      </a:r>
                      <a:r>
                        <a:rPr lang="de-DE" sz="1400" b="1" kern="1200" baseline="0" noProof="0" dirty="0">
                          <a:solidFill>
                            <a:srgbClr val="1F4484"/>
                          </a:solidFill>
                          <a:latin typeface="+mn-lt"/>
                          <a:ea typeface="+mn-ea"/>
                          <a:cs typeface="+mn-cs"/>
                        </a:rPr>
                        <a:t> </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0">
                <a:tc>
                  <a:txBody>
                    <a:bodyPr/>
                    <a:lstStyle/>
                    <a:p>
                      <a:r>
                        <a:rPr lang="en-GB" sz="1400" b="1" baseline="0" noProof="0" dirty="0">
                          <a:solidFill>
                            <a:srgbClr val="1F4484"/>
                          </a:solidFill>
                        </a:rPr>
                        <a:t>Green (ENTSOG)</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193</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213</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55</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29/1/96/0</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1D537"/>
                    </a:solidFill>
                  </a:tcPr>
                </a:tc>
                <a:tc>
                  <a:txBody>
                    <a:bodyPr/>
                    <a:lstStyle/>
                    <a:p>
                      <a:r>
                        <a:rPr lang="de-DE" sz="1400" b="1" kern="1200" noProof="0" dirty="0">
                          <a:solidFill>
                            <a:srgbClr val="1F4484"/>
                          </a:solidFill>
                          <a:latin typeface="+mn-lt"/>
                          <a:ea typeface="+mn-ea"/>
                          <a:cs typeface="+mn-cs"/>
                        </a:rPr>
                        <a:t>Presentation</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0">
                <a:tc>
                  <a:txBody>
                    <a:bodyPr/>
                    <a:lstStyle/>
                    <a:p>
                      <a:pPr marL="0" algn="l" defTabSz="914400" rtl="0" eaLnBrk="1" latinLnBrk="0" hangingPunct="1"/>
                      <a:r>
                        <a:rPr lang="en-GB" sz="1400" b="1" kern="1200" baseline="0" noProof="0" dirty="0">
                          <a:solidFill>
                            <a:srgbClr val="D9D9D9"/>
                          </a:solidFill>
                          <a:latin typeface="+mn-lt"/>
                          <a:ea typeface="+mn-ea"/>
                          <a:cs typeface="+mn-cs"/>
                        </a:rPr>
                        <a:t>Greenish</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205</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228</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174</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D9D9D9"/>
                          </a:solidFill>
                        </a:rPr>
                        <a:t>21/0/40/0</a:t>
                      </a:r>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DE4AE"/>
                    </a:solidFill>
                  </a:tcPr>
                </a:tc>
                <a:tc>
                  <a:txBody>
                    <a:bodyPr/>
                    <a:lstStyle/>
                    <a:p>
                      <a:r>
                        <a:rPr lang="de-DE" sz="1400" b="1" kern="1200" noProof="0" dirty="0">
                          <a:solidFill>
                            <a:srgbClr val="D9D9D9"/>
                          </a:solidFill>
                          <a:latin typeface="+mn-lt"/>
                          <a:ea typeface="+mn-ea"/>
                          <a:cs typeface="+mn-cs"/>
                        </a:rPr>
                        <a:t>Cap. map</a:t>
                      </a:r>
                      <a:endParaRPr lang="en-GB" sz="1400" b="1" kern="120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5"/>
                  </a:ext>
                </a:extLst>
              </a:tr>
              <a:tr h="0">
                <a:tc>
                  <a:txBody>
                    <a:bodyPr/>
                    <a:lstStyle/>
                    <a:p>
                      <a:r>
                        <a:rPr lang="de-DE" sz="1400" b="1" noProof="0" dirty="0">
                          <a:solidFill>
                            <a:srgbClr val="1F4484"/>
                          </a:solidFill>
                        </a:rPr>
                        <a:t>Light</a:t>
                      </a:r>
                      <a:r>
                        <a:rPr lang="de-DE" sz="1400" b="1" baseline="0" noProof="0" dirty="0">
                          <a:solidFill>
                            <a:srgbClr val="1F4484"/>
                          </a:solidFill>
                        </a:rPr>
                        <a:t> Purple</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kern="1200" dirty="0">
                          <a:solidFill>
                            <a:srgbClr val="1F4484"/>
                          </a:solidFill>
                          <a:latin typeface="+mn-lt"/>
                          <a:ea typeface="+mn-ea"/>
                          <a:cs typeface="+mn-cs"/>
                        </a:rPr>
                        <a:t>141</a:t>
                      </a:r>
                      <a:endParaRPr lang="en-GB" sz="1400" b="1" kern="120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117</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171</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49/58/7/0</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8D75AB"/>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b="1" kern="1200" noProof="0" dirty="0">
                          <a:solidFill>
                            <a:srgbClr val="1F4484"/>
                          </a:solidFill>
                          <a:latin typeface="+mn-lt"/>
                          <a:ea typeface="+mn-ea"/>
                          <a:cs typeface="+mn-cs"/>
                        </a:rPr>
                        <a:t>Presentation, (UGS)</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6"/>
                  </a:ext>
                </a:extLst>
              </a:tr>
              <a:tr h="0">
                <a:tc>
                  <a:txBody>
                    <a:bodyPr/>
                    <a:lstStyle/>
                    <a:p>
                      <a:pPr marL="0" algn="l" defTabSz="914400" rtl="0" eaLnBrk="1" latinLnBrk="0" hangingPunct="1"/>
                      <a:r>
                        <a:rPr lang="de-DE" sz="1400" b="1" kern="1200" baseline="0" noProof="0" dirty="0">
                          <a:solidFill>
                            <a:srgbClr val="D9D9D9"/>
                          </a:solidFill>
                          <a:latin typeface="+mn-lt"/>
                          <a:ea typeface="+mn-ea"/>
                          <a:cs typeface="+mn-cs"/>
                        </a:rPr>
                        <a:t>Pink</a:t>
                      </a:r>
                      <a:endParaRPr lang="en-GB" sz="1400" b="1" kern="1200" baseline="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dirty="0">
                          <a:solidFill>
                            <a:srgbClr val="D9D9D9"/>
                          </a:solidFill>
                          <a:latin typeface="+mn-lt"/>
                          <a:ea typeface="+mn-ea"/>
                          <a:cs typeface="+mn-cs"/>
                        </a:rPr>
                        <a:t>204</a:t>
                      </a:r>
                      <a:endParaRPr lang="en-GB" sz="1400" b="1" kern="1200" baseline="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D9D9D9"/>
                          </a:solidFill>
                          <a:latin typeface="+mn-lt"/>
                          <a:ea typeface="+mn-ea"/>
                          <a:cs typeface="+mn-cs"/>
                        </a:rPr>
                        <a:t>72</a:t>
                      </a:r>
                      <a:endParaRPr lang="en-GB" sz="1400" b="1" kern="1200" baseline="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D9D9D9"/>
                          </a:solidFill>
                          <a:latin typeface="+mn-lt"/>
                          <a:ea typeface="+mn-ea"/>
                          <a:cs typeface="+mn-cs"/>
                        </a:rPr>
                        <a:t>152</a:t>
                      </a:r>
                      <a:endParaRPr lang="en-GB" sz="1400" b="1" kern="1200" baseline="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D9D9D9"/>
                          </a:solidFill>
                        </a:rPr>
                        <a:t>17/86/1/0</a:t>
                      </a:r>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C489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b="1" kern="1200" noProof="0" dirty="0">
                          <a:solidFill>
                            <a:srgbClr val="D9D9D9"/>
                          </a:solidFill>
                          <a:latin typeface="+mn-lt"/>
                          <a:ea typeface="+mn-ea"/>
                          <a:cs typeface="+mn-cs"/>
                        </a:rPr>
                        <a:t>Cap. map</a:t>
                      </a:r>
                      <a:endParaRPr lang="en-GB" sz="1400" b="1" kern="120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
                  </a:ext>
                </a:extLst>
              </a:tr>
              <a:tr h="0">
                <a:tc>
                  <a:txBody>
                    <a:bodyPr/>
                    <a:lstStyle/>
                    <a:p>
                      <a:r>
                        <a:rPr lang="en-GB" sz="1400" b="1" baseline="0" noProof="0" dirty="0">
                          <a:solidFill>
                            <a:srgbClr val="1F4484"/>
                          </a:solidFill>
                        </a:rPr>
                        <a:t>Red</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232</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38</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400" b="1" baseline="0" noProof="0" dirty="0">
                          <a:solidFill>
                            <a:srgbClr val="1F4484"/>
                          </a:solidFill>
                        </a:rPr>
                        <a:t>44</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2/98/93/0</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8262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b="1" kern="1200" noProof="0" dirty="0">
                          <a:solidFill>
                            <a:srgbClr val="1F4484"/>
                          </a:solidFill>
                          <a:latin typeface="+mn-lt"/>
                          <a:ea typeface="+mn-ea"/>
                          <a:cs typeface="+mn-cs"/>
                        </a:rPr>
                        <a:t>Presentation, (Russia)</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8"/>
                  </a:ext>
                </a:extLst>
              </a:tr>
              <a:tr h="0">
                <a:tc>
                  <a:txBody>
                    <a:bodyPr/>
                    <a:lstStyle/>
                    <a:p>
                      <a:pPr marL="0" algn="l" defTabSz="914400" rtl="0" eaLnBrk="1" latinLnBrk="0" hangingPunct="1"/>
                      <a:r>
                        <a:rPr lang="de-DE" sz="1400" b="1" kern="1200" baseline="0" noProof="0" dirty="0">
                          <a:solidFill>
                            <a:srgbClr val="1F4484"/>
                          </a:solidFill>
                          <a:latin typeface="+mn-lt"/>
                          <a:ea typeface="+mn-ea"/>
                          <a:cs typeface="+mn-cs"/>
                        </a:rPr>
                        <a:t>Dark Orange</a:t>
                      </a:r>
                      <a:endParaRPr lang="en-GB" sz="1400" b="1" kern="1200" baseline="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1F4484"/>
                          </a:solidFill>
                          <a:latin typeface="+mn-lt"/>
                          <a:ea typeface="+mn-ea"/>
                          <a:cs typeface="+mn-cs"/>
                        </a:rPr>
                        <a:t>235</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1F4484"/>
                          </a:solidFill>
                          <a:latin typeface="+mn-lt"/>
                          <a:ea typeface="+mn-ea"/>
                          <a:cs typeface="+mn-cs"/>
                        </a:rPr>
                        <a:t>122</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1F4484"/>
                          </a:solidFill>
                          <a:latin typeface="+mn-lt"/>
                          <a:ea typeface="+mn-ea"/>
                          <a:cs typeface="+mn-cs"/>
                        </a:rPr>
                        <a:t>59</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4/64/87/0</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7A3B"/>
                    </a:solidFill>
                  </a:tcPr>
                </a:tc>
                <a:tc>
                  <a:txBody>
                    <a:bodyPr/>
                    <a:lstStyle/>
                    <a:p>
                      <a:r>
                        <a:rPr lang="de-DE" sz="1400" b="1" kern="1200" noProof="0" dirty="0">
                          <a:solidFill>
                            <a:srgbClr val="1F4484"/>
                          </a:solidFill>
                          <a:latin typeface="+mn-lt"/>
                          <a:ea typeface="+mn-ea"/>
                          <a:cs typeface="+mn-cs"/>
                        </a:rPr>
                        <a:t>Presentation, (Caspia)</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9"/>
                  </a:ext>
                </a:extLst>
              </a:tr>
              <a:tr h="46712">
                <a:tc>
                  <a:txBody>
                    <a:bodyPr/>
                    <a:lstStyle/>
                    <a:p>
                      <a:pPr marL="0" algn="l" defTabSz="914400" rtl="0" eaLnBrk="1" latinLnBrk="0" hangingPunct="1"/>
                      <a:r>
                        <a:rPr lang="en-GB" sz="1400" b="1" kern="1200" baseline="0" noProof="0" dirty="0">
                          <a:solidFill>
                            <a:srgbClr val="D9D9D9"/>
                          </a:solidFill>
                          <a:latin typeface="+mn-lt"/>
                          <a:ea typeface="+mn-ea"/>
                          <a:cs typeface="+mn-cs"/>
                        </a:rPr>
                        <a:t>Orange</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249</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180</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41</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D9D9D9"/>
                          </a:solidFill>
                        </a:rPr>
                        <a:t>1/32/94/0</a:t>
                      </a:r>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9B429"/>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b="1" kern="1200" noProof="0" dirty="0">
                          <a:solidFill>
                            <a:srgbClr val="D9D9D9"/>
                          </a:solidFill>
                          <a:latin typeface="+mn-lt"/>
                          <a:ea typeface="+mn-ea"/>
                          <a:cs typeface="+mn-cs"/>
                        </a:rPr>
                        <a:t>Cap. map</a:t>
                      </a:r>
                      <a:endParaRPr lang="en-GB" sz="1400" b="1" kern="120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0"/>
                  </a:ext>
                </a:extLst>
              </a:tr>
              <a:tr h="0">
                <a:tc>
                  <a:txBody>
                    <a:bodyPr/>
                    <a:lstStyle/>
                    <a:p>
                      <a:pPr marL="0" algn="l" defTabSz="914400" rtl="0" eaLnBrk="1" latinLnBrk="0" hangingPunct="1"/>
                      <a:r>
                        <a:rPr lang="de-DE" sz="1400" b="1" kern="1200" baseline="0" noProof="0" dirty="0">
                          <a:solidFill>
                            <a:srgbClr val="1F4484"/>
                          </a:solidFill>
                          <a:latin typeface="+mn-lt"/>
                          <a:ea typeface="+mn-ea"/>
                          <a:cs typeface="+mn-cs"/>
                        </a:rPr>
                        <a:t>Dark Yellow</a:t>
                      </a:r>
                      <a:endParaRPr lang="en-GB" sz="1400" b="1" kern="1200" baseline="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1F4484"/>
                          </a:solidFill>
                          <a:latin typeface="+mn-lt"/>
                          <a:ea typeface="+mn-ea"/>
                          <a:cs typeface="+mn-cs"/>
                        </a:rPr>
                        <a:t>242</a:t>
                      </a:r>
                      <a:endParaRPr lang="en-GB" sz="1400" b="1" kern="1200" baseline="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1F4484"/>
                          </a:solidFill>
                          <a:latin typeface="+mn-lt"/>
                          <a:ea typeface="+mn-ea"/>
                          <a:cs typeface="+mn-cs"/>
                        </a:rPr>
                        <a:t>202</a:t>
                      </a:r>
                      <a:endParaRPr lang="en-GB" sz="1400" b="1" kern="1200" baseline="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1F4484"/>
                          </a:solidFill>
                          <a:latin typeface="+mn-lt"/>
                          <a:ea typeface="+mn-ea"/>
                          <a:cs typeface="+mn-cs"/>
                        </a:rPr>
                        <a:t>0</a:t>
                      </a:r>
                      <a:endParaRPr lang="en-GB" sz="1400" b="1" kern="1200" baseline="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1F4484"/>
                          </a:solidFill>
                        </a:rPr>
                        <a:t>6/18/100/0</a:t>
                      </a:r>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1F4484"/>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CA00"/>
                    </a:solidFill>
                  </a:tcPr>
                </a:tc>
                <a:tc>
                  <a:txBody>
                    <a:bodyPr/>
                    <a:lstStyle/>
                    <a:p>
                      <a:r>
                        <a:rPr lang="de-DE" sz="1400" b="1" kern="1200" noProof="0" dirty="0">
                          <a:solidFill>
                            <a:srgbClr val="1F4484"/>
                          </a:solidFill>
                          <a:latin typeface="+mn-lt"/>
                          <a:ea typeface="+mn-ea"/>
                          <a:cs typeface="+mn-cs"/>
                        </a:rPr>
                        <a:t>Presentation, (Norway)</a:t>
                      </a:r>
                      <a:endParaRPr lang="en-GB" sz="1400" b="1" kern="1200" noProof="0" dirty="0">
                        <a:solidFill>
                          <a:srgbClr val="1F4484"/>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1"/>
                  </a:ext>
                </a:extLst>
              </a:tr>
              <a:tr h="0">
                <a:tc>
                  <a:txBody>
                    <a:bodyPr/>
                    <a:lstStyle/>
                    <a:p>
                      <a:pPr marL="0" algn="l" defTabSz="914400" rtl="0" eaLnBrk="1" latinLnBrk="0" hangingPunct="1"/>
                      <a:r>
                        <a:rPr lang="de-DE" sz="1400" b="1" kern="1200" baseline="0" noProof="0" dirty="0">
                          <a:solidFill>
                            <a:srgbClr val="D9D9D9"/>
                          </a:solidFill>
                          <a:latin typeface="+mn-lt"/>
                          <a:ea typeface="+mn-ea"/>
                          <a:cs typeface="+mn-cs"/>
                        </a:rPr>
                        <a:t>Yellow</a:t>
                      </a:r>
                      <a:endParaRPr lang="en-GB" sz="1400" b="1" kern="1200" baseline="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D9D9D9"/>
                          </a:solidFill>
                          <a:latin typeface="+mn-lt"/>
                          <a:ea typeface="+mn-ea"/>
                          <a:cs typeface="+mn-cs"/>
                        </a:rPr>
                        <a:t>248</a:t>
                      </a:r>
                      <a:endParaRPr lang="en-GB" sz="1400" b="1" kern="1200" baseline="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D9D9D9"/>
                          </a:solidFill>
                          <a:latin typeface="+mn-lt"/>
                          <a:ea typeface="+mn-ea"/>
                          <a:cs typeface="+mn-cs"/>
                        </a:rPr>
                        <a:t>234</a:t>
                      </a:r>
                      <a:endParaRPr lang="en-GB" sz="1400" b="1" kern="1200" baseline="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D9D9D9"/>
                          </a:solidFill>
                          <a:latin typeface="+mn-lt"/>
                          <a:ea typeface="+mn-ea"/>
                          <a:cs typeface="+mn-cs"/>
                        </a:rPr>
                        <a:t>50</a:t>
                      </a:r>
                      <a:endParaRPr lang="en-GB" sz="1400" b="1" kern="1200" baseline="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D9D9D9"/>
                          </a:solidFill>
                        </a:rPr>
                        <a:t>5/1/90/0</a:t>
                      </a:r>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8EA32"/>
                    </a:solidFill>
                  </a:tcPr>
                </a:tc>
                <a:tc>
                  <a:txBody>
                    <a:bodyPr/>
                    <a:lstStyle/>
                    <a:p>
                      <a:r>
                        <a:rPr lang="de-DE" sz="1400" b="1" kern="1200" noProof="0" dirty="0">
                          <a:solidFill>
                            <a:srgbClr val="D9D9D9"/>
                          </a:solidFill>
                          <a:latin typeface="+mn-lt"/>
                          <a:ea typeface="+mn-ea"/>
                          <a:cs typeface="+mn-cs"/>
                        </a:rPr>
                        <a:t>Cap. map</a:t>
                      </a:r>
                      <a:endParaRPr lang="en-GB" sz="1400" b="1" kern="120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2"/>
                  </a:ext>
                </a:extLst>
              </a:tr>
              <a:tr h="230384">
                <a:tc>
                  <a:txBody>
                    <a:bodyPr/>
                    <a:lstStyle/>
                    <a:p>
                      <a:pPr marL="0" algn="l" defTabSz="914400" rtl="0" eaLnBrk="1" latinLnBrk="0" hangingPunct="1"/>
                      <a:r>
                        <a:rPr lang="en-GB" sz="1400" b="1" kern="1200" baseline="0" noProof="0" dirty="0">
                          <a:solidFill>
                            <a:srgbClr val="D9D9D9"/>
                          </a:solidFill>
                          <a:latin typeface="+mn-lt"/>
                          <a:ea typeface="+mn-ea"/>
                          <a:cs typeface="+mn-cs"/>
                        </a:rPr>
                        <a:t>Light Yellow</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251</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de-DE" sz="1400" b="1" kern="1200" baseline="0" noProof="0" dirty="0">
                          <a:solidFill>
                            <a:srgbClr val="D9D9D9"/>
                          </a:solidFill>
                          <a:latin typeface="+mn-lt"/>
                          <a:ea typeface="+mn-ea"/>
                          <a:cs typeface="+mn-cs"/>
                        </a:rPr>
                        <a:t>247</a:t>
                      </a:r>
                      <a:endParaRPr lang="en-GB" sz="1400" b="1" kern="1200" baseline="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GB" sz="1400" b="1" kern="1200" baseline="0" noProof="0" dirty="0">
                          <a:solidFill>
                            <a:srgbClr val="D9D9D9"/>
                          </a:solidFill>
                          <a:latin typeface="+mn-lt"/>
                          <a:ea typeface="+mn-ea"/>
                          <a:cs typeface="+mn-cs"/>
                        </a:rPr>
                        <a:t>194</a:t>
                      </a: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de-DE" sz="1400" b="1" noProof="0" dirty="0">
                          <a:solidFill>
                            <a:srgbClr val="D9D9D9"/>
                          </a:solidFill>
                        </a:rPr>
                        <a:t>2/0/30/0</a:t>
                      </a:r>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400" b="1" noProof="0" dirty="0">
                        <a:solidFill>
                          <a:srgbClr val="D9D9D9"/>
                        </a:solidFill>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BF7C2"/>
                    </a:solidFill>
                  </a:tcPr>
                </a:tc>
                <a:tc>
                  <a:txBody>
                    <a:bodyPr/>
                    <a:lstStyle/>
                    <a:p>
                      <a:r>
                        <a:rPr lang="de-DE" sz="1400" b="1" kern="1200" noProof="0" dirty="0">
                          <a:solidFill>
                            <a:srgbClr val="D9D9D9"/>
                          </a:solidFill>
                          <a:latin typeface="+mn-lt"/>
                          <a:ea typeface="+mn-ea"/>
                          <a:cs typeface="+mn-cs"/>
                        </a:rPr>
                        <a:t>Cap. map</a:t>
                      </a:r>
                      <a:endParaRPr lang="en-GB" sz="1400" b="1" kern="1200" noProof="0" dirty="0">
                        <a:solidFill>
                          <a:srgbClr val="D9D9D9"/>
                        </a:solidFill>
                        <a:latin typeface="+mn-lt"/>
                        <a:ea typeface="+mn-ea"/>
                        <a:cs typeface="+mn-cs"/>
                      </a:endParaRPr>
                    </a:p>
                  </a:txBody>
                  <a:tcPr marL="121920" marR="121920" marT="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3"/>
                  </a:ext>
                </a:extLst>
              </a:tr>
            </a:tbl>
          </a:graphicData>
        </a:graphic>
      </p:graphicFrame>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5376211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9"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12" name="Titre 1"/>
          <p:cNvSpPr>
            <a:spLocks noGrp="1"/>
          </p:cNvSpPr>
          <p:nvPr>
            <p:ph type="title" hasCustomPrompt="1"/>
          </p:nvPr>
        </p:nvSpPr>
        <p:spPr>
          <a:xfrm>
            <a:off x="609600" y="259200"/>
            <a:ext cx="11040000" cy="540000"/>
          </a:xfrm>
          <a:prstGeom prst="rect">
            <a:avLst/>
          </a:prstGeom>
        </p:spPr>
        <p:txBody>
          <a:bodyPr>
            <a:noAutofit/>
          </a:bodyPr>
          <a:lstStyle>
            <a:lvl1pPr>
              <a:defRPr sz="3200" b="1" baseline="0">
                <a:solidFill>
                  <a:schemeClr val="tx1"/>
                </a:solidFill>
                <a:latin typeface="Calibri" pitchFamily="34" charset="0"/>
                <a:cs typeface="Arial" pitchFamily="34" charset="0"/>
              </a:defRPr>
            </a:lvl1pPr>
          </a:lstStyle>
          <a:p>
            <a:r>
              <a:rPr lang="en-GB" noProof="0" dirty="0"/>
              <a:t>Tit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29299331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DRAFT">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9"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6" name="PowerPlusWaterMarkObject357831064"/>
          <p:cNvSpPr>
            <a:spLocks noChangeArrowheads="1" noChangeShapeType="1" noTextEdit="1"/>
          </p:cNvSpPr>
          <p:nvPr userDrawn="1"/>
        </p:nvSpPr>
        <p:spPr bwMode="auto">
          <a:xfrm rot="18900000">
            <a:off x="3323361" y="2133516"/>
            <a:ext cx="5820731" cy="224036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rtl="0">
              <a:buNone/>
            </a:pPr>
            <a:r>
              <a:rPr lang="en-US" sz="100" b="0" spc="0" dirty="0">
                <a:ln>
                  <a:noFill/>
                </a:ln>
                <a:solidFill>
                  <a:srgbClr val="C0C0C0">
                    <a:alpha val="50000"/>
                  </a:srgbClr>
                </a:solidFill>
                <a:latin typeface="Arial" pitchFamily="34" charset="0"/>
                <a:cs typeface="Arial" pitchFamily="34" charset="0"/>
              </a:rPr>
              <a:t>DRAFT</a:t>
            </a:r>
          </a:p>
        </p:txBody>
      </p:sp>
      <p:sp>
        <p:nvSpPr>
          <p:cNvPr id="12" name="Titre 1"/>
          <p:cNvSpPr>
            <a:spLocks noGrp="1"/>
          </p:cNvSpPr>
          <p:nvPr>
            <p:ph type="title" hasCustomPrompt="1"/>
          </p:nvPr>
        </p:nvSpPr>
        <p:spPr>
          <a:xfrm>
            <a:off x="609600" y="259200"/>
            <a:ext cx="11040000" cy="540000"/>
          </a:xfrm>
          <a:prstGeom prst="rect">
            <a:avLst/>
          </a:prstGeom>
        </p:spPr>
        <p:txBody>
          <a:bodyPr>
            <a:noAutofit/>
          </a:bodyPr>
          <a:lstStyle>
            <a:lvl1pPr>
              <a:defRPr sz="3200" b="1" baseline="0">
                <a:solidFill>
                  <a:schemeClr val="tx1"/>
                </a:solidFill>
                <a:latin typeface="Calibri" pitchFamily="34" charset="0"/>
                <a:cs typeface="Arial" pitchFamily="34" charset="0"/>
              </a:defRPr>
            </a:lvl1pPr>
          </a:lstStyle>
          <a:p>
            <a:r>
              <a:rPr lang="en-GB" noProof="0" dirty="0"/>
              <a:t>Tit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35020998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2" name="Titre 1"/>
          <p:cNvSpPr>
            <a:spLocks noGrp="1"/>
          </p:cNvSpPr>
          <p:nvPr>
            <p:ph type="title" hasCustomPrompt="1"/>
          </p:nvPr>
        </p:nvSpPr>
        <p:spPr>
          <a:xfrm>
            <a:off x="609600" y="2744984"/>
            <a:ext cx="11040000" cy="540000"/>
          </a:xfrm>
          <a:prstGeom prst="rect">
            <a:avLst/>
          </a:prstGeom>
        </p:spPr>
        <p:txBody>
          <a:bodyPr>
            <a:noAutofit/>
          </a:bodyPr>
          <a:lstStyle>
            <a:lvl1pPr>
              <a:defRPr sz="3200" b="1" baseline="0">
                <a:solidFill>
                  <a:schemeClr val="tx1"/>
                </a:solidFill>
                <a:latin typeface="Calibri" pitchFamily="34" charset="0"/>
                <a:cs typeface="Arial" pitchFamily="34" charset="0"/>
              </a:defRPr>
            </a:lvl1pPr>
          </a:lstStyle>
          <a:p>
            <a:r>
              <a:rPr lang="en-GB" noProof="0" dirty="0"/>
              <a:t>Chapter</a:t>
            </a:r>
          </a:p>
        </p:txBody>
      </p:sp>
      <p:sp>
        <p:nvSpPr>
          <p:cNvPr id="11"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201552966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hapter DRAF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2" name="Titre 1"/>
          <p:cNvSpPr>
            <a:spLocks noGrp="1"/>
          </p:cNvSpPr>
          <p:nvPr>
            <p:ph type="title" hasCustomPrompt="1"/>
          </p:nvPr>
        </p:nvSpPr>
        <p:spPr>
          <a:xfrm>
            <a:off x="609600" y="2744984"/>
            <a:ext cx="11040000" cy="540000"/>
          </a:xfrm>
          <a:prstGeom prst="rect">
            <a:avLst/>
          </a:prstGeom>
        </p:spPr>
        <p:txBody>
          <a:bodyPr>
            <a:noAutofit/>
          </a:bodyPr>
          <a:lstStyle>
            <a:lvl1pPr>
              <a:defRPr sz="3200" b="1" baseline="0">
                <a:solidFill>
                  <a:schemeClr val="tx1"/>
                </a:solidFill>
                <a:latin typeface="Calibri" pitchFamily="34" charset="0"/>
                <a:cs typeface="Arial" pitchFamily="34" charset="0"/>
              </a:defRPr>
            </a:lvl1pPr>
          </a:lstStyle>
          <a:p>
            <a:r>
              <a:rPr lang="en-GB" noProof="0" dirty="0"/>
              <a:t>Chapter</a:t>
            </a:r>
          </a:p>
        </p:txBody>
      </p:sp>
      <p:sp>
        <p:nvSpPr>
          <p:cNvPr id="11"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6" name="PowerPlusWaterMarkObject357831064"/>
          <p:cNvSpPr>
            <a:spLocks noChangeArrowheads="1" noChangeShapeType="1" noTextEdit="1"/>
          </p:cNvSpPr>
          <p:nvPr userDrawn="1"/>
        </p:nvSpPr>
        <p:spPr bwMode="auto">
          <a:xfrm rot="18900000">
            <a:off x="3323361" y="2133516"/>
            <a:ext cx="5820731" cy="224036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rtl="0">
              <a:buNone/>
            </a:pPr>
            <a:r>
              <a:rPr lang="en-US" sz="100" b="0" spc="0" dirty="0">
                <a:ln>
                  <a:noFill/>
                </a:ln>
                <a:solidFill>
                  <a:srgbClr val="C0C0C0">
                    <a:alpha val="50000"/>
                  </a:srgbClr>
                </a:solidFill>
                <a:latin typeface="Arial" pitchFamily="34" charset="0"/>
                <a:cs typeface="Arial" pitchFamily="34" charset="0"/>
              </a:rPr>
              <a:t>DRAFT</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31799256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Shift + Alt + right Arro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8" name="Text Placeholder 7"/>
          <p:cNvSpPr>
            <a:spLocks noGrp="1"/>
          </p:cNvSpPr>
          <p:nvPr>
            <p:ph type="body" sz="quarter" idx="16" hasCustomPrompt="1"/>
          </p:nvPr>
        </p:nvSpPr>
        <p:spPr>
          <a:xfrm>
            <a:off x="606883" y="899196"/>
            <a:ext cx="11041227" cy="4330005"/>
          </a:xfrm>
          <a:prstGeom prst="rect">
            <a:avLst/>
          </a:prstGeom>
        </p:spPr>
        <p:txBody>
          <a:bodyPr/>
          <a:lstStyle>
            <a:lvl1pPr marL="0" marR="0" indent="0" algn="l" defTabSz="914400" rtl="0" eaLnBrk="0" fontAlgn="base" latinLnBrk="0" hangingPunct="0">
              <a:lnSpc>
                <a:spcPct val="100000"/>
              </a:lnSpc>
              <a:spcBef>
                <a:spcPts val="0"/>
              </a:spcBef>
              <a:spcAft>
                <a:spcPct val="0"/>
              </a:spcAft>
              <a:buClr>
                <a:schemeClr val="accent3"/>
              </a:buClr>
              <a:buSzTx/>
              <a:buFontTx/>
              <a:buNone/>
              <a:tabLst/>
              <a:defRPr lang="en-GB" sz="2200" b="1" i="1" kern="100" noProof="0" smtClean="0">
                <a:solidFill>
                  <a:srgbClr val="000000"/>
                </a:solidFill>
                <a:latin typeface="+mn-lt"/>
                <a:sym typeface="Wingdings" pitchFamily="2" charset="2"/>
              </a:defRPr>
            </a:lvl1pPr>
            <a:lvl2pPr marL="171450" indent="-171450">
              <a:spcBef>
                <a:spcPts val="600"/>
              </a:spcBef>
              <a:buClr>
                <a:schemeClr val="accent3"/>
              </a:buClr>
              <a:buFont typeface="Calibri" pitchFamily="34" charset="0"/>
              <a:buChar char="&gt;"/>
              <a:defRPr sz="1800" kern="1200" spc="0" baseline="0">
                <a:solidFill>
                  <a:srgbClr val="000000"/>
                </a:solidFill>
              </a:defRPr>
            </a:lvl2pPr>
            <a:lvl3pPr marL="400050" indent="-171450">
              <a:spcBef>
                <a:spcPts val="300"/>
              </a:spcBef>
              <a:buClr>
                <a:schemeClr val="accent3"/>
              </a:buClr>
              <a:buFont typeface="Wingdings" pitchFamily="2" charset="2"/>
              <a:buChar char="§"/>
              <a:defRPr sz="1800" baseline="0">
                <a:solidFill>
                  <a:srgbClr val="000000"/>
                </a:solidFill>
              </a:defRPr>
            </a:lvl3pPr>
            <a:lvl4pPr marL="628650" indent="-171450">
              <a:spcBef>
                <a:spcPts val="300"/>
              </a:spcBef>
              <a:buClr>
                <a:schemeClr val="accent3"/>
              </a:buClr>
              <a:buFont typeface="Courier New" pitchFamily="49" charset="0"/>
              <a:buChar char="o"/>
              <a:defRPr sz="1600">
                <a:solidFill>
                  <a:srgbClr val="000000"/>
                </a:solidFill>
              </a:defRPr>
            </a:lvl4pPr>
            <a:lvl5pPr marL="857250" indent="-171450">
              <a:spcBef>
                <a:spcPts val="300"/>
              </a:spcBef>
              <a:buClr>
                <a:schemeClr val="accent3"/>
              </a:buClr>
              <a:buFont typeface="Arial" pitchFamily="34" charset="0"/>
              <a:buChar char="-"/>
              <a:defRPr sz="1600">
                <a:solidFill>
                  <a:srgbClr val="000000"/>
                </a:solidFill>
              </a:defRPr>
            </a:lvl5pPr>
          </a:lstStyle>
          <a:p>
            <a:pPr marL="0" marR="0" lvl="0" indent="0" algn="l" defTabSz="914400" rtl="0" eaLnBrk="0" fontAlgn="base" latinLnBrk="0" hangingPunct="0">
              <a:lnSpc>
                <a:spcPct val="100000"/>
              </a:lnSpc>
              <a:spcBef>
                <a:spcPts val="0"/>
              </a:spcBef>
              <a:spcAft>
                <a:spcPct val="0"/>
              </a:spcAft>
              <a:buClr>
                <a:schemeClr val="accent3"/>
              </a:buClr>
              <a:buSzTx/>
              <a:buFontTx/>
              <a:buNone/>
              <a:tabLst/>
              <a:defRPr/>
            </a:pPr>
            <a:r>
              <a:rPr lang="en-GB" b="1" i="1" kern="100" noProof="0" dirty="0">
                <a:solidFill>
                  <a:srgbClr val="000000"/>
                </a:solidFill>
                <a:latin typeface="+mj-lt"/>
              </a:rPr>
              <a:t>Diff. bullet levels with: Shift + Alt + </a:t>
            </a:r>
            <a:r>
              <a:rPr lang="en-GB" b="1" i="1" kern="100" noProof="0" dirty="0" err="1">
                <a:solidFill>
                  <a:srgbClr val="000000"/>
                </a:solidFill>
                <a:latin typeface="+mj-lt"/>
              </a:rPr>
              <a:t>rightArrow</a:t>
            </a:r>
            <a:endParaRPr lang="en-GB" noProof="0" dirty="0"/>
          </a:p>
          <a:p>
            <a:pPr lvl="1"/>
            <a:r>
              <a:rPr lang="de-DE" noProof="0" dirty="0"/>
              <a:t>Second level (Calibri, 18, black)</a:t>
            </a:r>
            <a:endParaRPr lang="en-GB" noProof="0" dirty="0"/>
          </a:p>
          <a:p>
            <a:pPr lvl="2"/>
            <a:r>
              <a:rPr lang="en-GB" noProof="0" dirty="0"/>
              <a:t>Third level (Calibri, 18, black)</a:t>
            </a:r>
          </a:p>
          <a:p>
            <a:pPr lvl="3"/>
            <a:r>
              <a:rPr lang="en-GB" noProof="0" dirty="0"/>
              <a:t>Fourth level (Calibri, 16, black)</a:t>
            </a:r>
          </a:p>
          <a:p>
            <a:pPr lvl="4"/>
            <a:r>
              <a:rPr lang="en-GB" noProof="0" dirty="0"/>
              <a:t>Fifth level</a:t>
            </a:r>
          </a:p>
          <a:p>
            <a:pPr lvl="0"/>
            <a:endParaRPr lang="en-GB" noProof="0" dirty="0"/>
          </a:p>
        </p:txBody>
      </p:sp>
      <p:sp>
        <p:nvSpPr>
          <p:cNvPr id="2" name="Titre 1"/>
          <p:cNvSpPr>
            <a:spLocks noGrp="1"/>
          </p:cNvSpPr>
          <p:nvPr>
            <p:ph type="title" hasCustomPrompt="1"/>
          </p:nvPr>
        </p:nvSpPr>
        <p:spPr>
          <a:xfrm>
            <a:off x="609600" y="259200"/>
            <a:ext cx="11040000" cy="540000"/>
          </a:xfrm>
          <a:prstGeom prst="rect">
            <a:avLst/>
          </a:prstGeom>
        </p:spPr>
        <p:txBody>
          <a:bodyPr>
            <a:noAutofit/>
          </a:bodyPr>
          <a:lstStyle>
            <a:lvl1pPr>
              <a:defRPr sz="3200" b="1" baseline="0">
                <a:solidFill>
                  <a:schemeClr val="tx1"/>
                </a:solidFill>
                <a:latin typeface="Calibri" pitchFamily="34" charset="0"/>
                <a:cs typeface="Arial" pitchFamily="34" charset="0"/>
              </a:defRPr>
            </a:lvl1pPr>
          </a:lstStyle>
          <a:p>
            <a:r>
              <a:rPr lang="en-GB" noProof="0"/>
              <a:t>Title</a:t>
            </a:r>
          </a:p>
        </p:txBody>
      </p:sp>
      <p:sp>
        <p:nvSpPr>
          <p:cNvPr id="11"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12" name="Text Placeholder 17"/>
          <p:cNvSpPr>
            <a:spLocks noGrp="1"/>
          </p:cNvSpPr>
          <p:nvPr>
            <p:ph type="body" sz="quarter" idx="14" hasCustomPrompt="1"/>
          </p:nvPr>
        </p:nvSpPr>
        <p:spPr>
          <a:xfrm>
            <a:off x="674193" y="5373217"/>
            <a:ext cx="10890772" cy="374571"/>
          </a:xfrm>
          <a:prstGeom prst="roundRect">
            <a:avLst/>
          </a:prstGeom>
          <a:noFill/>
          <a:ln w="50800" cap="rnd" cmpd="sng">
            <a:solidFill>
              <a:srgbClr val="B1C7E1"/>
            </a:solidFill>
            <a:prstDash val="solid"/>
            <a:miter lim="800000"/>
            <a:headEnd/>
            <a:tailEnd/>
          </a:ln>
          <a:scene3d>
            <a:camera prst="orthographicFront"/>
            <a:lightRig rig="threePt" dir="t">
              <a:rot lat="0" lon="0" rev="6600000"/>
            </a:lightRig>
          </a:scene3d>
          <a:sp3d>
            <a:bevelT/>
          </a:sp3d>
        </p:spPr>
        <p:txBody>
          <a:bodyPr>
            <a:spAutoFit/>
          </a:bodyPr>
          <a:lstStyle>
            <a:lvl1pPr marL="0" indent="0" algn="ctr">
              <a:buFontTx/>
              <a:buNone/>
              <a:defRPr lang="en-GB" sz="1600" i="1" dirty="0">
                <a:solidFill>
                  <a:schemeClr val="tx1"/>
                </a:solidFill>
                <a:ea typeface="+mn-ea"/>
                <a:cs typeface="Arial" pitchFamily="34" charset="0"/>
              </a:defRPr>
            </a:lvl1pPr>
          </a:lstStyle>
          <a:p>
            <a:pPr lvl="0" algn="ctr">
              <a:spcBef>
                <a:spcPct val="0"/>
              </a:spcBef>
            </a:pPr>
            <a:r>
              <a:rPr lang="en-GB" sz="1600" i="1" dirty="0">
                <a:solidFill>
                  <a:srgbClr val="000000"/>
                </a:solidFill>
                <a:latin typeface="+mn-lt"/>
                <a:cs typeface="Arial" pitchFamily="34" charset="0"/>
              </a:rPr>
              <a:t>&lt;…&gt; (Calibri, Italic, 16, black, </a:t>
            </a:r>
            <a:r>
              <a:rPr lang="en-GB" sz="1600" i="1" dirty="0" err="1">
                <a:solidFill>
                  <a:srgbClr val="000000"/>
                </a:solidFill>
                <a:latin typeface="+mn-lt"/>
                <a:cs typeface="Arial" pitchFamily="34" charset="0"/>
              </a:rPr>
              <a:t>center</a:t>
            </a:r>
            <a:r>
              <a:rPr lang="en-GB" sz="1600" i="1" dirty="0">
                <a:solidFill>
                  <a:srgbClr val="000000"/>
                </a:solidFill>
                <a:latin typeface="+mn-lt"/>
                <a:cs typeface="Arial" pitchFamily="34" charset="0"/>
              </a:rPr>
              <a:t>)</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22730165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Tabulato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2" name="Titre 1"/>
          <p:cNvSpPr>
            <a:spLocks noGrp="1"/>
          </p:cNvSpPr>
          <p:nvPr>
            <p:ph type="title" hasCustomPrompt="1"/>
          </p:nvPr>
        </p:nvSpPr>
        <p:spPr>
          <a:xfrm>
            <a:off x="609600" y="259200"/>
            <a:ext cx="11040000" cy="540000"/>
          </a:xfrm>
          <a:prstGeom prst="rect">
            <a:avLst/>
          </a:prstGeom>
        </p:spPr>
        <p:txBody>
          <a:bodyPr>
            <a:noAutofit/>
          </a:bodyPr>
          <a:lstStyle>
            <a:lvl1pPr>
              <a:defRPr sz="3200" b="1" baseline="0">
                <a:solidFill>
                  <a:schemeClr val="tx1"/>
                </a:solidFill>
                <a:latin typeface="Calibri" pitchFamily="34" charset="0"/>
                <a:cs typeface="Arial" pitchFamily="34" charset="0"/>
              </a:defRPr>
            </a:lvl1pPr>
          </a:lstStyle>
          <a:p>
            <a:r>
              <a:rPr lang="en-GB" noProof="0"/>
              <a:t>Title</a:t>
            </a:r>
          </a:p>
        </p:txBody>
      </p:sp>
      <p:sp>
        <p:nvSpPr>
          <p:cNvPr id="11"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12" name="Text Placeholder 17"/>
          <p:cNvSpPr>
            <a:spLocks noGrp="1"/>
          </p:cNvSpPr>
          <p:nvPr>
            <p:ph type="body" sz="quarter" idx="14" hasCustomPrompt="1"/>
          </p:nvPr>
        </p:nvSpPr>
        <p:spPr>
          <a:xfrm>
            <a:off x="674193" y="5373217"/>
            <a:ext cx="10890772" cy="374571"/>
          </a:xfrm>
          <a:prstGeom prst="roundRect">
            <a:avLst/>
          </a:prstGeom>
          <a:noFill/>
          <a:ln w="50800" cmpd="sng">
            <a:solidFill>
              <a:srgbClr val="B1C7E1"/>
            </a:solidFill>
            <a:prstDash val="solid"/>
            <a:miter lim="800000"/>
            <a:headEnd/>
            <a:tailEnd/>
          </a:ln>
          <a:scene3d>
            <a:camera prst="orthographicFront"/>
            <a:lightRig rig="threePt" dir="t">
              <a:rot lat="0" lon="0" rev="6600000"/>
            </a:lightRig>
          </a:scene3d>
          <a:sp3d>
            <a:bevelT/>
          </a:sp3d>
        </p:spPr>
        <p:txBody>
          <a:bodyPr>
            <a:spAutoFit/>
          </a:bodyPr>
          <a:lstStyle>
            <a:lvl1pPr marL="0" indent="0" algn="ctr">
              <a:buFontTx/>
              <a:buNone/>
              <a:defRPr lang="en-GB" sz="1600" i="1" dirty="0">
                <a:solidFill>
                  <a:schemeClr val="tx1"/>
                </a:solidFill>
                <a:ea typeface="+mn-ea"/>
                <a:cs typeface="Arial" pitchFamily="34" charset="0"/>
              </a:defRPr>
            </a:lvl1pPr>
          </a:lstStyle>
          <a:p>
            <a:pPr lvl="0" algn="ctr">
              <a:spcBef>
                <a:spcPct val="0"/>
              </a:spcBef>
            </a:pPr>
            <a:r>
              <a:rPr lang="en-GB" sz="1600" i="1" dirty="0">
                <a:solidFill>
                  <a:srgbClr val="000000"/>
                </a:solidFill>
                <a:latin typeface="+mn-lt"/>
                <a:cs typeface="Arial" pitchFamily="34" charset="0"/>
              </a:rPr>
              <a:t>&lt;…&gt; (Calibri, Italic, 16, black, </a:t>
            </a:r>
            <a:r>
              <a:rPr lang="en-GB" sz="1600" i="1" dirty="0" err="1">
                <a:solidFill>
                  <a:srgbClr val="000000"/>
                </a:solidFill>
                <a:latin typeface="+mn-lt"/>
                <a:cs typeface="Arial" pitchFamily="34" charset="0"/>
              </a:rPr>
              <a:t>center</a:t>
            </a:r>
            <a:r>
              <a:rPr lang="en-GB" sz="1600" i="1" dirty="0">
                <a:solidFill>
                  <a:srgbClr val="000000"/>
                </a:solidFill>
                <a:latin typeface="+mn-lt"/>
                <a:cs typeface="Arial" pitchFamily="34" charset="0"/>
              </a:rPr>
              <a:t>)</a:t>
            </a:r>
          </a:p>
        </p:txBody>
      </p:sp>
      <p:sp>
        <p:nvSpPr>
          <p:cNvPr id="8" name="Text Placeholder 7"/>
          <p:cNvSpPr>
            <a:spLocks noGrp="1"/>
          </p:cNvSpPr>
          <p:nvPr>
            <p:ph type="body" sz="quarter" idx="16" hasCustomPrompt="1"/>
          </p:nvPr>
        </p:nvSpPr>
        <p:spPr>
          <a:xfrm>
            <a:off x="606883" y="1412776"/>
            <a:ext cx="11041227" cy="3816424"/>
          </a:xfrm>
          <a:prstGeom prst="rect">
            <a:avLst/>
          </a:prstGeom>
        </p:spPr>
        <p:txBody>
          <a:bodyPr/>
          <a:lstStyle>
            <a:lvl1pPr marL="171450" indent="-171450">
              <a:spcBef>
                <a:spcPts val="600"/>
              </a:spcBef>
              <a:buClr>
                <a:schemeClr val="accent3"/>
              </a:buClr>
              <a:buFont typeface="Calibri" pitchFamily="34" charset="0"/>
              <a:buChar char="&gt;"/>
              <a:defRPr sz="1800" baseline="0">
                <a:solidFill>
                  <a:srgbClr val="000000"/>
                </a:solidFill>
                <a:sym typeface="Wingdings" pitchFamily="2" charset="2"/>
              </a:defRPr>
            </a:lvl1pPr>
            <a:lvl2pPr marL="400050" indent="-171450">
              <a:spcBef>
                <a:spcPts val="300"/>
              </a:spcBef>
              <a:buClr>
                <a:schemeClr val="accent3"/>
              </a:buClr>
              <a:buFont typeface="Wingdings" pitchFamily="2" charset="2"/>
              <a:buChar char="§"/>
              <a:defRPr sz="1800" baseline="0">
                <a:solidFill>
                  <a:srgbClr val="000000"/>
                </a:solidFill>
              </a:defRPr>
            </a:lvl2pPr>
            <a:lvl3pPr marL="628650" indent="-171450">
              <a:spcBef>
                <a:spcPts val="300"/>
              </a:spcBef>
              <a:buClr>
                <a:schemeClr val="accent3"/>
              </a:buClr>
              <a:buFont typeface="Courier New" pitchFamily="49" charset="0"/>
              <a:buChar char="o"/>
              <a:defRPr sz="1600" baseline="0">
                <a:solidFill>
                  <a:srgbClr val="000000"/>
                </a:solidFill>
              </a:defRPr>
            </a:lvl3pPr>
            <a:lvl4pPr marL="857250" indent="-171450">
              <a:spcBef>
                <a:spcPts val="300"/>
              </a:spcBef>
              <a:buClr>
                <a:schemeClr val="accent3"/>
              </a:buClr>
              <a:defRPr sz="1600">
                <a:solidFill>
                  <a:srgbClr val="000000"/>
                </a:solidFill>
              </a:defRPr>
            </a:lvl4pPr>
            <a:lvl5pPr>
              <a:defRPr>
                <a:solidFill>
                  <a:srgbClr val="000000"/>
                </a:solidFill>
              </a:defRPr>
            </a:lvl5pPr>
          </a:lstStyle>
          <a:p>
            <a:pPr lvl="0"/>
            <a:r>
              <a:rPr lang="en-GB" noProof="0" dirty="0"/>
              <a:t>Diff. bullet levels with “tabulator”</a:t>
            </a:r>
          </a:p>
          <a:p>
            <a:pPr lvl="1"/>
            <a:r>
              <a:rPr lang="en-GB" noProof="0" dirty="0"/>
              <a:t>Third level (Calibri, 18, black)</a:t>
            </a:r>
          </a:p>
          <a:p>
            <a:pPr lvl="2"/>
            <a:r>
              <a:rPr lang="en-GB" noProof="0" dirty="0"/>
              <a:t>Fourth level (Calibri, 16, black)</a:t>
            </a:r>
          </a:p>
          <a:p>
            <a:pPr lvl="3"/>
            <a:r>
              <a:rPr lang="en-GB" noProof="0" dirty="0"/>
              <a:t>Fifth level</a:t>
            </a:r>
          </a:p>
        </p:txBody>
      </p:sp>
      <p:sp>
        <p:nvSpPr>
          <p:cNvPr id="13" name="Text Placeholder 17"/>
          <p:cNvSpPr>
            <a:spLocks noGrp="1"/>
          </p:cNvSpPr>
          <p:nvPr>
            <p:ph type="body" sz="quarter" idx="13" hasCustomPrompt="1"/>
          </p:nvPr>
        </p:nvSpPr>
        <p:spPr>
          <a:xfrm>
            <a:off x="610693" y="900074"/>
            <a:ext cx="11041559" cy="440695"/>
          </a:xfrm>
          <a:prstGeom prst="rect">
            <a:avLst/>
          </a:prstGeom>
        </p:spPr>
        <p:txBody>
          <a:bodyPr/>
          <a:lstStyle>
            <a:lvl1pPr marL="0" indent="0" algn="l">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First Level (Calibri, </a:t>
            </a:r>
            <a:r>
              <a:rPr lang="en-GB" b="1" i="1" kern="100" dirty="0" err="1">
                <a:solidFill>
                  <a:srgbClr val="000000"/>
                </a:solidFill>
                <a:latin typeface="+mj-lt"/>
              </a:rPr>
              <a:t>Bold+Italic</a:t>
            </a:r>
            <a:r>
              <a:rPr lang="en-GB" b="1" i="1" kern="100" dirty="0">
                <a:solidFill>
                  <a:srgbClr val="000000"/>
                </a:solidFill>
                <a:latin typeface="+mj-lt"/>
              </a:rPr>
              <a:t>, 22, black)</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9827955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Tabulator DRAF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2" name="Titre 1"/>
          <p:cNvSpPr>
            <a:spLocks noGrp="1"/>
          </p:cNvSpPr>
          <p:nvPr>
            <p:ph type="title" hasCustomPrompt="1"/>
          </p:nvPr>
        </p:nvSpPr>
        <p:spPr>
          <a:xfrm>
            <a:off x="609600" y="259200"/>
            <a:ext cx="11040000" cy="540000"/>
          </a:xfrm>
          <a:prstGeom prst="rect">
            <a:avLst/>
          </a:prstGeom>
        </p:spPr>
        <p:txBody>
          <a:bodyPr>
            <a:noAutofit/>
          </a:bodyPr>
          <a:lstStyle>
            <a:lvl1pPr>
              <a:defRPr sz="3200" b="1" baseline="0">
                <a:solidFill>
                  <a:schemeClr val="tx1"/>
                </a:solidFill>
                <a:latin typeface="Calibri" pitchFamily="34" charset="0"/>
                <a:cs typeface="Arial" pitchFamily="34" charset="0"/>
              </a:defRPr>
            </a:lvl1pPr>
          </a:lstStyle>
          <a:p>
            <a:r>
              <a:rPr lang="en-GB" noProof="0"/>
              <a:t>Title</a:t>
            </a:r>
          </a:p>
        </p:txBody>
      </p:sp>
      <p:sp>
        <p:nvSpPr>
          <p:cNvPr id="11"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12" name="Text Placeholder 17"/>
          <p:cNvSpPr>
            <a:spLocks noGrp="1"/>
          </p:cNvSpPr>
          <p:nvPr>
            <p:ph type="body" sz="quarter" idx="14" hasCustomPrompt="1"/>
          </p:nvPr>
        </p:nvSpPr>
        <p:spPr>
          <a:xfrm>
            <a:off x="674193" y="5373217"/>
            <a:ext cx="10890772" cy="374571"/>
          </a:xfrm>
          <a:prstGeom prst="roundRect">
            <a:avLst/>
          </a:prstGeom>
          <a:noFill/>
          <a:ln w="50800" cmpd="sng">
            <a:solidFill>
              <a:srgbClr val="B1C7E1"/>
            </a:solidFill>
            <a:prstDash val="solid"/>
            <a:miter lim="800000"/>
            <a:headEnd/>
            <a:tailEnd/>
          </a:ln>
          <a:scene3d>
            <a:camera prst="orthographicFront"/>
            <a:lightRig rig="threePt" dir="t">
              <a:rot lat="0" lon="0" rev="6600000"/>
            </a:lightRig>
          </a:scene3d>
          <a:sp3d>
            <a:bevelT/>
          </a:sp3d>
        </p:spPr>
        <p:txBody>
          <a:bodyPr>
            <a:spAutoFit/>
          </a:bodyPr>
          <a:lstStyle>
            <a:lvl1pPr marL="0" indent="0" algn="ctr">
              <a:buFontTx/>
              <a:buNone/>
              <a:defRPr lang="en-GB" sz="1600" i="1" dirty="0">
                <a:solidFill>
                  <a:schemeClr val="tx1"/>
                </a:solidFill>
                <a:ea typeface="+mn-ea"/>
                <a:cs typeface="Arial" pitchFamily="34" charset="0"/>
              </a:defRPr>
            </a:lvl1pPr>
          </a:lstStyle>
          <a:p>
            <a:pPr lvl="0" algn="ctr">
              <a:spcBef>
                <a:spcPct val="0"/>
              </a:spcBef>
            </a:pPr>
            <a:r>
              <a:rPr lang="en-GB" sz="1600" i="1" dirty="0">
                <a:solidFill>
                  <a:srgbClr val="000000"/>
                </a:solidFill>
                <a:latin typeface="+mn-lt"/>
                <a:cs typeface="Arial" pitchFamily="34" charset="0"/>
              </a:rPr>
              <a:t>&lt;…&gt; (Calibri, Italic, 16, black, </a:t>
            </a:r>
            <a:r>
              <a:rPr lang="en-GB" sz="1600" i="1" dirty="0" err="1">
                <a:solidFill>
                  <a:srgbClr val="000000"/>
                </a:solidFill>
                <a:latin typeface="+mn-lt"/>
                <a:cs typeface="Arial" pitchFamily="34" charset="0"/>
              </a:rPr>
              <a:t>center</a:t>
            </a:r>
            <a:r>
              <a:rPr lang="en-GB" sz="1600" i="1" dirty="0">
                <a:solidFill>
                  <a:srgbClr val="000000"/>
                </a:solidFill>
                <a:latin typeface="+mn-lt"/>
                <a:cs typeface="Arial" pitchFamily="34" charset="0"/>
              </a:rPr>
              <a:t>)</a:t>
            </a:r>
          </a:p>
        </p:txBody>
      </p:sp>
      <p:sp>
        <p:nvSpPr>
          <p:cNvPr id="8" name="Text Placeholder 7"/>
          <p:cNvSpPr>
            <a:spLocks noGrp="1"/>
          </p:cNvSpPr>
          <p:nvPr>
            <p:ph type="body" sz="quarter" idx="16" hasCustomPrompt="1"/>
          </p:nvPr>
        </p:nvSpPr>
        <p:spPr>
          <a:xfrm>
            <a:off x="606883" y="1412776"/>
            <a:ext cx="11041227" cy="3816424"/>
          </a:xfrm>
          <a:prstGeom prst="rect">
            <a:avLst/>
          </a:prstGeom>
        </p:spPr>
        <p:txBody>
          <a:bodyPr/>
          <a:lstStyle>
            <a:lvl1pPr marL="171450" indent="-171450">
              <a:spcBef>
                <a:spcPts val="600"/>
              </a:spcBef>
              <a:buClr>
                <a:schemeClr val="accent3"/>
              </a:buClr>
              <a:buFont typeface="Calibri" pitchFamily="34" charset="0"/>
              <a:buChar char="&gt;"/>
              <a:defRPr sz="1800" baseline="0">
                <a:solidFill>
                  <a:srgbClr val="000000"/>
                </a:solidFill>
                <a:sym typeface="Wingdings" pitchFamily="2" charset="2"/>
              </a:defRPr>
            </a:lvl1pPr>
            <a:lvl2pPr marL="400050" indent="-171450">
              <a:spcBef>
                <a:spcPts val="300"/>
              </a:spcBef>
              <a:buClr>
                <a:schemeClr val="accent3"/>
              </a:buClr>
              <a:buFont typeface="Wingdings" pitchFamily="2" charset="2"/>
              <a:buChar char="§"/>
              <a:defRPr sz="1800" baseline="0">
                <a:solidFill>
                  <a:srgbClr val="000000"/>
                </a:solidFill>
              </a:defRPr>
            </a:lvl2pPr>
            <a:lvl3pPr marL="628650" indent="-171450">
              <a:spcBef>
                <a:spcPts val="300"/>
              </a:spcBef>
              <a:buClr>
                <a:schemeClr val="accent3"/>
              </a:buClr>
              <a:buFont typeface="Courier New" pitchFamily="49" charset="0"/>
              <a:buChar char="o"/>
              <a:defRPr sz="1600" baseline="0">
                <a:solidFill>
                  <a:srgbClr val="000000"/>
                </a:solidFill>
              </a:defRPr>
            </a:lvl3pPr>
            <a:lvl4pPr marL="857250" indent="-171450">
              <a:spcBef>
                <a:spcPts val="300"/>
              </a:spcBef>
              <a:buClr>
                <a:schemeClr val="accent3"/>
              </a:buClr>
              <a:defRPr sz="1600">
                <a:solidFill>
                  <a:srgbClr val="000000"/>
                </a:solidFill>
              </a:defRPr>
            </a:lvl4pPr>
            <a:lvl5pPr>
              <a:defRPr>
                <a:solidFill>
                  <a:srgbClr val="000000"/>
                </a:solidFill>
              </a:defRPr>
            </a:lvl5pPr>
          </a:lstStyle>
          <a:p>
            <a:pPr lvl="0"/>
            <a:r>
              <a:rPr lang="en-GB" noProof="0" dirty="0"/>
              <a:t>Diff. bullet levels with “tabulator”</a:t>
            </a:r>
          </a:p>
          <a:p>
            <a:pPr lvl="1"/>
            <a:r>
              <a:rPr lang="en-GB" noProof="0" dirty="0"/>
              <a:t>Third level (Calibri, 18, black)</a:t>
            </a:r>
          </a:p>
          <a:p>
            <a:pPr lvl="2"/>
            <a:r>
              <a:rPr lang="en-GB" noProof="0" dirty="0"/>
              <a:t>Fourth level (Calibri, 16, black)</a:t>
            </a:r>
          </a:p>
          <a:p>
            <a:pPr lvl="3"/>
            <a:r>
              <a:rPr lang="en-GB" noProof="0" dirty="0"/>
              <a:t>Fifth level</a:t>
            </a:r>
          </a:p>
        </p:txBody>
      </p:sp>
      <p:sp>
        <p:nvSpPr>
          <p:cNvPr id="13" name="Text Placeholder 17"/>
          <p:cNvSpPr>
            <a:spLocks noGrp="1"/>
          </p:cNvSpPr>
          <p:nvPr>
            <p:ph type="body" sz="quarter" idx="13" hasCustomPrompt="1"/>
          </p:nvPr>
        </p:nvSpPr>
        <p:spPr>
          <a:xfrm>
            <a:off x="610693" y="900074"/>
            <a:ext cx="11041559" cy="440695"/>
          </a:xfrm>
          <a:prstGeom prst="rect">
            <a:avLst/>
          </a:prstGeom>
        </p:spPr>
        <p:txBody>
          <a:bodyPr/>
          <a:lstStyle>
            <a:lvl1pPr marL="0" indent="0" algn="l">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First Level (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
        <p:nvSpPr>
          <p:cNvPr id="9" name="PowerPlusWaterMarkObject357831064"/>
          <p:cNvSpPr>
            <a:spLocks noChangeArrowheads="1" noChangeShapeType="1" noTextEdit="1"/>
          </p:cNvSpPr>
          <p:nvPr userDrawn="1"/>
        </p:nvSpPr>
        <p:spPr bwMode="auto">
          <a:xfrm rot="18900000">
            <a:off x="3323361" y="2133516"/>
            <a:ext cx="5820731" cy="224036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rtl="0">
              <a:buNone/>
            </a:pPr>
            <a:r>
              <a:rPr lang="en-US" sz="100" b="0" spc="0" dirty="0">
                <a:ln>
                  <a:noFill/>
                </a:ln>
                <a:solidFill>
                  <a:srgbClr val="C0C0C0">
                    <a:alpha val="50000"/>
                  </a:srgbClr>
                </a:solidFill>
                <a:latin typeface="Arial" pitchFamily="34" charset="0"/>
                <a:cs typeface="Arial" pitchFamily="34" charset="0"/>
              </a:rPr>
              <a:t>DRAFT</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6072554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Agenda slide GSE">
    <p:spTree>
      <p:nvGrpSpPr>
        <p:cNvPr id="1" name=""/>
        <p:cNvGrpSpPr/>
        <p:nvPr/>
      </p:nvGrpSpPr>
      <p:grpSpPr>
        <a:xfrm>
          <a:off x="0" y="0"/>
          <a:ext cx="0" cy="0"/>
          <a:chOff x="0" y="0"/>
          <a:chExt cx="0" cy="0"/>
        </a:xfrm>
      </p:grpSpPr>
      <p:pic>
        <p:nvPicPr>
          <p:cNvPr id="7" name="Picture 6" descr="A picture containing nature&#10;&#10;Description generated with high confidence">
            <a:extLst>
              <a:ext uri="{FF2B5EF4-FFF2-40B4-BE49-F238E27FC236}">
                <a16:creationId xmlns:a16="http://schemas.microsoft.com/office/drawing/2014/main" id="{E32BB3C6-8229-41C9-94DD-87B3DA949188}"/>
              </a:ext>
            </a:extLst>
          </p:cNvPr>
          <p:cNvPicPr>
            <a:picLocks noChangeAspect="1"/>
          </p:cNvPicPr>
          <p:nvPr userDrawn="1"/>
        </p:nvPicPr>
        <p:blipFill rotWithShape="1">
          <a:blip r:embed="rId2"/>
          <a:srcRect r="787" b="787"/>
          <a:stretch/>
        </p:blipFill>
        <p:spPr>
          <a:xfrm>
            <a:off x="0" y="0"/>
            <a:ext cx="12192000" cy="6858000"/>
          </a:xfrm>
          <a:prstGeom prst="rect">
            <a:avLst/>
          </a:prstGeom>
        </p:spPr>
      </p:pic>
      <p:pic>
        <p:nvPicPr>
          <p:cNvPr id="5" name="Picture 4">
            <a:extLst>
              <a:ext uri="{FF2B5EF4-FFF2-40B4-BE49-F238E27FC236}">
                <a16:creationId xmlns:a16="http://schemas.microsoft.com/office/drawing/2014/main" id="{7828F988-6FB9-4D04-99F8-D2A253432D5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65210" y="4478215"/>
            <a:ext cx="4168882" cy="2098431"/>
          </a:xfrm>
          <a:prstGeom prst="rect">
            <a:avLst/>
          </a:prstGeom>
        </p:spPr>
      </p:pic>
    </p:spTree>
    <p:extLst>
      <p:ext uri="{BB962C8B-B14F-4D97-AF65-F5344CB8AC3E}">
        <p14:creationId xmlns:p14="http://schemas.microsoft.com/office/powerpoint/2010/main" val="2508975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Chart: Shift+Alt+right Arrow">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2" name="Titre 1"/>
          <p:cNvSpPr>
            <a:spLocks noGrp="1"/>
          </p:cNvSpPr>
          <p:nvPr>
            <p:ph type="title" hasCustomPrompt="1"/>
          </p:nvPr>
        </p:nvSpPr>
        <p:spPr>
          <a:xfrm>
            <a:off x="609600" y="259200"/>
            <a:ext cx="11040000" cy="540000"/>
          </a:xfrm>
          <a:prstGeom prst="rect">
            <a:avLst/>
          </a:prstGeom>
        </p:spPr>
        <p:txBody>
          <a:bodyPr>
            <a:noAutofit/>
          </a:bodyPr>
          <a:lstStyle>
            <a:lvl1pPr algn="ctr">
              <a:defRPr sz="3200" b="1" baseline="0">
                <a:solidFill>
                  <a:schemeClr val="tx1"/>
                </a:solidFill>
                <a:latin typeface="Calibri" pitchFamily="34" charset="0"/>
                <a:cs typeface="Arial" pitchFamily="34" charset="0"/>
              </a:defRPr>
            </a:lvl1pPr>
          </a:lstStyle>
          <a:p>
            <a:r>
              <a:rPr lang="en-GB" noProof="0"/>
              <a:t>Title</a:t>
            </a:r>
          </a:p>
        </p:txBody>
      </p:sp>
      <p:sp>
        <p:nvSpPr>
          <p:cNvPr id="11"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4" name="Chart Placeholder 3"/>
          <p:cNvSpPr>
            <a:spLocks noGrp="1"/>
          </p:cNvSpPr>
          <p:nvPr>
            <p:ph type="chart" sz="quarter" idx="13"/>
          </p:nvPr>
        </p:nvSpPr>
        <p:spPr>
          <a:xfrm>
            <a:off x="6576054" y="1700809"/>
            <a:ext cx="5088565" cy="4205039"/>
          </a:xfrm>
          <a:prstGeom prst="rect">
            <a:avLst/>
          </a:prstGeom>
        </p:spPr>
        <p:txBody>
          <a:bodyPr/>
          <a:lstStyle>
            <a:lvl1pPr marL="0" marR="0" indent="0" algn="ctr" defTabSz="914400" rtl="0" eaLnBrk="0" fontAlgn="base" latinLnBrk="0" hangingPunct="0">
              <a:lnSpc>
                <a:spcPct val="100000"/>
              </a:lnSpc>
              <a:spcBef>
                <a:spcPct val="20000"/>
              </a:spcBef>
              <a:spcAft>
                <a:spcPct val="0"/>
              </a:spcAft>
              <a:buClrTx/>
              <a:buSzTx/>
              <a:buFont typeface="Arial" pitchFamily="34" charset="0"/>
              <a:buNone/>
              <a:tabLst/>
              <a:defRPr lang="en-GB" sz="2200" b="1" i="1" u="none" strike="noStrike" kern="1200" baseline="0" noProof="0">
                <a:solidFill>
                  <a:prstClr val="black"/>
                </a:solidFill>
                <a:effectLst/>
                <a:latin typeface="+mj-lt"/>
                <a:ea typeface="+mn-ea"/>
                <a:cs typeface="+mn-cs"/>
              </a:defRPr>
            </a:lvl1pPr>
          </a:lstStyle>
          <a:p>
            <a:r>
              <a:rPr lang="en-US"/>
              <a:t>Click icon to add chart</a:t>
            </a:r>
            <a:endParaRPr lang="en-GB" dirty="0"/>
          </a:p>
        </p:txBody>
      </p:sp>
      <p:sp>
        <p:nvSpPr>
          <p:cNvPr id="14" name="Text Placeholder 17"/>
          <p:cNvSpPr>
            <a:spLocks noGrp="1"/>
          </p:cNvSpPr>
          <p:nvPr>
            <p:ph type="body" sz="quarter" idx="18" hasCustomPrompt="1"/>
          </p:nvPr>
        </p:nvSpPr>
        <p:spPr>
          <a:xfrm>
            <a:off x="6576055" y="889671"/>
            <a:ext cx="5088565" cy="728727"/>
          </a:xfrm>
          <a:prstGeom prst="rect">
            <a:avLst/>
          </a:prstGeom>
        </p:spPr>
        <p:txBody>
          <a:bodyPr/>
          <a:lstStyle>
            <a:lvl1pPr marL="0" indent="0" algn="ctr">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Chart Title </a:t>
            </a:r>
            <a:br>
              <a:rPr lang="en-GB" b="1" i="1" kern="100" dirty="0">
                <a:solidFill>
                  <a:srgbClr val="000000"/>
                </a:solidFill>
                <a:latin typeface="+mj-lt"/>
              </a:rPr>
            </a:br>
            <a:r>
              <a:rPr lang="en-GB" b="1" i="1" kern="100" dirty="0">
                <a:solidFill>
                  <a:srgbClr val="000000"/>
                </a:solidFill>
                <a:latin typeface="+mj-lt"/>
              </a:rPr>
              <a:t>(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
        <p:nvSpPr>
          <p:cNvPr id="13" name="Text Placeholder 7"/>
          <p:cNvSpPr>
            <a:spLocks noGrp="1"/>
          </p:cNvSpPr>
          <p:nvPr>
            <p:ph type="body" sz="quarter" idx="16" hasCustomPrompt="1"/>
          </p:nvPr>
        </p:nvSpPr>
        <p:spPr>
          <a:xfrm>
            <a:off x="606883" y="899196"/>
            <a:ext cx="5873160" cy="4978077"/>
          </a:xfrm>
          <a:prstGeom prst="rect">
            <a:avLst/>
          </a:prstGeom>
        </p:spPr>
        <p:txBody>
          <a:bodyPr/>
          <a:lstStyle>
            <a:lvl1pPr marL="0" marR="0" indent="0" algn="l" defTabSz="914400" rtl="0" eaLnBrk="0" fontAlgn="base" latinLnBrk="0" hangingPunct="0">
              <a:lnSpc>
                <a:spcPct val="100000"/>
              </a:lnSpc>
              <a:spcBef>
                <a:spcPts val="0"/>
              </a:spcBef>
              <a:spcAft>
                <a:spcPct val="0"/>
              </a:spcAft>
              <a:buClr>
                <a:schemeClr val="accent3"/>
              </a:buClr>
              <a:buSzTx/>
              <a:buFontTx/>
              <a:buNone/>
              <a:tabLst/>
              <a:defRPr lang="en-GB" sz="2200" b="1" i="1" kern="100" noProof="0" smtClean="0">
                <a:solidFill>
                  <a:srgbClr val="000000"/>
                </a:solidFill>
                <a:latin typeface="+mn-lt"/>
                <a:sym typeface="Wingdings" pitchFamily="2" charset="2"/>
              </a:defRPr>
            </a:lvl1pPr>
            <a:lvl2pPr marL="171450" indent="-171450">
              <a:spcBef>
                <a:spcPts val="600"/>
              </a:spcBef>
              <a:buClr>
                <a:schemeClr val="accent3"/>
              </a:buClr>
              <a:buFont typeface="Calibri" pitchFamily="34" charset="0"/>
              <a:buChar char="&gt;"/>
              <a:defRPr sz="1800" baseline="0">
                <a:solidFill>
                  <a:srgbClr val="000000"/>
                </a:solidFill>
              </a:defRPr>
            </a:lvl2pPr>
            <a:lvl3pPr marL="400050" indent="-171450">
              <a:spcBef>
                <a:spcPts val="300"/>
              </a:spcBef>
              <a:buClr>
                <a:schemeClr val="accent3"/>
              </a:buClr>
              <a:buFont typeface="Wingdings" pitchFamily="2" charset="2"/>
              <a:buChar char="§"/>
              <a:defRPr sz="1800" baseline="0">
                <a:solidFill>
                  <a:srgbClr val="000000"/>
                </a:solidFill>
              </a:defRPr>
            </a:lvl3pPr>
            <a:lvl4pPr marL="628650" indent="-171450">
              <a:spcBef>
                <a:spcPts val="300"/>
              </a:spcBef>
              <a:buClr>
                <a:schemeClr val="accent3"/>
              </a:buClr>
              <a:buFont typeface="Courier New" pitchFamily="49" charset="0"/>
              <a:buChar char="o"/>
              <a:defRPr sz="1600">
                <a:solidFill>
                  <a:srgbClr val="000000"/>
                </a:solidFill>
              </a:defRPr>
            </a:lvl4pPr>
            <a:lvl5pPr marL="857250" indent="-171450">
              <a:spcBef>
                <a:spcPts val="300"/>
              </a:spcBef>
              <a:buClr>
                <a:schemeClr val="accent3"/>
              </a:buClr>
              <a:buFont typeface="Arial" pitchFamily="34" charset="0"/>
              <a:buChar char="-"/>
              <a:defRPr sz="1600">
                <a:solidFill>
                  <a:srgbClr val="000000"/>
                </a:solidFill>
              </a:defRPr>
            </a:lvl5pPr>
          </a:lstStyle>
          <a:p>
            <a:pPr marL="0" marR="0" lvl="0" indent="0" algn="l" defTabSz="914400" rtl="0" eaLnBrk="0" fontAlgn="base" latinLnBrk="0" hangingPunct="0">
              <a:lnSpc>
                <a:spcPct val="100000"/>
              </a:lnSpc>
              <a:spcBef>
                <a:spcPts val="0"/>
              </a:spcBef>
              <a:spcAft>
                <a:spcPct val="0"/>
              </a:spcAft>
              <a:buClr>
                <a:schemeClr val="accent3"/>
              </a:buClr>
              <a:buSzTx/>
              <a:buFontTx/>
              <a:buNone/>
              <a:tabLst/>
              <a:defRPr/>
            </a:pPr>
            <a:r>
              <a:rPr lang="en-GB" noProof="0" dirty="0"/>
              <a:t>Diff. bullet levels with: </a:t>
            </a:r>
            <a:r>
              <a:rPr lang="en-GB" b="1" i="1" kern="100" noProof="0" dirty="0" err="1">
                <a:solidFill>
                  <a:srgbClr val="000000"/>
                </a:solidFill>
                <a:latin typeface="+mj-lt"/>
              </a:rPr>
              <a:t>Shift+Alt+rightArrow</a:t>
            </a:r>
            <a:endParaRPr lang="en-GB" noProof="0" dirty="0"/>
          </a:p>
          <a:p>
            <a:pPr lvl="1"/>
            <a:r>
              <a:rPr lang="de-DE" noProof="0" dirty="0"/>
              <a:t>Second level (Calibri, 18, black)</a:t>
            </a:r>
            <a:endParaRPr lang="en-GB" noProof="0" dirty="0"/>
          </a:p>
          <a:p>
            <a:pPr lvl="2"/>
            <a:r>
              <a:rPr lang="en-GB" noProof="0" dirty="0"/>
              <a:t>Third level (Calibri, 18, black)</a:t>
            </a:r>
          </a:p>
          <a:p>
            <a:pPr lvl="3"/>
            <a:r>
              <a:rPr lang="en-GB" noProof="0" dirty="0"/>
              <a:t>Fourth level (Calibri, 16, black)</a:t>
            </a:r>
          </a:p>
          <a:p>
            <a:pPr lvl="4"/>
            <a:r>
              <a:rPr lang="en-GB" noProof="0" dirty="0"/>
              <a:t>Fifth level</a:t>
            </a:r>
          </a:p>
          <a:p>
            <a:pPr lvl="0"/>
            <a:endParaRPr lang="en-GB" noProof="0"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2939835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Chart: Tabulato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2" name="Titre 1"/>
          <p:cNvSpPr>
            <a:spLocks noGrp="1"/>
          </p:cNvSpPr>
          <p:nvPr>
            <p:ph type="title" hasCustomPrompt="1"/>
          </p:nvPr>
        </p:nvSpPr>
        <p:spPr>
          <a:xfrm>
            <a:off x="609600" y="259200"/>
            <a:ext cx="11040000" cy="540000"/>
          </a:xfrm>
          <a:prstGeom prst="rect">
            <a:avLst/>
          </a:prstGeom>
        </p:spPr>
        <p:txBody>
          <a:bodyPr>
            <a:noAutofit/>
          </a:bodyPr>
          <a:lstStyle>
            <a:lvl1pPr algn="ctr">
              <a:defRPr sz="3200" b="1" baseline="0">
                <a:solidFill>
                  <a:schemeClr val="tx1"/>
                </a:solidFill>
                <a:latin typeface="Calibri" pitchFamily="34" charset="0"/>
                <a:cs typeface="Arial" pitchFamily="34" charset="0"/>
              </a:defRPr>
            </a:lvl1pPr>
          </a:lstStyle>
          <a:p>
            <a:r>
              <a:rPr lang="en-GB" noProof="0"/>
              <a:t>Title</a:t>
            </a:r>
          </a:p>
        </p:txBody>
      </p:sp>
      <p:sp>
        <p:nvSpPr>
          <p:cNvPr id="11"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4" name="Chart Placeholder 3"/>
          <p:cNvSpPr>
            <a:spLocks noGrp="1"/>
          </p:cNvSpPr>
          <p:nvPr>
            <p:ph type="chart" sz="quarter" idx="13"/>
          </p:nvPr>
        </p:nvSpPr>
        <p:spPr>
          <a:xfrm>
            <a:off x="6576054" y="1700809"/>
            <a:ext cx="5088565" cy="4205039"/>
          </a:xfrm>
          <a:prstGeom prst="rect">
            <a:avLst/>
          </a:prstGeom>
        </p:spPr>
        <p:txBody>
          <a:bodyPr/>
          <a:lstStyle>
            <a:lvl1pPr marL="0" marR="0" indent="0" algn="ctr" defTabSz="914400" rtl="0" eaLnBrk="0" fontAlgn="base" latinLnBrk="0" hangingPunct="0">
              <a:lnSpc>
                <a:spcPct val="100000"/>
              </a:lnSpc>
              <a:spcBef>
                <a:spcPct val="20000"/>
              </a:spcBef>
              <a:spcAft>
                <a:spcPct val="0"/>
              </a:spcAft>
              <a:buClrTx/>
              <a:buSzTx/>
              <a:buFont typeface="Arial" pitchFamily="34" charset="0"/>
              <a:buNone/>
              <a:tabLst/>
              <a:defRPr lang="en-GB" sz="2200" b="1" i="1" u="none" strike="noStrike" kern="1200" baseline="0" noProof="0">
                <a:solidFill>
                  <a:prstClr val="black"/>
                </a:solidFill>
                <a:effectLst/>
                <a:latin typeface="+mj-lt"/>
                <a:ea typeface="+mn-ea"/>
                <a:cs typeface="+mn-cs"/>
              </a:defRPr>
            </a:lvl1pPr>
          </a:lstStyle>
          <a:p>
            <a:r>
              <a:rPr lang="en-US"/>
              <a:t>Click icon to add chart</a:t>
            </a:r>
            <a:endParaRPr lang="en-GB" dirty="0"/>
          </a:p>
        </p:txBody>
      </p:sp>
      <p:sp>
        <p:nvSpPr>
          <p:cNvPr id="10" name="Text Placeholder 7"/>
          <p:cNvSpPr>
            <a:spLocks noGrp="1"/>
          </p:cNvSpPr>
          <p:nvPr>
            <p:ph type="body" sz="quarter" idx="16" hasCustomPrompt="1"/>
          </p:nvPr>
        </p:nvSpPr>
        <p:spPr>
          <a:xfrm>
            <a:off x="606883" y="1700808"/>
            <a:ext cx="5890349" cy="4205039"/>
          </a:xfrm>
          <a:prstGeom prst="rect">
            <a:avLst/>
          </a:prstGeom>
        </p:spPr>
        <p:txBody>
          <a:bodyPr/>
          <a:lstStyle>
            <a:lvl1pPr marL="171450" indent="-171450">
              <a:spcBef>
                <a:spcPts val="600"/>
              </a:spcBef>
              <a:buClr>
                <a:schemeClr val="accent3"/>
              </a:buClr>
              <a:buFont typeface="Calibri" pitchFamily="34" charset="0"/>
              <a:buChar char="&gt;"/>
              <a:defRPr sz="1800" baseline="0">
                <a:solidFill>
                  <a:srgbClr val="000000"/>
                </a:solidFill>
              </a:defRPr>
            </a:lvl1pPr>
            <a:lvl2pPr marL="400050" indent="-171450">
              <a:spcBef>
                <a:spcPts val="300"/>
              </a:spcBef>
              <a:buClr>
                <a:schemeClr val="accent3"/>
              </a:buClr>
              <a:buFont typeface="Wingdings" pitchFamily="2" charset="2"/>
              <a:buChar char="§"/>
              <a:defRPr lang="en-US" sz="1800" kern="1200" baseline="0" dirty="0" smtClean="0">
                <a:solidFill>
                  <a:srgbClr val="000000"/>
                </a:solidFill>
                <a:latin typeface="+mn-lt"/>
                <a:ea typeface="ＭＳ Ｐゴシック" pitchFamily="-111" charset="-128"/>
                <a:cs typeface="ＭＳ Ｐゴシック"/>
              </a:defRPr>
            </a:lvl2pPr>
            <a:lvl3pPr marL="628650" indent="-171450">
              <a:spcBef>
                <a:spcPts val="300"/>
              </a:spcBef>
              <a:buClr>
                <a:schemeClr val="accent3"/>
              </a:buClr>
              <a:buFont typeface="Courier New" pitchFamily="49" charset="0"/>
              <a:buChar char="o"/>
              <a:defRPr sz="1600" baseline="0">
                <a:solidFill>
                  <a:srgbClr val="000000"/>
                </a:solidFill>
              </a:defRPr>
            </a:lvl3pPr>
            <a:lvl4pPr marL="857250" indent="-171450">
              <a:spcBef>
                <a:spcPts val="0"/>
              </a:spcBef>
              <a:spcAft>
                <a:spcPts val="300"/>
              </a:spcAft>
              <a:buClr>
                <a:schemeClr val="accent3"/>
              </a:buClr>
              <a:defRPr sz="1600">
                <a:solidFill>
                  <a:srgbClr val="000000"/>
                </a:solidFill>
              </a:defRPr>
            </a:lvl4pPr>
            <a:lvl5pPr>
              <a:defRPr>
                <a:solidFill>
                  <a:srgbClr val="000000"/>
                </a:solidFill>
              </a:defRPr>
            </a:lvl5pPr>
          </a:lstStyle>
          <a:p>
            <a:pPr lvl="0"/>
            <a:r>
              <a:rPr lang="en-US" dirty="0"/>
              <a:t>Diff. bullet levels with “tabulator”</a:t>
            </a:r>
          </a:p>
          <a:p>
            <a:pPr lvl="1"/>
            <a:r>
              <a:rPr lang="en-US" dirty="0"/>
              <a:t>Third level (Calibri, 18, black)</a:t>
            </a:r>
          </a:p>
          <a:p>
            <a:pPr lvl="2"/>
            <a:r>
              <a:rPr lang="en-US" dirty="0"/>
              <a:t>Fourth level (Calibri, 16, black)</a:t>
            </a:r>
          </a:p>
          <a:p>
            <a:pPr lvl="3"/>
            <a:r>
              <a:rPr lang="en-US" dirty="0"/>
              <a:t>Fifth level</a:t>
            </a:r>
          </a:p>
        </p:txBody>
      </p:sp>
      <p:sp>
        <p:nvSpPr>
          <p:cNvPr id="12" name="Text Placeholder 17"/>
          <p:cNvSpPr>
            <a:spLocks noGrp="1"/>
          </p:cNvSpPr>
          <p:nvPr>
            <p:ph type="body" sz="quarter" idx="17" hasCustomPrompt="1"/>
          </p:nvPr>
        </p:nvSpPr>
        <p:spPr>
          <a:xfrm>
            <a:off x="610693" y="900074"/>
            <a:ext cx="5890527" cy="728727"/>
          </a:xfrm>
          <a:prstGeom prst="rect">
            <a:avLst/>
          </a:prstGeom>
        </p:spPr>
        <p:txBody>
          <a:bodyPr/>
          <a:lstStyle>
            <a:lvl1pPr marL="0" indent="0" algn="l">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First Level (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
        <p:nvSpPr>
          <p:cNvPr id="14" name="Text Placeholder 17"/>
          <p:cNvSpPr>
            <a:spLocks noGrp="1"/>
          </p:cNvSpPr>
          <p:nvPr>
            <p:ph type="body" sz="quarter" idx="18" hasCustomPrompt="1"/>
          </p:nvPr>
        </p:nvSpPr>
        <p:spPr>
          <a:xfrm>
            <a:off x="6576055" y="889671"/>
            <a:ext cx="5088565" cy="728727"/>
          </a:xfrm>
          <a:prstGeom prst="rect">
            <a:avLst/>
          </a:prstGeom>
        </p:spPr>
        <p:txBody>
          <a:bodyPr/>
          <a:lstStyle>
            <a:lvl1pPr marL="0" indent="0" algn="ctr">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Chart Title </a:t>
            </a:r>
            <a:br>
              <a:rPr lang="en-GB" b="1" i="1" kern="100" dirty="0">
                <a:solidFill>
                  <a:srgbClr val="000000"/>
                </a:solidFill>
                <a:latin typeface="+mj-lt"/>
              </a:rPr>
            </a:br>
            <a:r>
              <a:rPr lang="en-GB" b="1" i="1" kern="100" dirty="0">
                <a:solidFill>
                  <a:srgbClr val="000000"/>
                </a:solidFill>
                <a:latin typeface="+mj-lt"/>
              </a:rPr>
              <a:t>(Calibri, </a:t>
            </a:r>
            <a:r>
              <a:rPr lang="en-GB" b="1" i="1" kern="100" dirty="0" err="1">
                <a:solidFill>
                  <a:srgbClr val="000000"/>
                </a:solidFill>
                <a:latin typeface="+mj-lt"/>
              </a:rPr>
              <a:t>Bold+Italic</a:t>
            </a:r>
            <a:r>
              <a:rPr lang="en-GB" b="1" i="1" kern="100" dirty="0">
                <a:solidFill>
                  <a:srgbClr val="000000"/>
                </a:solidFill>
                <a:latin typeface="+mj-lt"/>
              </a:rPr>
              <a:t>, 22, black)</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416563188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Chart: Tabulator DRAF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2" name="Titre 1"/>
          <p:cNvSpPr>
            <a:spLocks noGrp="1"/>
          </p:cNvSpPr>
          <p:nvPr>
            <p:ph type="title" hasCustomPrompt="1"/>
          </p:nvPr>
        </p:nvSpPr>
        <p:spPr>
          <a:xfrm>
            <a:off x="609600" y="259200"/>
            <a:ext cx="11040000" cy="540000"/>
          </a:xfrm>
          <a:prstGeom prst="rect">
            <a:avLst/>
          </a:prstGeom>
        </p:spPr>
        <p:txBody>
          <a:bodyPr>
            <a:noAutofit/>
          </a:bodyPr>
          <a:lstStyle>
            <a:lvl1pPr algn="ctr">
              <a:defRPr sz="3200" b="1" baseline="0">
                <a:solidFill>
                  <a:schemeClr val="tx1"/>
                </a:solidFill>
                <a:latin typeface="Calibri" pitchFamily="34" charset="0"/>
                <a:cs typeface="Arial" pitchFamily="34" charset="0"/>
              </a:defRPr>
            </a:lvl1pPr>
          </a:lstStyle>
          <a:p>
            <a:r>
              <a:rPr lang="en-GB" noProof="0"/>
              <a:t>Title</a:t>
            </a:r>
          </a:p>
        </p:txBody>
      </p:sp>
      <p:sp>
        <p:nvSpPr>
          <p:cNvPr id="11"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4" name="Chart Placeholder 3"/>
          <p:cNvSpPr>
            <a:spLocks noGrp="1"/>
          </p:cNvSpPr>
          <p:nvPr>
            <p:ph type="chart" sz="quarter" idx="13"/>
          </p:nvPr>
        </p:nvSpPr>
        <p:spPr>
          <a:xfrm>
            <a:off x="6576054" y="1700809"/>
            <a:ext cx="5088565" cy="4205039"/>
          </a:xfrm>
          <a:prstGeom prst="rect">
            <a:avLst/>
          </a:prstGeom>
        </p:spPr>
        <p:txBody>
          <a:bodyPr/>
          <a:lstStyle>
            <a:lvl1pPr marL="0" marR="0" indent="0" algn="ctr" defTabSz="914400" rtl="0" eaLnBrk="0" fontAlgn="base" latinLnBrk="0" hangingPunct="0">
              <a:lnSpc>
                <a:spcPct val="100000"/>
              </a:lnSpc>
              <a:spcBef>
                <a:spcPct val="20000"/>
              </a:spcBef>
              <a:spcAft>
                <a:spcPct val="0"/>
              </a:spcAft>
              <a:buClrTx/>
              <a:buSzTx/>
              <a:buFont typeface="Arial" pitchFamily="34" charset="0"/>
              <a:buNone/>
              <a:tabLst/>
              <a:defRPr lang="en-GB" sz="2200" b="1" i="1" u="none" strike="noStrike" kern="1200" baseline="0" noProof="0">
                <a:solidFill>
                  <a:prstClr val="black"/>
                </a:solidFill>
                <a:effectLst/>
                <a:latin typeface="+mj-lt"/>
                <a:ea typeface="+mn-ea"/>
                <a:cs typeface="+mn-cs"/>
              </a:defRPr>
            </a:lvl1pPr>
          </a:lstStyle>
          <a:p>
            <a:r>
              <a:rPr lang="en-US"/>
              <a:t>Click icon to add chart</a:t>
            </a:r>
            <a:endParaRPr lang="en-GB" dirty="0"/>
          </a:p>
        </p:txBody>
      </p:sp>
      <p:sp>
        <p:nvSpPr>
          <p:cNvPr id="10" name="Text Placeholder 7"/>
          <p:cNvSpPr>
            <a:spLocks noGrp="1"/>
          </p:cNvSpPr>
          <p:nvPr>
            <p:ph type="body" sz="quarter" idx="16" hasCustomPrompt="1"/>
          </p:nvPr>
        </p:nvSpPr>
        <p:spPr>
          <a:xfrm>
            <a:off x="606883" y="1700808"/>
            <a:ext cx="5890349" cy="4205039"/>
          </a:xfrm>
          <a:prstGeom prst="rect">
            <a:avLst/>
          </a:prstGeom>
        </p:spPr>
        <p:txBody>
          <a:bodyPr/>
          <a:lstStyle>
            <a:lvl1pPr marL="171450" indent="-171450">
              <a:spcBef>
                <a:spcPts val="600"/>
              </a:spcBef>
              <a:buClr>
                <a:schemeClr val="accent3"/>
              </a:buClr>
              <a:buFont typeface="Calibri" pitchFamily="34" charset="0"/>
              <a:buChar char="&gt;"/>
              <a:defRPr sz="1800" baseline="0">
                <a:solidFill>
                  <a:srgbClr val="000000"/>
                </a:solidFill>
              </a:defRPr>
            </a:lvl1pPr>
            <a:lvl2pPr marL="400050" indent="-171450">
              <a:spcBef>
                <a:spcPts val="300"/>
              </a:spcBef>
              <a:buClr>
                <a:schemeClr val="accent3"/>
              </a:buClr>
              <a:buFont typeface="Wingdings" pitchFamily="2" charset="2"/>
              <a:buChar char="§"/>
              <a:defRPr lang="en-US" sz="1800" kern="1200" baseline="0" dirty="0" smtClean="0">
                <a:solidFill>
                  <a:srgbClr val="000000"/>
                </a:solidFill>
                <a:latin typeface="+mn-lt"/>
                <a:ea typeface="ＭＳ Ｐゴシック" pitchFamily="-111" charset="-128"/>
                <a:cs typeface="ＭＳ Ｐゴシック"/>
              </a:defRPr>
            </a:lvl2pPr>
            <a:lvl3pPr marL="628650" indent="-171450">
              <a:spcBef>
                <a:spcPts val="300"/>
              </a:spcBef>
              <a:buClr>
                <a:schemeClr val="accent3"/>
              </a:buClr>
              <a:buFont typeface="Courier New" pitchFamily="49" charset="0"/>
              <a:buChar char="o"/>
              <a:defRPr sz="1600" baseline="0">
                <a:solidFill>
                  <a:srgbClr val="000000"/>
                </a:solidFill>
              </a:defRPr>
            </a:lvl3pPr>
            <a:lvl4pPr marL="857250" indent="-171450">
              <a:spcBef>
                <a:spcPts val="300"/>
              </a:spcBef>
              <a:buClr>
                <a:schemeClr val="accent3"/>
              </a:buClr>
              <a:defRPr sz="1600">
                <a:solidFill>
                  <a:srgbClr val="000000"/>
                </a:solidFill>
              </a:defRPr>
            </a:lvl4pPr>
            <a:lvl5pPr>
              <a:defRPr>
                <a:solidFill>
                  <a:srgbClr val="000000"/>
                </a:solidFill>
              </a:defRPr>
            </a:lvl5pPr>
          </a:lstStyle>
          <a:p>
            <a:pPr lvl="0"/>
            <a:r>
              <a:rPr lang="en-US" dirty="0"/>
              <a:t>Diff. bullet levels with “tabulator”</a:t>
            </a:r>
          </a:p>
          <a:p>
            <a:pPr lvl="1"/>
            <a:r>
              <a:rPr lang="en-US" dirty="0"/>
              <a:t>Third level (Calibri, 18, black)</a:t>
            </a:r>
          </a:p>
          <a:p>
            <a:pPr lvl="2"/>
            <a:r>
              <a:rPr lang="en-US" dirty="0"/>
              <a:t>Fourth level (Calibri, 16, black)</a:t>
            </a:r>
          </a:p>
          <a:p>
            <a:pPr lvl="3"/>
            <a:r>
              <a:rPr lang="en-US" dirty="0"/>
              <a:t>Fifth level</a:t>
            </a:r>
          </a:p>
        </p:txBody>
      </p:sp>
      <p:sp>
        <p:nvSpPr>
          <p:cNvPr id="12" name="Text Placeholder 17"/>
          <p:cNvSpPr>
            <a:spLocks noGrp="1"/>
          </p:cNvSpPr>
          <p:nvPr>
            <p:ph type="body" sz="quarter" idx="17" hasCustomPrompt="1"/>
          </p:nvPr>
        </p:nvSpPr>
        <p:spPr>
          <a:xfrm>
            <a:off x="610693" y="900074"/>
            <a:ext cx="5890527" cy="728727"/>
          </a:xfrm>
          <a:prstGeom prst="rect">
            <a:avLst/>
          </a:prstGeom>
        </p:spPr>
        <p:txBody>
          <a:bodyPr/>
          <a:lstStyle>
            <a:lvl1pPr marL="0" indent="0" algn="l">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First Level (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
        <p:nvSpPr>
          <p:cNvPr id="14" name="Text Placeholder 17"/>
          <p:cNvSpPr>
            <a:spLocks noGrp="1"/>
          </p:cNvSpPr>
          <p:nvPr>
            <p:ph type="body" sz="quarter" idx="18" hasCustomPrompt="1"/>
          </p:nvPr>
        </p:nvSpPr>
        <p:spPr>
          <a:xfrm>
            <a:off x="6576055" y="889671"/>
            <a:ext cx="5088565" cy="728727"/>
          </a:xfrm>
          <a:prstGeom prst="rect">
            <a:avLst/>
          </a:prstGeom>
        </p:spPr>
        <p:txBody>
          <a:bodyPr/>
          <a:lstStyle>
            <a:lvl1pPr marL="0" indent="0" algn="ctr">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Chart Title </a:t>
            </a:r>
            <a:br>
              <a:rPr lang="en-GB" b="1" i="1" kern="100" dirty="0">
                <a:solidFill>
                  <a:srgbClr val="000000"/>
                </a:solidFill>
                <a:latin typeface="+mj-lt"/>
              </a:rPr>
            </a:br>
            <a:r>
              <a:rPr lang="en-GB" b="1" i="1" kern="100" dirty="0">
                <a:solidFill>
                  <a:srgbClr val="000000"/>
                </a:solidFill>
                <a:latin typeface="+mj-lt"/>
              </a:rPr>
              <a:t>(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
        <p:nvSpPr>
          <p:cNvPr id="13" name="PowerPlusWaterMarkObject357831064"/>
          <p:cNvSpPr>
            <a:spLocks noChangeArrowheads="1" noChangeShapeType="1" noTextEdit="1"/>
          </p:cNvSpPr>
          <p:nvPr userDrawn="1"/>
        </p:nvSpPr>
        <p:spPr bwMode="auto">
          <a:xfrm rot="18900000">
            <a:off x="3323361" y="2133516"/>
            <a:ext cx="5820731" cy="224036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rtl="0">
              <a:buNone/>
            </a:pPr>
            <a:r>
              <a:rPr lang="en-US" sz="100" b="0" spc="0" dirty="0">
                <a:ln>
                  <a:noFill/>
                </a:ln>
                <a:solidFill>
                  <a:srgbClr val="C0C0C0">
                    <a:alpha val="50000"/>
                  </a:srgbClr>
                </a:solidFill>
                <a:latin typeface="Arial" pitchFamily="34" charset="0"/>
                <a:cs typeface="Arial" pitchFamily="34" charset="0"/>
              </a:rPr>
              <a:t>DRAFT</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15124440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10" name="Titre 1"/>
          <p:cNvSpPr>
            <a:spLocks noGrp="1"/>
          </p:cNvSpPr>
          <p:nvPr>
            <p:ph type="title" hasCustomPrompt="1"/>
          </p:nvPr>
        </p:nvSpPr>
        <p:spPr>
          <a:xfrm>
            <a:off x="609600" y="259200"/>
            <a:ext cx="11040000" cy="540000"/>
          </a:xfrm>
          <a:prstGeom prst="rect">
            <a:avLst/>
          </a:prstGeom>
        </p:spPr>
        <p:txBody>
          <a:bodyPr>
            <a:noAutofit/>
          </a:bodyPr>
          <a:lstStyle>
            <a:lvl1pPr>
              <a:defRPr sz="3200" b="1" baseline="0">
                <a:solidFill>
                  <a:schemeClr val="tx1"/>
                </a:solidFill>
                <a:latin typeface="Calibri" pitchFamily="34" charset="0"/>
                <a:cs typeface="Arial" pitchFamily="34" charset="0"/>
              </a:defRPr>
            </a:lvl1pPr>
          </a:lstStyle>
          <a:p>
            <a:r>
              <a:rPr lang="en-GB" noProof="0"/>
              <a:t>Title</a:t>
            </a:r>
          </a:p>
        </p:txBody>
      </p:sp>
      <p:sp>
        <p:nvSpPr>
          <p:cNvPr id="9"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15" name="Chart Placeholder 3"/>
          <p:cNvSpPr>
            <a:spLocks noGrp="1"/>
          </p:cNvSpPr>
          <p:nvPr>
            <p:ph type="chart" sz="quarter" idx="13"/>
          </p:nvPr>
        </p:nvSpPr>
        <p:spPr>
          <a:xfrm>
            <a:off x="610692" y="1700809"/>
            <a:ext cx="11041227" cy="4205039"/>
          </a:xfrm>
          <a:prstGeom prst="rect">
            <a:avLst/>
          </a:prstGeom>
        </p:spPr>
        <p:txBody>
          <a:bodyPr/>
          <a:lstStyle>
            <a:lvl1pPr marL="0" marR="0" indent="0" algn="ctr" defTabSz="914400" rtl="0" eaLnBrk="0" fontAlgn="base" latinLnBrk="0" hangingPunct="0">
              <a:lnSpc>
                <a:spcPct val="100000"/>
              </a:lnSpc>
              <a:spcBef>
                <a:spcPct val="20000"/>
              </a:spcBef>
              <a:spcAft>
                <a:spcPct val="0"/>
              </a:spcAft>
              <a:buClrTx/>
              <a:buSzTx/>
              <a:buFont typeface="Arial" pitchFamily="34" charset="0"/>
              <a:buNone/>
              <a:tabLst/>
              <a:defRPr lang="en-GB" sz="2200" b="1" i="1" u="none" strike="noStrike" kern="1200" baseline="0" noProof="0">
                <a:solidFill>
                  <a:prstClr val="black"/>
                </a:solidFill>
                <a:effectLst/>
                <a:latin typeface="+mj-lt"/>
                <a:ea typeface="+mn-ea"/>
                <a:cs typeface="+mn-cs"/>
              </a:defRPr>
            </a:lvl1pPr>
          </a:lstStyle>
          <a:p>
            <a:r>
              <a:rPr lang="en-US"/>
              <a:t>Click icon to add chart</a:t>
            </a:r>
            <a:endParaRPr lang="en-GB" dirty="0"/>
          </a:p>
        </p:txBody>
      </p:sp>
      <p:sp>
        <p:nvSpPr>
          <p:cNvPr id="16" name="Text Placeholder 17"/>
          <p:cNvSpPr>
            <a:spLocks noGrp="1"/>
          </p:cNvSpPr>
          <p:nvPr>
            <p:ph type="body" sz="quarter" idx="18" hasCustomPrompt="1"/>
          </p:nvPr>
        </p:nvSpPr>
        <p:spPr>
          <a:xfrm>
            <a:off x="610693" y="889671"/>
            <a:ext cx="11041227" cy="728727"/>
          </a:xfrm>
          <a:prstGeom prst="rect">
            <a:avLst/>
          </a:prstGeom>
        </p:spPr>
        <p:txBody>
          <a:bodyPr/>
          <a:lstStyle>
            <a:lvl1pPr marL="0" indent="0" algn="ctr">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Chart Title (Calibri, </a:t>
            </a:r>
            <a:r>
              <a:rPr lang="en-GB" b="1" i="1" kern="100" dirty="0" err="1">
                <a:solidFill>
                  <a:srgbClr val="000000"/>
                </a:solidFill>
                <a:latin typeface="+mj-lt"/>
              </a:rPr>
              <a:t>Bold+Italic</a:t>
            </a:r>
            <a:r>
              <a:rPr lang="en-GB" b="1" i="1" kern="100" dirty="0">
                <a:solidFill>
                  <a:srgbClr val="000000"/>
                </a:solidFill>
                <a:latin typeface="+mj-lt"/>
              </a:rPr>
              <a:t>, 22, black)</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15329360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hart DRAFT">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10" name="Titre 1"/>
          <p:cNvSpPr>
            <a:spLocks noGrp="1"/>
          </p:cNvSpPr>
          <p:nvPr>
            <p:ph type="title" hasCustomPrompt="1"/>
          </p:nvPr>
        </p:nvSpPr>
        <p:spPr>
          <a:xfrm>
            <a:off x="609600" y="259200"/>
            <a:ext cx="11040000" cy="540000"/>
          </a:xfrm>
          <a:prstGeom prst="rect">
            <a:avLst/>
          </a:prstGeom>
        </p:spPr>
        <p:txBody>
          <a:bodyPr>
            <a:noAutofit/>
          </a:bodyPr>
          <a:lstStyle>
            <a:lvl1pPr>
              <a:defRPr sz="3200" b="1" baseline="0">
                <a:solidFill>
                  <a:schemeClr val="tx1"/>
                </a:solidFill>
                <a:latin typeface="Calibri" pitchFamily="34" charset="0"/>
                <a:cs typeface="Arial" pitchFamily="34" charset="0"/>
              </a:defRPr>
            </a:lvl1pPr>
          </a:lstStyle>
          <a:p>
            <a:r>
              <a:rPr lang="en-GB" noProof="0"/>
              <a:t>Title</a:t>
            </a:r>
          </a:p>
        </p:txBody>
      </p:sp>
      <p:sp>
        <p:nvSpPr>
          <p:cNvPr id="9" name="Espace réservé du numéro de diapositive 5"/>
          <p:cNvSpPr>
            <a:spLocks noGrp="1"/>
          </p:cNvSpPr>
          <p:nvPr>
            <p:ph type="sldNum" sz="quarter" idx="12"/>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15" name="Chart Placeholder 3"/>
          <p:cNvSpPr>
            <a:spLocks noGrp="1"/>
          </p:cNvSpPr>
          <p:nvPr>
            <p:ph type="chart" sz="quarter" idx="13"/>
          </p:nvPr>
        </p:nvSpPr>
        <p:spPr>
          <a:xfrm>
            <a:off x="610692" y="1700809"/>
            <a:ext cx="11041227" cy="4205039"/>
          </a:xfrm>
          <a:prstGeom prst="rect">
            <a:avLst/>
          </a:prstGeom>
        </p:spPr>
        <p:txBody>
          <a:bodyPr/>
          <a:lstStyle>
            <a:lvl1pPr marL="0" marR="0" indent="0" algn="ctr" defTabSz="914400" rtl="0" eaLnBrk="0" fontAlgn="base" latinLnBrk="0" hangingPunct="0">
              <a:lnSpc>
                <a:spcPct val="100000"/>
              </a:lnSpc>
              <a:spcBef>
                <a:spcPct val="20000"/>
              </a:spcBef>
              <a:spcAft>
                <a:spcPct val="0"/>
              </a:spcAft>
              <a:buClrTx/>
              <a:buSzTx/>
              <a:buFont typeface="Arial" pitchFamily="34" charset="0"/>
              <a:buNone/>
              <a:tabLst/>
              <a:defRPr lang="en-GB" sz="2200" b="1" i="1" u="none" strike="noStrike" kern="1200" baseline="0" noProof="0">
                <a:solidFill>
                  <a:prstClr val="black"/>
                </a:solidFill>
                <a:effectLst/>
                <a:latin typeface="+mj-lt"/>
                <a:ea typeface="+mn-ea"/>
                <a:cs typeface="+mn-cs"/>
              </a:defRPr>
            </a:lvl1pPr>
          </a:lstStyle>
          <a:p>
            <a:r>
              <a:rPr lang="en-US"/>
              <a:t>Click icon to add chart</a:t>
            </a:r>
            <a:endParaRPr lang="en-GB" dirty="0"/>
          </a:p>
        </p:txBody>
      </p:sp>
      <p:sp>
        <p:nvSpPr>
          <p:cNvPr id="16" name="Text Placeholder 17"/>
          <p:cNvSpPr>
            <a:spLocks noGrp="1"/>
          </p:cNvSpPr>
          <p:nvPr>
            <p:ph type="body" sz="quarter" idx="18" hasCustomPrompt="1"/>
          </p:nvPr>
        </p:nvSpPr>
        <p:spPr>
          <a:xfrm>
            <a:off x="610693" y="889671"/>
            <a:ext cx="11041227" cy="728727"/>
          </a:xfrm>
          <a:prstGeom prst="rect">
            <a:avLst/>
          </a:prstGeom>
        </p:spPr>
        <p:txBody>
          <a:bodyPr/>
          <a:lstStyle>
            <a:lvl1pPr marL="0" indent="0" algn="ctr">
              <a:lnSpc>
                <a:spcPct val="100000"/>
              </a:lnSpc>
              <a:spcBef>
                <a:spcPts val="0"/>
              </a:spcBef>
              <a:buClr>
                <a:schemeClr val="accent3"/>
              </a:buClr>
              <a:buFontTx/>
              <a:buNone/>
              <a:defRPr lang="en-GB" sz="2200" b="1" i="1" kern="100" smtClean="0">
                <a:solidFill>
                  <a:srgbClr val="000000"/>
                </a:solidFill>
              </a:defRPr>
            </a:lvl1pPr>
            <a:lvl2pPr marL="0" marR="0" indent="-285750" algn="l" defTabSz="914400" rtl="0" eaLnBrk="0" fontAlgn="base" latinLnBrk="0" hangingPunct="0">
              <a:lnSpc>
                <a:spcPct val="100000"/>
              </a:lnSpc>
              <a:spcBef>
                <a:spcPts val="0"/>
              </a:spcBef>
              <a:spcAft>
                <a:spcPct val="0"/>
              </a:spcAft>
              <a:buClr>
                <a:srgbClr val="CBD300"/>
              </a:buClr>
              <a:buSzPct val="130000"/>
              <a:buFont typeface="Wingdings" pitchFamily="2" charset="2"/>
              <a:buChar char="v"/>
              <a:tabLst/>
              <a:defRPr/>
            </a:lvl2pPr>
            <a:lvl3pPr marL="914400" indent="0">
              <a:lnSpc>
                <a:spcPct val="100000"/>
              </a:lnSpc>
              <a:spcBef>
                <a:spcPts val="0"/>
              </a:spcBef>
              <a:buFontTx/>
              <a:buNone/>
              <a:defRPr sz="1600"/>
            </a:lvl3pPr>
          </a:lstStyle>
          <a:p>
            <a:r>
              <a:rPr lang="en-GB" b="1" i="1" kern="100" dirty="0">
                <a:solidFill>
                  <a:srgbClr val="000000"/>
                </a:solidFill>
                <a:latin typeface="+mj-lt"/>
              </a:rPr>
              <a:t>Chart Title (Calibri, </a:t>
            </a:r>
            <a:r>
              <a:rPr lang="en-GB" b="1" i="1" kern="100" dirty="0" err="1">
                <a:solidFill>
                  <a:srgbClr val="000000"/>
                </a:solidFill>
                <a:latin typeface="+mj-lt"/>
              </a:rPr>
              <a:t>Bold+Italic</a:t>
            </a:r>
            <a:r>
              <a:rPr lang="en-GB" b="1" i="1" kern="100" dirty="0">
                <a:solidFill>
                  <a:srgbClr val="000000"/>
                </a:solidFill>
                <a:latin typeface="+mj-lt"/>
              </a:rPr>
              <a:t>, 22, black)</a:t>
            </a:r>
          </a:p>
        </p:txBody>
      </p:sp>
      <p:sp>
        <p:nvSpPr>
          <p:cNvPr id="8" name="PowerPlusWaterMarkObject357831064"/>
          <p:cNvSpPr>
            <a:spLocks noChangeArrowheads="1" noChangeShapeType="1" noTextEdit="1"/>
          </p:cNvSpPr>
          <p:nvPr userDrawn="1"/>
        </p:nvSpPr>
        <p:spPr bwMode="auto">
          <a:xfrm rot="18900000">
            <a:off x="3323361" y="2133516"/>
            <a:ext cx="5820731" cy="224036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rtl="0">
              <a:buNone/>
            </a:pPr>
            <a:r>
              <a:rPr lang="en-US" sz="100" b="0" spc="0" dirty="0">
                <a:ln>
                  <a:noFill/>
                </a:ln>
                <a:solidFill>
                  <a:srgbClr val="C0C0C0">
                    <a:alpha val="50000"/>
                  </a:srgbClr>
                </a:solidFill>
                <a:latin typeface="Arial" pitchFamily="34" charset="0"/>
                <a:cs typeface="Arial" pitchFamily="34" charset="0"/>
              </a:rPr>
              <a:t>DRAFT</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24876768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14" name="Titre 1"/>
          <p:cNvSpPr>
            <a:spLocks noGrp="1"/>
          </p:cNvSpPr>
          <p:nvPr>
            <p:ph type="title" hasCustomPrompt="1"/>
          </p:nvPr>
        </p:nvSpPr>
        <p:spPr>
          <a:xfrm>
            <a:off x="609600" y="259200"/>
            <a:ext cx="11040000" cy="540000"/>
          </a:xfrm>
          <a:prstGeom prst="rect">
            <a:avLst/>
          </a:prstGeom>
        </p:spPr>
        <p:txBody>
          <a:bodyPr>
            <a:noAutofit/>
          </a:bodyPr>
          <a:lstStyle>
            <a:lvl1pPr>
              <a:defRPr sz="3200" b="1" baseline="0">
                <a:solidFill>
                  <a:schemeClr val="tx1"/>
                </a:solidFill>
                <a:latin typeface="Calibri" pitchFamily="34" charset="0"/>
                <a:cs typeface="Arial" pitchFamily="34" charset="0"/>
              </a:defRPr>
            </a:lvl1pPr>
          </a:lstStyle>
          <a:p>
            <a:r>
              <a:rPr lang="en-GB" noProof="0"/>
              <a:t>Title</a:t>
            </a:r>
          </a:p>
        </p:txBody>
      </p:sp>
      <p:sp>
        <p:nvSpPr>
          <p:cNvPr id="15" name="Espace réservé du numéro de diapositive 5"/>
          <p:cNvSpPr>
            <a:spLocks noGrp="1"/>
          </p:cNvSpPr>
          <p:nvPr>
            <p:ph type="sldNum" sz="quarter" idx="13"/>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3" name="Table Placeholder 2"/>
          <p:cNvSpPr>
            <a:spLocks noGrp="1"/>
          </p:cNvSpPr>
          <p:nvPr>
            <p:ph type="tbl" sz="quarter" idx="14"/>
          </p:nvPr>
        </p:nvSpPr>
        <p:spPr>
          <a:xfrm>
            <a:off x="623392" y="884904"/>
            <a:ext cx="11041227" cy="5064376"/>
          </a:xfrm>
          <a:prstGeom prst="rect">
            <a:avLst/>
          </a:prstGeom>
        </p:spPr>
        <p:txBody>
          <a:bodyPr/>
          <a:lstStyle>
            <a:lvl1pPr marL="0" indent="0" algn="ctr">
              <a:buNone/>
              <a:defRPr sz="1800"/>
            </a:lvl1pPr>
          </a:lstStyle>
          <a:p>
            <a:r>
              <a:rPr lang="en-US"/>
              <a:t>Click icon to add table</a:t>
            </a:r>
            <a:endParaRPr lang="en-GB"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253693060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DRAF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14" name="Titre 1"/>
          <p:cNvSpPr>
            <a:spLocks noGrp="1"/>
          </p:cNvSpPr>
          <p:nvPr>
            <p:ph type="title" hasCustomPrompt="1"/>
          </p:nvPr>
        </p:nvSpPr>
        <p:spPr>
          <a:xfrm>
            <a:off x="609600" y="259200"/>
            <a:ext cx="11040000" cy="540000"/>
          </a:xfrm>
          <a:prstGeom prst="rect">
            <a:avLst/>
          </a:prstGeom>
        </p:spPr>
        <p:txBody>
          <a:bodyPr>
            <a:noAutofit/>
          </a:bodyPr>
          <a:lstStyle>
            <a:lvl1pPr>
              <a:defRPr sz="3200" b="1" baseline="0">
                <a:solidFill>
                  <a:schemeClr val="tx1"/>
                </a:solidFill>
                <a:latin typeface="Calibri" pitchFamily="34" charset="0"/>
                <a:cs typeface="Arial" pitchFamily="34" charset="0"/>
              </a:defRPr>
            </a:lvl1pPr>
          </a:lstStyle>
          <a:p>
            <a:r>
              <a:rPr lang="en-GB" noProof="0"/>
              <a:t>Title</a:t>
            </a:r>
          </a:p>
        </p:txBody>
      </p:sp>
      <p:sp>
        <p:nvSpPr>
          <p:cNvPr id="15" name="Espace réservé du numéro de diapositive 5"/>
          <p:cNvSpPr>
            <a:spLocks noGrp="1"/>
          </p:cNvSpPr>
          <p:nvPr>
            <p:ph type="sldNum" sz="quarter" idx="13"/>
          </p:nvPr>
        </p:nvSpPr>
        <p:spPr>
          <a:xfrm>
            <a:off x="11088555" y="6356351"/>
            <a:ext cx="493845" cy="274660"/>
          </a:xfrm>
          <a:prstGeom prst="rect">
            <a:avLst/>
          </a:prstGeom>
        </p:spPr>
        <p:txBody>
          <a:bodyPr vert="horz" wrap="square" lIns="91440" tIns="45720" rIns="91440" bIns="45720" numCol="1" anchor="t" anchorCtr="0" compatLnSpc="1">
            <a:prstTxWarp prst="textNoShape">
              <a:avLst/>
            </a:prstTxWarp>
          </a:bodyPr>
          <a:lstStyle>
            <a:lvl1pPr algn="r">
              <a:defRPr sz="1000" baseline="0" smtClean="0">
                <a:solidFill>
                  <a:srgbClr val="666666"/>
                </a:solidFill>
                <a:latin typeface="Calibri" pitchFamily="34" charset="0"/>
                <a:cs typeface="Arial" charset="0"/>
              </a:defRPr>
            </a:lvl1pPr>
          </a:lstStyle>
          <a:p>
            <a:pPr>
              <a:defRPr/>
            </a:pPr>
            <a:fld id="{24FF306C-35F5-4766-9A74-51BF551DA927}" type="slidenum">
              <a:rPr lang="en-GB" noProof="0" smtClean="0"/>
              <a:pPr>
                <a:defRPr/>
              </a:pPr>
              <a:t>‹#›</a:t>
            </a:fld>
            <a:endParaRPr lang="en-GB" noProof="0" dirty="0"/>
          </a:p>
        </p:txBody>
      </p:sp>
      <p:sp>
        <p:nvSpPr>
          <p:cNvPr id="3" name="Table Placeholder 2"/>
          <p:cNvSpPr>
            <a:spLocks noGrp="1"/>
          </p:cNvSpPr>
          <p:nvPr>
            <p:ph type="tbl" sz="quarter" idx="14"/>
          </p:nvPr>
        </p:nvSpPr>
        <p:spPr>
          <a:xfrm>
            <a:off x="623392" y="884904"/>
            <a:ext cx="11041227" cy="5064376"/>
          </a:xfrm>
          <a:prstGeom prst="rect">
            <a:avLst/>
          </a:prstGeom>
        </p:spPr>
        <p:txBody>
          <a:bodyPr/>
          <a:lstStyle>
            <a:lvl1pPr marL="0" indent="0" algn="ctr">
              <a:buNone/>
              <a:defRPr sz="1800"/>
            </a:lvl1pPr>
          </a:lstStyle>
          <a:p>
            <a:r>
              <a:rPr lang="en-US"/>
              <a:t>Click icon to add table</a:t>
            </a:r>
            <a:endParaRPr lang="en-GB" dirty="0"/>
          </a:p>
        </p:txBody>
      </p:sp>
      <p:sp>
        <p:nvSpPr>
          <p:cNvPr id="8" name="PowerPlusWaterMarkObject357831064"/>
          <p:cNvSpPr>
            <a:spLocks noChangeArrowheads="1" noChangeShapeType="1" noTextEdit="1"/>
          </p:cNvSpPr>
          <p:nvPr userDrawn="1"/>
        </p:nvSpPr>
        <p:spPr bwMode="auto">
          <a:xfrm rot="18900000">
            <a:off x="3323361" y="2133516"/>
            <a:ext cx="5820731" cy="2240363"/>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rtl="0">
              <a:buNone/>
            </a:pPr>
            <a:r>
              <a:rPr lang="en-US" sz="100" b="0" spc="0" dirty="0">
                <a:ln>
                  <a:noFill/>
                </a:ln>
                <a:solidFill>
                  <a:srgbClr val="C0C0C0">
                    <a:alpha val="50000"/>
                  </a:srgbClr>
                </a:solidFill>
                <a:latin typeface="Arial" pitchFamily="34" charset="0"/>
                <a:cs typeface="Arial" pitchFamily="34" charset="0"/>
              </a:rPr>
              <a:t>DRAFT</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1905" y="6063555"/>
            <a:ext cx="1275871" cy="616732"/>
          </a:xfrm>
          <a:prstGeom prst="rect">
            <a:avLst/>
          </a:prstGeom>
        </p:spPr>
      </p:pic>
    </p:spTree>
    <p:extLst>
      <p:ext uri="{BB962C8B-B14F-4D97-AF65-F5344CB8AC3E}">
        <p14:creationId xmlns:p14="http://schemas.microsoft.com/office/powerpoint/2010/main" val="2793489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nd of presentatio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14440" y="865457"/>
            <a:ext cx="6349912" cy="4915424"/>
          </a:xfrm>
          <a:prstGeom prst="rect">
            <a:avLst/>
          </a:prstGeom>
        </p:spPr>
      </p:pic>
      <p:sp>
        <p:nvSpPr>
          <p:cNvPr id="3" name="Titre 1"/>
          <p:cNvSpPr>
            <a:spLocks noGrp="1"/>
          </p:cNvSpPr>
          <p:nvPr>
            <p:ph type="title" hasCustomPrompt="1"/>
          </p:nvPr>
        </p:nvSpPr>
        <p:spPr>
          <a:xfrm>
            <a:off x="3023659" y="4149080"/>
            <a:ext cx="6240693" cy="432049"/>
          </a:xfrm>
          <a:prstGeom prst="rect">
            <a:avLst/>
          </a:prstGeom>
        </p:spPr>
        <p:txBody>
          <a:bodyPr>
            <a:noAutofit/>
          </a:bodyPr>
          <a:lstStyle>
            <a:lvl1pPr algn="l">
              <a:defRPr sz="1200" b="0" baseline="0">
                <a:solidFill>
                  <a:srgbClr val="000000"/>
                </a:solidFill>
                <a:latin typeface="Calibri" pitchFamily="34" charset="0"/>
                <a:cs typeface="Arial" pitchFamily="34" charset="0"/>
              </a:defRPr>
            </a:lvl1pPr>
          </a:lstStyle>
          <a:p>
            <a:r>
              <a:rPr lang="en-GB" sz="1200" dirty="0"/>
              <a:t>XY</a:t>
            </a:r>
            <a:br>
              <a:rPr lang="en-GB" sz="1200" dirty="0"/>
            </a:br>
            <a:r>
              <a:rPr lang="en-GB" sz="1200" dirty="0"/>
              <a:t>&lt;Position&gt;</a:t>
            </a:r>
            <a:endParaRPr lang="en-GB" noProof="0" dirty="0"/>
          </a:p>
        </p:txBody>
      </p:sp>
      <p:sp>
        <p:nvSpPr>
          <p:cNvPr id="5" name="Titre 1"/>
          <p:cNvSpPr txBox="1">
            <a:spLocks/>
          </p:cNvSpPr>
          <p:nvPr userDrawn="1"/>
        </p:nvSpPr>
        <p:spPr>
          <a:xfrm>
            <a:off x="624619" y="2348880"/>
            <a:ext cx="11040000" cy="540000"/>
          </a:xfrm>
          <a:prstGeom prst="rect">
            <a:avLst/>
          </a:prstGeom>
        </p:spPr>
        <p:txBody>
          <a:bodyPr>
            <a:noAutofit/>
          </a:bodyPr>
          <a:lstStyle>
            <a:lvl1pPr algn="ctr" rtl="0" eaLnBrk="0" fontAlgn="base" hangingPunct="0">
              <a:spcBef>
                <a:spcPct val="0"/>
              </a:spcBef>
              <a:spcAft>
                <a:spcPct val="0"/>
              </a:spcAft>
              <a:defRPr sz="3200" b="1" kern="1200" baseline="0">
                <a:solidFill>
                  <a:schemeClr val="tx1"/>
                </a:solidFill>
                <a:latin typeface="Calibri" pitchFamily="34" charset="0"/>
                <a:ea typeface="ＭＳ Ｐゴシック" charset="-128"/>
                <a:cs typeface="Arial" pitchFamily="34"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GB" sz="3200" dirty="0"/>
              <a:t>Thank You for Your Attention</a:t>
            </a:r>
          </a:p>
        </p:txBody>
      </p:sp>
      <p:sp>
        <p:nvSpPr>
          <p:cNvPr id="7" name="Titre 1"/>
          <p:cNvSpPr txBox="1">
            <a:spLocks/>
          </p:cNvSpPr>
          <p:nvPr userDrawn="1"/>
        </p:nvSpPr>
        <p:spPr>
          <a:xfrm>
            <a:off x="3023659" y="4581128"/>
            <a:ext cx="6240693" cy="540000"/>
          </a:xfrm>
          <a:prstGeom prst="rect">
            <a:avLst/>
          </a:prstGeom>
        </p:spPr>
        <p:txBody>
          <a:bodyPr>
            <a:noAutofit/>
          </a:bodyPr>
          <a:lstStyle>
            <a:lvl1pPr algn="ctr" rtl="0" eaLnBrk="0" fontAlgn="base" hangingPunct="0">
              <a:spcBef>
                <a:spcPct val="0"/>
              </a:spcBef>
              <a:spcAft>
                <a:spcPct val="0"/>
              </a:spcAft>
              <a:defRPr sz="3200" b="1" kern="1200" baseline="0">
                <a:solidFill>
                  <a:schemeClr val="tx1"/>
                </a:solidFill>
                <a:latin typeface="Calibri" pitchFamily="34" charset="0"/>
                <a:ea typeface="ＭＳ Ｐゴシック" charset="-128"/>
                <a:cs typeface="Arial" pitchFamily="34"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GB" sz="1200" b="0" kern="1200" baseline="0" dirty="0">
                <a:solidFill>
                  <a:srgbClr val="000000"/>
                </a:solidFill>
                <a:latin typeface="Calibri" pitchFamily="34" charset="0"/>
                <a:ea typeface="ＭＳ Ｐゴシック" charset="-128"/>
                <a:cs typeface="Arial" pitchFamily="34" charset="0"/>
              </a:rPr>
              <a:t>ENTSOG -- European Network of Transmission System Operators for Gas</a:t>
            </a:r>
            <a:br>
              <a:rPr lang="en-GB" sz="1200" b="0" kern="1200" baseline="0" dirty="0">
                <a:solidFill>
                  <a:srgbClr val="000000"/>
                </a:solidFill>
                <a:latin typeface="Calibri" pitchFamily="34" charset="0"/>
                <a:ea typeface="ＭＳ Ｐゴシック" charset="-128"/>
                <a:cs typeface="Arial" pitchFamily="34" charset="0"/>
              </a:rPr>
            </a:br>
            <a:r>
              <a:rPr lang="en-GB" sz="1200" b="0" kern="1200" baseline="0" dirty="0">
                <a:solidFill>
                  <a:srgbClr val="000000"/>
                </a:solidFill>
                <a:latin typeface="Calibri" pitchFamily="34" charset="0"/>
                <a:ea typeface="ＭＳ Ｐゴシック" charset="-128"/>
                <a:cs typeface="Arial" pitchFamily="34" charset="0"/>
              </a:rPr>
              <a:t>Avenue de </a:t>
            </a:r>
            <a:r>
              <a:rPr lang="en-GB" sz="1200" b="0" kern="1200" baseline="0" dirty="0" err="1">
                <a:solidFill>
                  <a:srgbClr val="000000"/>
                </a:solidFill>
                <a:latin typeface="Calibri" pitchFamily="34" charset="0"/>
                <a:ea typeface="ＭＳ Ｐゴシック" charset="-128"/>
                <a:cs typeface="Arial" pitchFamily="34" charset="0"/>
              </a:rPr>
              <a:t>Cortenbergh</a:t>
            </a:r>
            <a:r>
              <a:rPr lang="en-GB" sz="1200" b="0" kern="1200" baseline="0" dirty="0">
                <a:solidFill>
                  <a:srgbClr val="000000"/>
                </a:solidFill>
                <a:latin typeface="Calibri" pitchFamily="34" charset="0"/>
                <a:ea typeface="ＭＳ Ｐゴシック" charset="-128"/>
                <a:cs typeface="Arial" pitchFamily="34" charset="0"/>
              </a:rPr>
              <a:t> 100, B-1000 Brussels</a:t>
            </a:r>
          </a:p>
        </p:txBody>
      </p:sp>
      <p:sp>
        <p:nvSpPr>
          <p:cNvPr id="8" name="Titre 1"/>
          <p:cNvSpPr txBox="1">
            <a:spLocks/>
          </p:cNvSpPr>
          <p:nvPr userDrawn="1"/>
        </p:nvSpPr>
        <p:spPr>
          <a:xfrm>
            <a:off x="3023659" y="5193256"/>
            <a:ext cx="6240693" cy="540000"/>
          </a:xfrm>
          <a:prstGeom prst="rect">
            <a:avLst/>
          </a:prstGeom>
        </p:spPr>
        <p:txBody>
          <a:bodyPr>
            <a:noAutofit/>
          </a:bodyPr>
          <a:lstStyle>
            <a:lvl1pPr algn="ctr" rtl="0" eaLnBrk="0" fontAlgn="base" hangingPunct="0">
              <a:spcBef>
                <a:spcPct val="0"/>
              </a:spcBef>
              <a:spcAft>
                <a:spcPct val="0"/>
              </a:spcAft>
              <a:defRPr sz="3200" b="1" kern="1200" baseline="0">
                <a:solidFill>
                  <a:schemeClr val="tx1"/>
                </a:solidFill>
                <a:latin typeface="Calibri" pitchFamily="34" charset="0"/>
                <a:ea typeface="ＭＳ Ｐゴシック" charset="-128"/>
                <a:cs typeface="Arial" pitchFamily="34" charset="0"/>
              </a:defRPr>
            </a:lvl1pPr>
            <a:lvl2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GB" sz="1200" b="0" kern="1200" baseline="0" dirty="0">
                <a:solidFill>
                  <a:srgbClr val="000000"/>
                </a:solidFill>
                <a:latin typeface="Calibri" pitchFamily="34" charset="0"/>
                <a:ea typeface="ＭＳ Ｐゴシック" charset="-128"/>
                <a:cs typeface="Arial" pitchFamily="34" charset="0"/>
              </a:rPr>
              <a:t>EML:</a:t>
            </a:r>
          </a:p>
          <a:p>
            <a:pPr algn="l"/>
            <a:r>
              <a:rPr lang="de-DE" sz="1200" b="0" kern="1200" baseline="0" dirty="0">
                <a:solidFill>
                  <a:srgbClr val="000000"/>
                </a:solidFill>
                <a:latin typeface="Calibri" pitchFamily="34" charset="0"/>
                <a:ea typeface="ＭＳ Ｐゴシック" charset="-128"/>
                <a:cs typeface="Arial" pitchFamily="34" charset="0"/>
              </a:rPr>
              <a:t>WWW: </a:t>
            </a:r>
            <a:r>
              <a:rPr lang="de-DE" sz="1200" b="0" u="sng" kern="1200" baseline="0" dirty="0">
                <a:solidFill>
                  <a:schemeClr val="tx1"/>
                </a:solidFill>
                <a:latin typeface="Calibri" pitchFamily="34" charset="0"/>
                <a:ea typeface="ＭＳ Ｐゴシック" charset="-128"/>
                <a:cs typeface="Arial" pitchFamily="34" charset="0"/>
              </a:rPr>
              <a:t>www.entsog.eu</a:t>
            </a:r>
            <a:endParaRPr lang="en-GB" sz="1200" b="0" u="sng" kern="1200" baseline="0" dirty="0">
              <a:solidFill>
                <a:schemeClr val="tx1"/>
              </a:solidFill>
              <a:latin typeface="Calibri" pitchFamily="34" charset="0"/>
              <a:ea typeface="ＭＳ Ｐゴシック" charset="-128"/>
              <a:cs typeface="Arial" pitchFamily="34" charset="0"/>
            </a:endParaRPr>
          </a:p>
        </p:txBody>
      </p:sp>
      <p:sp>
        <p:nvSpPr>
          <p:cNvPr id="13" name="Text Placeholder 12"/>
          <p:cNvSpPr>
            <a:spLocks noGrp="1"/>
          </p:cNvSpPr>
          <p:nvPr>
            <p:ph type="body" sz="quarter" idx="10" hasCustomPrompt="1"/>
          </p:nvPr>
        </p:nvSpPr>
        <p:spPr>
          <a:xfrm>
            <a:off x="3657633" y="5185768"/>
            <a:ext cx="1536072" cy="287933"/>
          </a:xfrm>
          <a:prstGeom prst="rect">
            <a:avLst/>
          </a:prstGeom>
        </p:spPr>
        <p:txBody>
          <a:bodyPr/>
          <a:lstStyle>
            <a:lvl1pPr marL="0" indent="0">
              <a:buNone/>
              <a:defRPr sz="1200" u="sng"/>
            </a:lvl1pPr>
            <a:lvl2pPr>
              <a:defRPr sz="1200"/>
            </a:lvl2pPr>
            <a:lvl3pPr>
              <a:defRPr sz="1200"/>
            </a:lvl3pPr>
            <a:lvl4pPr>
              <a:defRPr sz="1200"/>
            </a:lvl4pPr>
            <a:lvl5pPr>
              <a:defRPr sz="1200"/>
            </a:lvl5pPr>
          </a:lstStyle>
          <a:p>
            <a:pPr lvl="0"/>
            <a:r>
              <a:rPr lang="en-GB" noProof="0"/>
              <a:t>x.y@entsog.eu</a:t>
            </a:r>
          </a:p>
        </p:txBody>
      </p:sp>
    </p:spTree>
    <p:extLst>
      <p:ext uri="{BB962C8B-B14F-4D97-AF65-F5344CB8AC3E}">
        <p14:creationId xmlns:p14="http://schemas.microsoft.com/office/powerpoint/2010/main" val="36262194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623F114-7123-4DF2-8DD7-E20EECFDEFFF}"/>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6" name="think-cell Slide" r:id="rId5" imgW="521" imgH="520" progId="TCLayout.ActiveDocument.1">
                  <p:embed/>
                </p:oleObj>
              </mc:Choice>
              <mc:Fallback>
                <p:oleObj name="think-cell Slide" r:id="rId5" imgW="521" imgH="520" progId="TCLayout.ActiveDocument.1">
                  <p:embed/>
                  <p:pic>
                    <p:nvPicPr>
                      <p:cNvPr id="8" name="Objekt 7" hidden="1">
                        <a:extLst>
                          <a:ext uri="{FF2B5EF4-FFF2-40B4-BE49-F238E27FC236}">
                            <a16:creationId xmlns:a16="http://schemas.microsoft.com/office/drawing/2014/main" id="{0623F114-7123-4DF2-8DD7-E20EECFDEF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A8D3AFED-CD31-4847-9639-9A29ABEED0E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800" b="0" i="0" baseline="0" noProof="0" dirty="0">
              <a:latin typeface="Calibri Light" panose="020F0302020204030204" pitchFamily="34" charset="0"/>
              <a:ea typeface="+mj-ea"/>
              <a:cs typeface="+mj-cs"/>
              <a:sym typeface="Calibri Light" panose="020F0302020204030204" pitchFamily="34" charset="0"/>
            </a:endParaRPr>
          </a:p>
        </p:txBody>
      </p:sp>
      <p:pic>
        <p:nvPicPr>
          <p:cNvPr id="13" name="Supergrafik"/>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4942999" cy="4781006"/>
          </a:xfrm>
          <a:prstGeom prst="rect">
            <a:avLst/>
          </a:prstGeom>
        </p:spPr>
      </p:pic>
      <p:sp>
        <p:nvSpPr>
          <p:cNvPr id="2" name="Title 1"/>
          <p:cNvSpPr>
            <a:spLocks noGrp="1"/>
          </p:cNvSpPr>
          <p:nvPr>
            <p:ph type="ctrTitle" hasCustomPrompt="1"/>
          </p:nvPr>
        </p:nvSpPr>
        <p:spPr>
          <a:xfrm>
            <a:off x="3996267" y="1575836"/>
            <a:ext cx="7823522" cy="1846264"/>
          </a:xfrm>
        </p:spPr>
        <p:txBody>
          <a:bodyPr anchor="b"/>
          <a:lstStyle>
            <a:lvl1pPr algn="l">
              <a:spcBef>
                <a:spcPts val="400"/>
              </a:spcBef>
              <a:defRPr sz="4800" baseline="0">
                <a:solidFill>
                  <a:schemeClr val="accent2"/>
                </a:solidFill>
              </a:defRPr>
            </a:lvl1pPr>
          </a:lstStyle>
          <a:p>
            <a:r>
              <a:rPr lang="en-US"/>
              <a:t>Indsæt overskrift</a:t>
            </a:r>
            <a:endParaRPr lang="en-US" dirty="0"/>
          </a:p>
        </p:txBody>
      </p:sp>
      <p:sp>
        <p:nvSpPr>
          <p:cNvPr id="3" name="Subtitle 2"/>
          <p:cNvSpPr>
            <a:spLocks noGrp="1"/>
          </p:cNvSpPr>
          <p:nvPr>
            <p:ph type="subTitle" idx="1" hasCustomPrompt="1"/>
          </p:nvPr>
        </p:nvSpPr>
        <p:spPr>
          <a:xfrm>
            <a:off x="3996267" y="3680864"/>
            <a:ext cx="7823522" cy="524933"/>
          </a:xfrm>
        </p:spPr>
        <p:txBody>
          <a:bodyPr/>
          <a:lstStyle>
            <a:lvl1pPr marL="0" indent="0" algn="l">
              <a:lnSpc>
                <a:spcPct val="83000"/>
              </a:lnSpc>
              <a:spcBef>
                <a:spcPts val="400"/>
              </a:spcBef>
              <a:buFont typeface="Arial" panose="020B0604020202020204" pitchFamily="34" charset="0"/>
              <a:buNone/>
              <a:defRPr sz="3300">
                <a:solidFill>
                  <a:schemeClr val="accent1"/>
                </a:solidFill>
              </a:defRPr>
            </a:lvl1pPr>
            <a:lvl2pPr marL="0" indent="0" algn="l">
              <a:lnSpc>
                <a:spcPct val="83000"/>
              </a:lnSpc>
              <a:spcBef>
                <a:spcPts val="400"/>
              </a:spcBef>
              <a:buFont typeface="Arial" panose="020B0604020202020204" pitchFamily="34" charset="0"/>
              <a:buChar char="​"/>
              <a:defRPr sz="3300">
                <a:solidFill>
                  <a:schemeClr val="accent1"/>
                </a:solidFill>
              </a:defRPr>
            </a:lvl2pPr>
            <a:lvl3pPr marL="0" indent="0" algn="l">
              <a:lnSpc>
                <a:spcPct val="83000"/>
              </a:lnSpc>
              <a:spcBef>
                <a:spcPts val="400"/>
              </a:spcBef>
              <a:buFont typeface="Arial" panose="020B0604020202020204" pitchFamily="34" charset="0"/>
              <a:buChar char="​"/>
              <a:defRPr sz="3300">
                <a:solidFill>
                  <a:schemeClr val="accent1"/>
                </a:solidFill>
              </a:defRPr>
            </a:lvl3pPr>
            <a:lvl4pPr marL="0" indent="0" algn="l">
              <a:lnSpc>
                <a:spcPct val="83000"/>
              </a:lnSpc>
              <a:spcBef>
                <a:spcPts val="400"/>
              </a:spcBef>
              <a:buFont typeface="Arial" panose="020B0604020202020204" pitchFamily="34" charset="0"/>
              <a:buChar char="​"/>
              <a:defRPr sz="3300">
                <a:solidFill>
                  <a:schemeClr val="accent1"/>
                </a:solidFill>
              </a:defRPr>
            </a:lvl4pPr>
            <a:lvl5pPr marL="0" indent="0" algn="l">
              <a:lnSpc>
                <a:spcPct val="83000"/>
              </a:lnSpc>
              <a:spcBef>
                <a:spcPts val="400"/>
              </a:spcBef>
              <a:buFont typeface="Arial" panose="020B0604020202020204" pitchFamily="34" charset="0"/>
              <a:buChar char="​"/>
              <a:defRPr sz="3300">
                <a:solidFill>
                  <a:schemeClr val="accent1"/>
                </a:solidFill>
              </a:defRPr>
            </a:lvl5pPr>
            <a:lvl6pPr marL="0" indent="0" algn="l">
              <a:lnSpc>
                <a:spcPct val="83000"/>
              </a:lnSpc>
              <a:spcBef>
                <a:spcPts val="400"/>
              </a:spcBef>
              <a:buFont typeface="Arial" panose="020B0604020202020204" pitchFamily="34" charset="0"/>
              <a:buChar char="​"/>
              <a:defRPr sz="3300">
                <a:solidFill>
                  <a:schemeClr val="accent1"/>
                </a:solidFill>
              </a:defRPr>
            </a:lvl6pPr>
            <a:lvl7pPr marL="0" indent="0" algn="l">
              <a:lnSpc>
                <a:spcPct val="83000"/>
              </a:lnSpc>
              <a:spcBef>
                <a:spcPts val="400"/>
              </a:spcBef>
              <a:buFont typeface="Arial" panose="020B0604020202020204" pitchFamily="34" charset="0"/>
              <a:buChar char="​"/>
              <a:defRPr sz="3300">
                <a:solidFill>
                  <a:schemeClr val="accent1"/>
                </a:solidFill>
              </a:defRPr>
            </a:lvl7pPr>
            <a:lvl8pPr marL="0" indent="0" algn="l">
              <a:lnSpc>
                <a:spcPct val="83000"/>
              </a:lnSpc>
              <a:spcBef>
                <a:spcPts val="400"/>
              </a:spcBef>
              <a:buFont typeface="Arial" panose="020B0604020202020204" pitchFamily="34" charset="0"/>
              <a:buChar char="​"/>
              <a:defRPr sz="3300">
                <a:solidFill>
                  <a:schemeClr val="accent1"/>
                </a:solidFill>
              </a:defRPr>
            </a:lvl8pPr>
            <a:lvl9pPr marL="0" indent="0" algn="l">
              <a:lnSpc>
                <a:spcPct val="83000"/>
              </a:lnSpc>
              <a:spcBef>
                <a:spcPts val="400"/>
              </a:spcBef>
              <a:buFont typeface="Arial" panose="020B0604020202020204" pitchFamily="34" charset="0"/>
              <a:buChar char="​"/>
              <a:defRPr sz="3300">
                <a:solidFill>
                  <a:schemeClr val="accent1"/>
                </a:solidFill>
              </a:defRPr>
            </a:lvl9pPr>
          </a:lstStyle>
          <a:p>
            <a:r>
              <a:rPr lang="en-US"/>
              <a:t>Indsæt underoverskrift</a:t>
            </a:r>
            <a:endParaRPr lang="en-US" dirty="0"/>
          </a:p>
        </p:txBody>
      </p:sp>
      <p:sp>
        <p:nvSpPr>
          <p:cNvPr id="4" name="Date_DateCustomA"/>
          <p:cNvSpPr>
            <a:spLocks noGrp="1"/>
          </p:cNvSpPr>
          <p:nvPr>
            <p:ph type="dt" sz="half" idx="10"/>
          </p:nvPr>
        </p:nvSpPr>
        <p:spPr/>
        <p:txBody>
          <a:bodyPr/>
          <a:lstStyle/>
          <a:p>
            <a:r>
              <a:rPr lang="da-DK"/>
              <a:t>May 2019</a:t>
            </a:r>
            <a:endParaRPr lang="en-US" dirty="0"/>
          </a:p>
        </p:txBody>
      </p:sp>
      <p:sp>
        <p:nvSpPr>
          <p:cNvPr id="5" name="FLD_PresentationTitle"/>
          <p:cNvSpPr>
            <a:spLocks noGrp="1"/>
          </p:cNvSpPr>
          <p:nvPr>
            <p:ph type="ftr" sz="quarter" idx="11"/>
          </p:nvPr>
        </p:nvSpPr>
        <p:spPr/>
        <p:txBody>
          <a:bodyPr/>
          <a:lstStyle/>
          <a:p>
            <a:r>
              <a:rPr lang="en-US"/>
              <a:t>GIE meeting</a:t>
            </a:r>
            <a:endParaRPr lang="en-US" dirty="0"/>
          </a:p>
        </p:txBody>
      </p:sp>
      <p:sp>
        <p:nvSpPr>
          <p:cNvPr id="6" name="Slide Number Placeholder 5"/>
          <p:cNvSpPr>
            <a:spLocks noGrp="1"/>
          </p:cNvSpPr>
          <p:nvPr>
            <p:ph type="sldNum" sz="quarter" idx="12"/>
          </p:nvPr>
        </p:nvSpPr>
        <p:spPr/>
        <p:txBody>
          <a:bodyPr/>
          <a:lstStyle/>
          <a:p>
            <a:fld id="{24C8C45C-947F-4981-8B3F-4F32E973C901}" type="slidenum">
              <a:rPr lang="en-US" smtClean="0"/>
              <a:t>‹#›</a:t>
            </a:fld>
            <a:endParaRPr lang="en-US" dirty="0"/>
          </a:p>
        </p:txBody>
      </p:sp>
      <p:sp>
        <p:nvSpPr>
          <p:cNvPr id="9" name="Text Placeholder 8"/>
          <p:cNvSpPr>
            <a:spLocks noGrp="1"/>
          </p:cNvSpPr>
          <p:nvPr>
            <p:ph type="body" sz="quarter" idx="13" hasCustomPrompt="1"/>
          </p:nvPr>
        </p:nvSpPr>
        <p:spPr>
          <a:xfrm>
            <a:off x="3995737" y="4349729"/>
            <a:ext cx="7824075" cy="458788"/>
          </a:xfrm>
        </p:spPr>
        <p:txBody>
          <a:bodyPr/>
          <a:lstStyle>
            <a:lvl1pPr marL="0" indent="0">
              <a:spcBef>
                <a:spcPts val="0"/>
              </a:spcBef>
              <a:buFont typeface="Arial" panose="020B0604020202020204" pitchFamily="34" charset="0"/>
              <a:buNone/>
              <a:defRPr sz="2400" i="1">
                <a:solidFill>
                  <a:schemeClr val="tx2">
                    <a:lumMod val="75000"/>
                  </a:schemeClr>
                </a:solidFill>
              </a:defRPr>
            </a:lvl1pPr>
            <a:lvl2pPr marL="0" indent="0">
              <a:spcBef>
                <a:spcPts val="600"/>
              </a:spcBef>
              <a:buFont typeface="Arial" panose="020B0604020202020204" pitchFamily="34" charset="0"/>
              <a:buChar char="​"/>
              <a:defRPr sz="2400"/>
            </a:lvl2pPr>
            <a:lvl3pPr marL="0" indent="0">
              <a:buFont typeface="Arial" panose="020B0604020202020204" pitchFamily="34" charset="0"/>
              <a:buChar char="​"/>
              <a:defRPr sz="2400"/>
            </a:lvl3pPr>
            <a:lvl4pPr marL="0" indent="0">
              <a:buFont typeface="Arial" panose="020B0604020202020204" pitchFamily="34" charset="0"/>
              <a:buChar char="​"/>
              <a:defRPr sz="2400"/>
            </a:lvl4pPr>
            <a:lvl5pPr marL="0" indent="0">
              <a:buFont typeface="Arial" panose="020B0604020202020204" pitchFamily="34" charset="0"/>
              <a:buChar char="​"/>
              <a:defRPr sz="2400"/>
            </a:lvl5pPr>
            <a:lvl6pPr marL="0" indent="0">
              <a:buFont typeface="Arial" panose="020B0604020202020204" pitchFamily="34" charset="0"/>
              <a:buChar char="​"/>
              <a:defRPr sz="2400"/>
            </a:lvl6pPr>
            <a:lvl7pPr marL="0" indent="0">
              <a:buFont typeface="Arial" panose="020B0604020202020204" pitchFamily="34" charset="0"/>
              <a:buChar char="​"/>
              <a:defRPr sz="2400"/>
            </a:lvl7pPr>
            <a:lvl8pPr marL="0" indent="0">
              <a:buFont typeface="Arial" panose="020B0604020202020204" pitchFamily="34" charset="0"/>
              <a:buChar char="​"/>
              <a:defRPr sz="2400"/>
            </a:lvl8pPr>
          </a:lstStyle>
          <a:p>
            <a:pPr lvl="0"/>
            <a:r>
              <a:rPr lang="en-US"/>
              <a:t>Indsæt navn og efternavn</a:t>
            </a:r>
            <a:endParaRPr lang="en-US" dirty="0"/>
          </a:p>
        </p:txBody>
      </p:sp>
    </p:spTree>
    <p:extLst>
      <p:ext uri="{BB962C8B-B14F-4D97-AF65-F5344CB8AC3E}">
        <p14:creationId xmlns:p14="http://schemas.microsoft.com/office/powerpoint/2010/main" val="34939976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ndho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16A7289-84D7-4A47-ABFD-1E37694852AF}"/>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0" name="think-cell Slide" r:id="rId5" imgW="521" imgH="520" progId="TCLayout.ActiveDocument.1">
                  <p:embed/>
                </p:oleObj>
              </mc:Choice>
              <mc:Fallback>
                <p:oleObj name="think-cell Slide" r:id="rId5" imgW="521" imgH="520" progId="TCLayout.ActiveDocument.1">
                  <p:embed/>
                  <p:pic>
                    <p:nvPicPr>
                      <p:cNvPr id="8" name="Objekt 7" hidden="1">
                        <a:extLst>
                          <a:ext uri="{FF2B5EF4-FFF2-40B4-BE49-F238E27FC236}">
                            <a16:creationId xmlns:a16="http://schemas.microsoft.com/office/drawing/2014/main" id="{E16A7289-84D7-4A47-ABFD-1E37694852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7763F5EF-F57F-4C3D-95C1-4458F3C7BE23}"/>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hasCustomPrompt="1"/>
          </p:nvPr>
        </p:nvSpPr>
        <p:spPr/>
        <p:txBody>
          <a:bodyPr/>
          <a:lstStyle>
            <a:lvl1pPr>
              <a:defRPr baseline="0"/>
            </a:lvl1pPr>
          </a:lstStyle>
          <a:p>
            <a:r>
              <a:rPr lang="en-US"/>
              <a:t>Indsæt overskrift</a:t>
            </a:r>
            <a:endParaRPr lang="en-US" dirty="0"/>
          </a:p>
        </p:txBody>
      </p:sp>
      <p:sp>
        <p:nvSpPr>
          <p:cNvPr id="3" name="Content Placeholder 2"/>
          <p:cNvSpPr>
            <a:spLocks noGrp="1"/>
          </p:cNvSpPr>
          <p:nvPr>
            <p:ph idx="1" hasCustomPrompt="1"/>
          </p:nvPr>
        </p:nvSpPr>
        <p:spPr>
          <a:xfrm>
            <a:off x="982664" y="2852738"/>
            <a:ext cx="10226674" cy="3303587"/>
          </a:xfrm>
        </p:spPr>
        <p:txBody>
          <a:bodyPr/>
          <a:lstStyle>
            <a:lvl1pPr>
              <a:defRPr/>
            </a:lvl1pPr>
          </a:lstStyle>
          <a:p>
            <a:pPr lvl="0"/>
            <a:r>
              <a:rPr lang="en-US"/>
              <a:t>Klik for at indsætte brødteks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_DateCustomA"/>
          <p:cNvSpPr>
            <a:spLocks noGrp="1"/>
          </p:cNvSpPr>
          <p:nvPr>
            <p:ph type="dt" sz="half" idx="10"/>
          </p:nvPr>
        </p:nvSpPr>
        <p:spPr/>
        <p:txBody>
          <a:bodyPr/>
          <a:lstStyle/>
          <a:p>
            <a:r>
              <a:rPr lang="da-DK"/>
              <a:t>May 2019</a:t>
            </a:r>
            <a:endParaRPr lang="en-US" dirty="0"/>
          </a:p>
        </p:txBody>
      </p:sp>
      <p:sp>
        <p:nvSpPr>
          <p:cNvPr id="5" name="FLD_PresentationTitle"/>
          <p:cNvSpPr>
            <a:spLocks noGrp="1"/>
          </p:cNvSpPr>
          <p:nvPr>
            <p:ph type="ftr" sz="quarter" idx="11"/>
          </p:nvPr>
        </p:nvSpPr>
        <p:spPr/>
        <p:txBody>
          <a:bodyPr/>
          <a:lstStyle/>
          <a:p>
            <a:r>
              <a:rPr lang="en-US"/>
              <a:t>GIE meeting</a:t>
            </a:r>
            <a:endParaRPr lang="en-US" dirty="0"/>
          </a:p>
        </p:txBody>
      </p:sp>
      <p:sp>
        <p:nvSpPr>
          <p:cNvPr id="6" name="Slide Number Placeholder 5"/>
          <p:cNvSpPr>
            <a:spLocks noGrp="1"/>
          </p:cNvSpPr>
          <p:nvPr>
            <p:ph type="sldNum" sz="quarter" idx="12"/>
          </p:nvPr>
        </p:nvSpPr>
        <p:spPr/>
        <p:txBody>
          <a:bodyPr/>
          <a:lstStyle/>
          <a:p>
            <a:fld id="{24C8C45C-947F-4981-8B3F-4F32E973C901}" type="slidenum">
              <a:rPr lang="en-US" smtClean="0"/>
              <a:t>‹#›</a:t>
            </a:fld>
            <a:endParaRPr lang="en-US" dirty="0"/>
          </a:p>
        </p:txBody>
      </p:sp>
      <p:sp>
        <p:nvSpPr>
          <p:cNvPr id="10" name="Pladsholder til tekst 9"/>
          <p:cNvSpPr>
            <a:spLocks noGrp="1"/>
          </p:cNvSpPr>
          <p:nvPr>
            <p:ph type="body" sz="quarter" idx="14" hasCustomPrompt="1"/>
          </p:nvPr>
        </p:nvSpPr>
        <p:spPr>
          <a:xfrm>
            <a:off x="982663" y="2024063"/>
            <a:ext cx="10214464" cy="720725"/>
          </a:xfrm>
        </p:spPr>
        <p:txBody>
          <a:bodyPr/>
          <a:lstStyle>
            <a:lvl1pPr>
              <a:defRPr sz="2200">
                <a:solidFill>
                  <a:schemeClr val="accent1"/>
                </a:solidFill>
              </a:defRPr>
            </a:lvl1pPr>
          </a:lstStyle>
          <a:p>
            <a:pPr lvl="0"/>
            <a:r>
              <a:rPr lang="en-US"/>
              <a:t>Indsæt underoverskrift eller indledning</a:t>
            </a:r>
            <a:endParaRPr lang="en-US" dirty="0"/>
          </a:p>
        </p:txBody>
      </p:sp>
    </p:spTree>
    <p:extLst>
      <p:ext uri="{BB962C8B-B14F-4D97-AF65-F5344CB8AC3E}">
        <p14:creationId xmlns:p14="http://schemas.microsoft.com/office/powerpoint/2010/main" val="15074386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genda slide GTE">
    <p:spTree>
      <p:nvGrpSpPr>
        <p:cNvPr id="1" name=""/>
        <p:cNvGrpSpPr/>
        <p:nvPr/>
      </p:nvGrpSpPr>
      <p:grpSpPr>
        <a:xfrm>
          <a:off x="0" y="0"/>
          <a:ext cx="0" cy="0"/>
          <a:chOff x="0" y="0"/>
          <a:chExt cx="0" cy="0"/>
        </a:xfrm>
      </p:grpSpPr>
      <p:pic>
        <p:nvPicPr>
          <p:cNvPr id="7" name="Picture 6" descr="A picture containing nature&#10;&#10;Description generated with high confidence">
            <a:extLst>
              <a:ext uri="{FF2B5EF4-FFF2-40B4-BE49-F238E27FC236}">
                <a16:creationId xmlns:a16="http://schemas.microsoft.com/office/drawing/2014/main" id="{E32BB3C6-8229-41C9-94DD-87B3DA949188}"/>
              </a:ext>
            </a:extLst>
          </p:cNvPr>
          <p:cNvPicPr>
            <a:picLocks noChangeAspect="1"/>
          </p:cNvPicPr>
          <p:nvPr userDrawn="1"/>
        </p:nvPicPr>
        <p:blipFill rotWithShape="1">
          <a:blip r:embed="rId2"/>
          <a:srcRect r="787" b="787"/>
          <a:stretch/>
        </p:blipFill>
        <p:spPr>
          <a:xfrm>
            <a:off x="0" y="0"/>
            <a:ext cx="12192000" cy="6858000"/>
          </a:xfrm>
          <a:prstGeom prst="rect">
            <a:avLst/>
          </a:prstGeom>
        </p:spPr>
      </p:pic>
      <p:pic>
        <p:nvPicPr>
          <p:cNvPr id="5" name="Picture 4">
            <a:extLst>
              <a:ext uri="{FF2B5EF4-FFF2-40B4-BE49-F238E27FC236}">
                <a16:creationId xmlns:a16="http://schemas.microsoft.com/office/drawing/2014/main" id="{B3F76E22-A3A4-47CA-9E7D-C877448F2CB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76497" y="4478215"/>
            <a:ext cx="4157595" cy="2092750"/>
          </a:xfrm>
          <a:prstGeom prst="rect">
            <a:avLst/>
          </a:prstGeom>
        </p:spPr>
      </p:pic>
    </p:spTree>
    <p:extLst>
      <p:ext uri="{BB962C8B-B14F-4D97-AF65-F5344CB8AC3E}">
        <p14:creationId xmlns:p14="http://schemas.microsoft.com/office/powerpoint/2010/main" val="3537783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FA3D712-6CBF-4AE4-A347-E937992DB1D4}"/>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4" name="think-cell Slide" r:id="rId5" imgW="521" imgH="520" progId="TCLayout.ActiveDocument.1">
                  <p:embed/>
                </p:oleObj>
              </mc:Choice>
              <mc:Fallback>
                <p:oleObj name="think-cell Slide" r:id="rId5" imgW="521" imgH="520" progId="TCLayout.ActiveDocument.1">
                  <p:embed/>
                  <p:pic>
                    <p:nvPicPr>
                      <p:cNvPr id="4" name="Objekt 3" hidden="1">
                        <a:extLst>
                          <a:ext uri="{FF2B5EF4-FFF2-40B4-BE49-F238E27FC236}">
                            <a16:creationId xmlns:a16="http://schemas.microsoft.com/office/drawing/2014/main" id="{CFA3D712-6CBF-4AE4-A347-E937992DB1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1573F12E-4543-4311-9C9F-CC6C675DA686}"/>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sp>
        <p:nvSpPr>
          <p:cNvPr id="3" name="Picture Placeholder 2"/>
          <p:cNvSpPr>
            <a:spLocks noGrp="1"/>
          </p:cNvSpPr>
          <p:nvPr>
            <p:ph type="pic" idx="1" hasCustomPrompt="1"/>
          </p:nvPr>
        </p:nvSpPr>
        <p:spPr>
          <a:xfrm>
            <a:off x="6275387" y="1196975"/>
            <a:ext cx="4921739" cy="4959350"/>
          </a:xfrm>
          <a:solidFill>
            <a:schemeClr val="bg1">
              <a:lumMod val="95000"/>
            </a:schemeClr>
          </a:solidFill>
        </p:spPr>
        <p:txBody>
          <a:bodyPr tIns="1080000" anchor="ctr" anchorCtr="0"/>
          <a:lstStyle>
            <a:lvl1pPr marL="0" indent="0" algn="ctr">
              <a:buNone/>
              <a:defRPr sz="16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Træk billede til pladsholder eller klik på symbol for at tilføje billede</a:t>
            </a:r>
            <a:endParaRPr lang="en-US" dirty="0"/>
          </a:p>
        </p:txBody>
      </p:sp>
      <p:sp>
        <p:nvSpPr>
          <p:cNvPr id="5" name="Date_DateCustomA"/>
          <p:cNvSpPr>
            <a:spLocks noGrp="1"/>
          </p:cNvSpPr>
          <p:nvPr>
            <p:ph type="dt" sz="half" idx="10"/>
          </p:nvPr>
        </p:nvSpPr>
        <p:spPr/>
        <p:txBody>
          <a:bodyPr/>
          <a:lstStyle/>
          <a:p>
            <a:r>
              <a:rPr lang="da-DK"/>
              <a:t>May 2019</a:t>
            </a:r>
            <a:endParaRPr lang="en-US" dirty="0"/>
          </a:p>
        </p:txBody>
      </p:sp>
      <p:sp>
        <p:nvSpPr>
          <p:cNvPr id="6" name="FLD_PresentationTitle"/>
          <p:cNvSpPr>
            <a:spLocks noGrp="1"/>
          </p:cNvSpPr>
          <p:nvPr>
            <p:ph type="ftr" sz="quarter" idx="11"/>
          </p:nvPr>
        </p:nvSpPr>
        <p:spPr/>
        <p:txBody>
          <a:bodyPr/>
          <a:lstStyle/>
          <a:p>
            <a:r>
              <a:rPr lang="en-US"/>
              <a:t>GIE meeting</a:t>
            </a:r>
            <a:endParaRPr lang="en-US" dirty="0"/>
          </a:p>
        </p:txBody>
      </p:sp>
      <p:sp>
        <p:nvSpPr>
          <p:cNvPr id="7" name="Slide Number Placeholder 6"/>
          <p:cNvSpPr>
            <a:spLocks noGrp="1"/>
          </p:cNvSpPr>
          <p:nvPr>
            <p:ph type="sldNum" sz="quarter" idx="12"/>
          </p:nvPr>
        </p:nvSpPr>
        <p:spPr/>
        <p:txBody>
          <a:bodyPr/>
          <a:lstStyle/>
          <a:p>
            <a:fld id="{24C8C45C-947F-4981-8B3F-4F32E973C901}" type="slidenum">
              <a:rPr lang="en-US" smtClean="0"/>
              <a:t>‹#›</a:t>
            </a:fld>
            <a:endParaRPr lang="en-US" dirty="0"/>
          </a:p>
        </p:txBody>
      </p:sp>
      <p:sp>
        <p:nvSpPr>
          <p:cNvPr id="8" name="Title 7"/>
          <p:cNvSpPr>
            <a:spLocks noGrp="1"/>
          </p:cNvSpPr>
          <p:nvPr>
            <p:ph type="title" hasCustomPrompt="1"/>
          </p:nvPr>
        </p:nvSpPr>
        <p:spPr>
          <a:xfrm>
            <a:off x="982663" y="1196975"/>
            <a:ext cx="4933337" cy="719138"/>
          </a:xfrm>
        </p:spPr>
        <p:txBody>
          <a:bodyPr/>
          <a:lstStyle>
            <a:lvl1pPr>
              <a:defRPr baseline="0"/>
            </a:lvl1pPr>
          </a:lstStyle>
          <a:p>
            <a:r>
              <a:rPr lang="en-US"/>
              <a:t>Indsæt overskrift</a:t>
            </a:r>
            <a:endParaRPr lang="en-US" dirty="0"/>
          </a:p>
        </p:txBody>
      </p:sp>
      <p:sp>
        <p:nvSpPr>
          <p:cNvPr id="13" name="Text Placeholder 12"/>
          <p:cNvSpPr>
            <a:spLocks noGrp="1"/>
          </p:cNvSpPr>
          <p:nvPr>
            <p:ph type="body" sz="quarter" idx="14" hasCustomPrompt="1"/>
          </p:nvPr>
        </p:nvSpPr>
        <p:spPr>
          <a:xfrm>
            <a:off x="982664" y="2852739"/>
            <a:ext cx="4933336" cy="3303586"/>
          </a:xfrm>
        </p:spPr>
        <p:txBody>
          <a:bodyPr/>
          <a:lstStyle/>
          <a:p>
            <a:pPr lvl="0"/>
            <a:r>
              <a:rPr lang="en-US"/>
              <a:t>Klik for at indsætte brødteks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ladsholder til tekst 9"/>
          <p:cNvSpPr>
            <a:spLocks noGrp="1"/>
          </p:cNvSpPr>
          <p:nvPr>
            <p:ph type="body" sz="quarter" idx="15" hasCustomPrompt="1"/>
          </p:nvPr>
        </p:nvSpPr>
        <p:spPr>
          <a:xfrm>
            <a:off x="982663" y="2024063"/>
            <a:ext cx="4933337" cy="720725"/>
          </a:xfrm>
        </p:spPr>
        <p:txBody>
          <a:bodyPr/>
          <a:lstStyle>
            <a:lvl1pPr>
              <a:defRPr sz="2200">
                <a:solidFill>
                  <a:schemeClr val="accent1"/>
                </a:solidFill>
              </a:defRPr>
            </a:lvl1pPr>
          </a:lstStyle>
          <a:p>
            <a:pPr lvl="0"/>
            <a:r>
              <a:rPr lang="en-US"/>
              <a:t>Indsæt underoverskrift eller indledning</a:t>
            </a:r>
            <a:endParaRPr lang="en-US" dirty="0"/>
          </a:p>
        </p:txBody>
      </p:sp>
    </p:spTree>
    <p:extLst>
      <p:ext uri="{BB962C8B-B14F-4D97-AF65-F5344CB8AC3E}">
        <p14:creationId xmlns:p14="http://schemas.microsoft.com/office/powerpoint/2010/main" val="1155813028"/>
      </p:ext>
    </p:extLst>
  </p:cSld>
  <p:clrMapOvr>
    <a:masterClrMapping/>
  </p:clrMapOvr>
  <p:extLst mod="1">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indholdsboks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2B2009C-E7C3-4435-9B96-277F873067D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8" name="think-cell Slide" r:id="rId5" imgW="521" imgH="520" progId="TCLayout.ActiveDocument.1">
                  <p:embed/>
                </p:oleObj>
              </mc:Choice>
              <mc:Fallback>
                <p:oleObj name="think-cell Slide" r:id="rId5" imgW="521" imgH="520" progId="TCLayout.ActiveDocument.1">
                  <p:embed/>
                  <p:pic>
                    <p:nvPicPr>
                      <p:cNvPr id="7" name="Objekt 6" hidden="1">
                        <a:extLst>
                          <a:ext uri="{FF2B5EF4-FFF2-40B4-BE49-F238E27FC236}">
                            <a16:creationId xmlns:a16="http://schemas.microsoft.com/office/drawing/2014/main" id="{52B2009C-E7C3-4435-9B96-277F873067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9DDF8123-9E87-4B48-B07B-64C71A981E9D}"/>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sp>
        <p:nvSpPr>
          <p:cNvPr id="2" name="Titel 1"/>
          <p:cNvSpPr>
            <a:spLocks noGrp="1"/>
          </p:cNvSpPr>
          <p:nvPr>
            <p:ph type="title" hasCustomPrompt="1"/>
          </p:nvPr>
        </p:nvSpPr>
        <p:spPr/>
        <p:txBody>
          <a:bodyPr/>
          <a:lstStyle>
            <a:lvl1pPr>
              <a:defRPr/>
            </a:lvl1pPr>
          </a:lstStyle>
          <a:p>
            <a:r>
              <a:rPr lang="en-US"/>
              <a:t>Indsæt overskrift</a:t>
            </a:r>
            <a:endParaRPr lang="en-US" dirty="0"/>
          </a:p>
        </p:txBody>
      </p:sp>
      <p:sp>
        <p:nvSpPr>
          <p:cNvPr id="3" name="Pladsholder til dato 2"/>
          <p:cNvSpPr>
            <a:spLocks noGrp="1"/>
          </p:cNvSpPr>
          <p:nvPr>
            <p:ph type="dt" sz="half" idx="10"/>
          </p:nvPr>
        </p:nvSpPr>
        <p:spPr/>
        <p:txBody>
          <a:bodyPr/>
          <a:lstStyle/>
          <a:p>
            <a:r>
              <a:rPr lang="da-DK"/>
              <a:t>May 2019</a:t>
            </a:r>
            <a:endParaRPr lang="en-US" dirty="0"/>
          </a:p>
        </p:txBody>
      </p:sp>
      <p:sp>
        <p:nvSpPr>
          <p:cNvPr id="4" name="Pladsholder til sidefod 3"/>
          <p:cNvSpPr>
            <a:spLocks noGrp="1"/>
          </p:cNvSpPr>
          <p:nvPr>
            <p:ph type="ftr" sz="quarter" idx="11"/>
          </p:nvPr>
        </p:nvSpPr>
        <p:spPr/>
        <p:txBody>
          <a:bodyPr/>
          <a:lstStyle/>
          <a:p>
            <a:r>
              <a:rPr lang="en-US"/>
              <a:t>GIE meeting</a:t>
            </a:r>
            <a:endParaRPr lang="en-US" dirty="0"/>
          </a:p>
        </p:txBody>
      </p:sp>
      <p:sp>
        <p:nvSpPr>
          <p:cNvPr id="5" name="Pladsholder til slidenummer 4"/>
          <p:cNvSpPr>
            <a:spLocks noGrp="1"/>
          </p:cNvSpPr>
          <p:nvPr>
            <p:ph type="sldNum" sz="quarter" idx="12"/>
          </p:nvPr>
        </p:nvSpPr>
        <p:spPr/>
        <p:txBody>
          <a:bodyPr/>
          <a:lstStyle/>
          <a:p>
            <a:fld id="{24C8C45C-947F-4981-8B3F-4F32E973C901}" type="slidenum">
              <a:rPr lang="en-US" smtClean="0"/>
              <a:pPr/>
              <a:t>‹#›</a:t>
            </a:fld>
            <a:endParaRPr lang="en-US" dirty="0"/>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en-US"/>
              <a:t>Indsæt underoverskrift eller indledning</a:t>
            </a:r>
            <a:endParaRPr lang="en-US" dirty="0"/>
          </a:p>
        </p:txBody>
      </p:sp>
      <p:sp>
        <p:nvSpPr>
          <p:cNvPr id="13" name="Content Placeholder 2"/>
          <p:cNvSpPr>
            <a:spLocks noGrp="1"/>
          </p:cNvSpPr>
          <p:nvPr>
            <p:ph idx="1" hasCustomPrompt="1"/>
          </p:nvPr>
        </p:nvSpPr>
        <p:spPr>
          <a:xfrm>
            <a:off x="982664" y="2852738"/>
            <a:ext cx="4860000" cy="3303587"/>
          </a:xfrm>
        </p:spPr>
        <p:txBody>
          <a:bodyPr/>
          <a:lstStyle>
            <a:lvl1pPr>
              <a:defRPr/>
            </a:lvl1pPr>
          </a:lstStyle>
          <a:p>
            <a:pPr lvl="0"/>
            <a:r>
              <a:rPr lang="en-US"/>
              <a:t>Klik for at indsætte brødteks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p:cNvSpPr>
            <a:spLocks noGrp="1"/>
          </p:cNvSpPr>
          <p:nvPr>
            <p:ph idx="17" hasCustomPrompt="1"/>
          </p:nvPr>
        </p:nvSpPr>
        <p:spPr>
          <a:xfrm>
            <a:off x="6337127" y="2852738"/>
            <a:ext cx="4860000" cy="3303587"/>
          </a:xfrm>
        </p:spPr>
        <p:txBody>
          <a:bodyPr/>
          <a:lstStyle>
            <a:lvl1pPr>
              <a:defRPr/>
            </a:lvl1pPr>
          </a:lstStyle>
          <a:p>
            <a:pPr lvl="0"/>
            <a:r>
              <a:rPr lang="en-US"/>
              <a:t>Klik for at indsætte brødtekst</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6342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indholdsboks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73E7081-1CFD-4AE0-8CE0-177855BEC164}"/>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2" name="think-cell Slide" r:id="rId5" imgW="521" imgH="520" progId="TCLayout.ActiveDocument.1">
                  <p:embed/>
                </p:oleObj>
              </mc:Choice>
              <mc:Fallback>
                <p:oleObj name="think-cell Slide" r:id="rId5" imgW="521" imgH="520" progId="TCLayout.ActiveDocument.1">
                  <p:embed/>
                  <p:pic>
                    <p:nvPicPr>
                      <p:cNvPr id="7" name="Objekt 6" hidden="1">
                        <a:extLst>
                          <a:ext uri="{FF2B5EF4-FFF2-40B4-BE49-F238E27FC236}">
                            <a16:creationId xmlns:a16="http://schemas.microsoft.com/office/drawing/2014/main" id="{973E7081-1CFD-4AE0-8CE0-177855BEC1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04BB7B08-8278-4166-A446-9F85DC331FA9}"/>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sp>
        <p:nvSpPr>
          <p:cNvPr id="2" name="Titel 1"/>
          <p:cNvSpPr>
            <a:spLocks noGrp="1"/>
          </p:cNvSpPr>
          <p:nvPr>
            <p:ph type="title" hasCustomPrompt="1"/>
          </p:nvPr>
        </p:nvSpPr>
        <p:spPr/>
        <p:txBody>
          <a:bodyPr/>
          <a:lstStyle>
            <a:lvl1pPr>
              <a:defRPr/>
            </a:lvl1pPr>
          </a:lstStyle>
          <a:p>
            <a:r>
              <a:rPr lang="en-US"/>
              <a:t>Indsæt overskrift</a:t>
            </a:r>
            <a:endParaRPr lang="en-US" dirty="0"/>
          </a:p>
        </p:txBody>
      </p:sp>
      <p:sp>
        <p:nvSpPr>
          <p:cNvPr id="3" name="Pladsholder til dato 2"/>
          <p:cNvSpPr>
            <a:spLocks noGrp="1"/>
          </p:cNvSpPr>
          <p:nvPr>
            <p:ph type="dt" sz="half" idx="10"/>
          </p:nvPr>
        </p:nvSpPr>
        <p:spPr/>
        <p:txBody>
          <a:bodyPr/>
          <a:lstStyle/>
          <a:p>
            <a:r>
              <a:rPr lang="da-DK"/>
              <a:t>May 2019</a:t>
            </a:r>
            <a:endParaRPr lang="en-US" dirty="0"/>
          </a:p>
        </p:txBody>
      </p:sp>
      <p:sp>
        <p:nvSpPr>
          <p:cNvPr id="4" name="Pladsholder til sidefod 3"/>
          <p:cNvSpPr>
            <a:spLocks noGrp="1"/>
          </p:cNvSpPr>
          <p:nvPr>
            <p:ph type="ftr" sz="quarter" idx="11"/>
          </p:nvPr>
        </p:nvSpPr>
        <p:spPr/>
        <p:txBody>
          <a:bodyPr/>
          <a:lstStyle/>
          <a:p>
            <a:r>
              <a:rPr lang="en-US"/>
              <a:t>GIE meeting</a:t>
            </a:r>
            <a:endParaRPr lang="en-US" dirty="0"/>
          </a:p>
        </p:txBody>
      </p:sp>
      <p:sp>
        <p:nvSpPr>
          <p:cNvPr id="5" name="Pladsholder til slidenummer 4"/>
          <p:cNvSpPr>
            <a:spLocks noGrp="1"/>
          </p:cNvSpPr>
          <p:nvPr>
            <p:ph type="sldNum" sz="quarter" idx="12"/>
          </p:nvPr>
        </p:nvSpPr>
        <p:spPr/>
        <p:txBody>
          <a:bodyPr/>
          <a:lstStyle/>
          <a:p>
            <a:fld id="{24C8C45C-947F-4981-8B3F-4F32E973C901}" type="slidenum">
              <a:rPr lang="en-US" smtClean="0"/>
              <a:pPr/>
              <a:t>‹#›</a:t>
            </a:fld>
            <a:endParaRPr lang="en-US" dirty="0"/>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en-US"/>
              <a:t>Indsæt underoverskrift eller indledning</a:t>
            </a:r>
            <a:endParaRPr lang="en-US" dirty="0"/>
          </a:p>
        </p:txBody>
      </p:sp>
      <p:sp>
        <p:nvSpPr>
          <p:cNvPr id="13" name="Content Placeholder 2"/>
          <p:cNvSpPr>
            <a:spLocks noGrp="1"/>
          </p:cNvSpPr>
          <p:nvPr>
            <p:ph idx="1" hasCustomPrompt="1"/>
          </p:nvPr>
        </p:nvSpPr>
        <p:spPr>
          <a:xfrm>
            <a:off x="982664" y="2852738"/>
            <a:ext cx="3217864" cy="3303587"/>
          </a:xfrm>
        </p:spPr>
        <p:txBody>
          <a:bodyPr/>
          <a:lstStyle>
            <a:lvl1pPr>
              <a:defRPr/>
            </a:lvl1pPr>
          </a:lstStyle>
          <a:p>
            <a:pPr lvl="0"/>
            <a:r>
              <a:rPr lang="en-US"/>
              <a:t>Klik for at indsætte brødteks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idx="16" hasCustomPrompt="1"/>
          </p:nvPr>
        </p:nvSpPr>
        <p:spPr>
          <a:xfrm>
            <a:off x="4487069" y="2852738"/>
            <a:ext cx="3217864" cy="3303587"/>
          </a:xfrm>
        </p:spPr>
        <p:txBody>
          <a:bodyPr/>
          <a:lstStyle>
            <a:lvl1pPr>
              <a:defRPr/>
            </a:lvl1pPr>
          </a:lstStyle>
          <a:p>
            <a:pPr lvl="0"/>
            <a:r>
              <a:rPr lang="en-US"/>
              <a:t>Klik for at indsætte brødtekst</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p:cNvSpPr>
            <a:spLocks noGrp="1"/>
          </p:cNvSpPr>
          <p:nvPr>
            <p:ph idx="17" hasCustomPrompt="1"/>
          </p:nvPr>
        </p:nvSpPr>
        <p:spPr>
          <a:xfrm>
            <a:off x="7991474" y="2852738"/>
            <a:ext cx="3217864" cy="3303587"/>
          </a:xfrm>
        </p:spPr>
        <p:txBody>
          <a:bodyPr/>
          <a:lstStyle>
            <a:lvl1pPr>
              <a:defRPr/>
            </a:lvl1pPr>
          </a:lstStyle>
          <a:p>
            <a:pPr lvl="0"/>
            <a:r>
              <a:rPr lang="en-US"/>
              <a:t>Klik for at indsætte brødtekst</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3501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rogram">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B56B0860-E2FC-4046-BE7C-E6EA1D3C7267}"/>
              </a:ext>
            </a:extLst>
          </p:cNvPr>
          <p:cNvSpPr>
            <a:spLocks noGrp="1"/>
          </p:cNvSpPr>
          <p:nvPr>
            <p:ph type="dt" sz="half" idx="10"/>
          </p:nvPr>
        </p:nvSpPr>
        <p:spPr/>
        <p:txBody>
          <a:bodyPr/>
          <a:lstStyle/>
          <a:p>
            <a:r>
              <a:rPr lang="da-DK"/>
              <a:t>May 2019</a:t>
            </a:r>
            <a:endParaRPr lang="en-US" dirty="0"/>
          </a:p>
        </p:txBody>
      </p:sp>
      <p:sp>
        <p:nvSpPr>
          <p:cNvPr id="4" name="Pladsholder til sidefod 3">
            <a:extLst>
              <a:ext uri="{FF2B5EF4-FFF2-40B4-BE49-F238E27FC236}">
                <a16:creationId xmlns:a16="http://schemas.microsoft.com/office/drawing/2014/main" id="{986B7801-E3B9-8C49-9C6E-CA2439CD3D81}"/>
              </a:ext>
            </a:extLst>
          </p:cNvPr>
          <p:cNvSpPr>
            <a:spLocks noGrp="1"/>
          </p:cNvSpPr>
          <p:nvPr>
            <p:ph type="ftr" sz="quarter" idx="11"/>
          </p:nvPr>
        </p:nvSpPr>
        <p:spPr/>
        <p:txBody>
          <a:bodyPr/>
          <a:lstStyle/>
          <a:p>
            <a:r>
              <a:rPr lang="en-US"/>
              <a:t>GIE meeting</a:t>
            </a:r>
            <a:endParaRPr lang="en-US" dirty="0"/>
          </a:p>
        </p:txBody>
      </p:sp>
      <p:sp>
        <p:nvSpPr>
          <p:cNvPr id="5" name="Pladsholder til slidenummer 4">
            <a:extLst>
              <a:ext uri="{FF2B5EF4-FFF2-40B4-BE49-F238E27FC236}">
                <a16:creationId xmlns:a16="http://schemas.microsoft.com/office/drawing/2014/main" id="{F486B617-819F-D54A-871B-B63CD3758B26}"/>
              </a:ext>
            </a:extLst>
          </p:cNvPr>
          <p:cNvSpPr>
            <a:spLocks noGrp="1"/>
          </p:cNvSpPr>
          <p:nvPr>
            <p:ph type="sldNum" sz="quarter" idx="12"/>
          </p:nvPr>
        </p:nvSpPr>
        <p:spPr/>
        <p:txBody>
          <a:bodyPr/>
          <a:lstStyle/>
          <a:p>
            <a:fld id="{24C8C45C-947F-4981-8B3F-4F32E973C901}" type="slidenum">
              <a:rPr lang="en-US" smtClean="0"/>
              <a:pPr/>
              <a:t>‹#›</a:t>
            </a:fld>
            <a:endParaRPr lang="en-US" dirty="0"/>
          </a:p>
        </p:txBody>
      </p:sp>
      <p:sp>
        <p:nvSpPr>
          <p:cNvPr id="8" name="Rektangel 7">
            <a:extLst>
              <a:ext uri="{FF2B5EF4-FFF2-40B4-BE49-F238E27FC236}">
                <a16:creationId xmlns:a16="http://schemas.microsoft.com/office/drawing/2014/main" id="{94D1D345-D353-6F4A-A586-8E5CDA0F43FC}"/>
              </a:ext>
            </a:extLst>
          </p:cNvPr>
          <p:cNvSpPr/>
          <p:nvPr userDrawn="1"/>
        </p:nvSpPr>
        <p:spPr>
          <a:xfrm>
            <a:off x="949705" y="1178352"/>
            <a:ext cx="4920028" cy="47605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10" name="Pladsholder til tekst 15">
            <a:extLst>
              <a:ext uri="{FF2B5EF4-FFF2-40B4-BE49-F238E27FC236}">
                <a16:creationId xmlns:a16="http://schemas.microsoft.com/office/drawing/2014/main" id="{8E6A2F22-BEF4-6543-97DA-88F5BA3B8E44}"/>
              </a:ext>
            </a:extLst>
          </p:cNvPr>
          <p:cNvSpPr>
            <a:spLocks noGrp="1"/>
          </p:cNvSpPr>
          <p:nvPr>
            <p:ph type="body" sz="quarter" idx="14" hasCustomPrompt="1"/>
          </p:nvPr>
        </p:nvSpPr>
        <p:spPr>
          <a:xfrm>
            <a:off x="949705" y="2488040"/>
            <a:ext cx="4920028" cy="1405232"/>
          </a:xfrm>
        </p:spPr>
        <p:txBody>
          <a:bodyPr/>
          <a:lstStyle>
            <a:lvl1pPr algn="ctr">
              <a:defRPr sz="7500">
                <a:solidFill>
                  <a:schemeClr val="bg1"/>
                </a:solidFill>
              </a:defRPr>
            </a:lvl1pPr>
          </a:lstStyle>
          <a:p>
            <a:r>
              <a:rPr lang="en-US"/>
              <a:t>PROGRAM</a:t>
            </a:r>
            <a:endParaRPr lang="en-US" dirty="0"/>
          </a:p>
        </p:txBody>
      </p:sp>
      <p:sp>
        <p:nvSpPr>
          <p:cNvPr id="11" name="Rektangel 10">
            <a:extLst>
              <a:ext uri="{FF2B5EF4-FFF2-40B4-BE49-F238E27FC236}">
                <a16:creationId xmlns:a16="http://schemas.microsoft.com/office/drawing/2014/main" id="{5D815E82-1046-D241-BFCC-C6BAD16F7C90}"/>
              </a:ext>
            </a:extLst>
          </p:cNvPr>
          <p:cNvSpPr/>
          <p:nvPr userDrawn="1"/>
        </p:nvSpPr>
        <p:spPr>
          <a:xfrm>
            <a:off x="6181582" y="1178352"/>
            <a:ext cx="4920028" cy="47605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12" name="Pladsholder til tekst 13">
            <a:extLst>
              <a:ext uri="{FF2B5EF4-FFF2-40B4-BE49-F238E27FC236}">
                <a16:creationId xmlns:a16="http://schemas.microsoft.com/office/drawing/2014/main" id="{3F7C6172-494C-DD44-8F59-32C8484CFA05}"/>
              </a:ext>
            </a:extLst>
          </p:cNvPr>
          <p:cNvSpPr>
            <a:spLocks noGrp="1"/>
          </p:cNvSpPr>
          <p:nvPr>
            <p:ph type="body" sz="quarter" idx="13" hasCustomPrompt="1"/>
          </p:nvPr>
        </p:nvSpPr>
        <p:spPr>
          <a:xfrm>
            <a:off x="6742152" y="2108027"/>
            <a:ext cx="3798888" cy="3101517"/>
          </a:xfrm>
        </p:spPr>
        <p:txBody>
          <a:bodyPr/>
          <a:lstStyle>
            <a:lvl1pPr marL="342900" indent="-342900">
              <a:buFont typeface="Arial" panose="020B0604020202020204" pitchFamily="34" charset="0"/>
              <a:buChar char="•"/>
              <a:defRPr sz="2500">
                <a:solidFill>
                  <a:schemeClr val="bg1"/>
                </a:solidFill>
              </a:defRPr>
            </a:lvl1pPr>
          </a:lstStyle>
          <a:p>
            <a:r>
              <a:rPr lang="en-US"/>
              <a:t>Tekst
Tekst 
Tekst 
 Tekst 
 Tekst</a:t>
            </a:r>
          </a:p>
          <a:p>
            <a:r>
              <a:rPr lang="en-US"/>
              <a:t> Tekst</a:t>
            </a:r>
          </a:p>
          <a:p>
            <a:r>
              <a:rPr lang="en-US"/>
              <a:t> Tekst</a:t>
            </a:r>
            <a:endParaRPr lang="en-US" dirty="0"/>
          </a:p>
        </p:txBody>
      </p:sp>
      <p:pic>
        <p:nvPicPr>
          <p:cNvPr id="13" name="Billede 12">
            <a:extLst>
              <a:ext uri="{FF2B5EF4-FFF2-40B4-BE49-F238E27FC236}">
                <a16:creationId xmlns:a16="http://schemas.microsoft.com/office/drawing/2014/main" id="{C036E63E-0936-6E48-B39F-028BB2CB9A4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9158" y="3714967"/>
            <a:ext cx="2520372" cy="2398994"/>
          </a:xfrm>
          <a:prstGeom prst="rect">
            <a:avLst/>
          </a:prstGeom>
        </p:spPr>
      </p:pic>
    </p:spTree>
    <p:extLst>
      <p:ext uri="{BB962C8B-B14F-4D97-AF65-F5344CB8AC3E}">
        <p14:creationId xmlns:p14="http://schemas.microsoft.com/office/powerpoint/2010/main" val="33648330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Nyt emne">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8C022D2-711D-3B48-9664-6E97484392F9}"/>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10" name="Text Placeholder 5">
            <a:extLst>
              <a:ext uri="{FF2B5EF4-FFF2-40B4-BE49-F238E27FC236}">
                <a16:creationId xmlns:a16="http://schemas.microsoft.com/office/drawing/2014/main" id="{33AD1A35-4CCE-1C47-BAAC-A29B69D42FD6}"/>
              </a:ext>
            </a:extLst>
          </p:cNvPr>
          <p:cNvSpPr>
            <a:spLocks noGrp="1"/>
          </p:cNvSpPr>
          <p:nvPr>
            <p:ph type="body" sz="quarter" idx="16" hasCustomPrompt="1"/>
          </p:nvPr>
        </p:nvSpPr>
        <p:spPr>
          <a:xfrm>
            <a:off x="2976231" y="3780149"/>
            <a:ext cx="6232180" cy="1470041"/>
          </a:xfrm>
        </p:spPr>
        <p:txBody>
          <a:bodyPr anchor="b" anchorCtr="0"/>
          <a:lstStyle>
            <a:lvl1pPr marL="0" indent="0" algn="ctr">
              <a:lnSpc>
                <a:spcPct val="83000"/>
              </a:lnSpc>
              <a:buFont typeface="Arial" panose="020B0604020202020204" pitchFamily="34" charset="0"/>
              <a:buNone/>
              <a:defRPr sz="5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overskrift for nyt tema/emne</a:t>
            </a:r>
            <a:endParaRPr lang="en-US" dirty="0"/>
          </a:p>
        </p:txBody>
      </p:sp>
      <p:sp>
        <p:nvSpPr>
          <p:cNvPr id="11" name="Pladsholder til billede 21">
            <a:extLst>
              <a:ext uri="{FF2B5EF4-FFF2-40B4-BE49-F238E27FC236}">
                <a16:creationId xmlns:a16="http://schemas.microsoft.com/office/drawing/2014/main" id="{79C2A64C-C131-7147-B71D-EF7FA2871833}"/>
              </a:ext>
            </a:extLst>
          </p:cNvPr>
          <p:cNvSpPr>
            <a:spLocks noGrp="1"/>
          </p:cNvSpPr>
          <p:nvPr>
            <p:ph type="pic" sz="quarter" idx="22" hasCustomPrompt="1"/>
          </p:nvPr>
        </p:nvSpPr>
        <p:spPr>
          <a:xfrm>
            <a:off x="5161675" y="1580349"/>
            <a:ext cx="1861293" cy="1861293"/>
          </a:xfrm>
        </p:spPr>
        <p:txBody>
          <a:bodyPr anchor="ctr"/>
          <a:lstStyle>
            <a:lvl1pPr algn="ctr">
              <a:defRPr>
                <a:solidFill>
                  <a:schemeClr val="bg1"/>
                </a:solidFill>
              </a:defRPr>
            </a:lvl1pPr>
          </a:lstStyle>
          <a:p>
            <a:r>
              <a:rPr lang="en-US"/>
              <a:t>Indsæt ikon</a:t>
            </a:r>
            <a:endParaRPr lang="en-US" dirty="0"/>
          </a:p>
        </p:txBody>
      </p:sp>
      <p:sp>
        <p:nvSpPr>
          <p:cNvPr id="5" name="Text Placeholder 5">
            <a:extLst>
              <a:ext uri="{FF2B5EF4-FFF2-40B4-BE49-F238E27FC236}">
                <a16:creationId xmlns:a16="http://schemas.microsoft.com/office/drawing/2014/main" id="{35A1DB3C-A15F-F44C-B74D-5E8BAEC926B7}"/>
              </a:ext>
            </a:extLst>
          </p:cNvPr>
          <p:cNvSpPr>
            <a:spLocks noGrp="1"/>
          </p:cNvSpPr>
          <p:nvPr>
            <p:ph type="body" sz="quarter" idx="23" hasCustomPrompt="1"/>
          </p:nvPr>
        </p:nvSpPr>
        <p:spPr>
          <a:xfrm>
            <a:off x="2976231" y="5355771"/>
            <a:ext cx="6232180" cy="837848"/>
          </a:xfrm>
        </p:spPr>
        <p:txBody>
          <a:bodyPr anchor="t" anchorCtr="0"/>
          <a:lstStyle>
            <a:lvl1pPr marL="0" indent="0" algn="ctr">
              <a:lnSpc>
                <a:spcPct val="83000"/>
              </a:lnSpc>
              <a:buFont typeface="Arial" panose="020B0604020202020204" pitchFamily="34" charset="0"/>
              <a:buNone/>
              <a:defRPr sz="2000" cap="none">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evt. kort understøttende tekst</a:t>
            </a:r>
            <a:endParaRPr lang="en-US" dirty="0"/>
          </a:p>
        </p:txBody>
      </p:sp>
    </p:spTree>
    <p:extLst>
      <p:ext uri="{BB962C8B-B14F-4D97-AF65-F5344CB8AC3E}">
        <p14:creationId xmlns:p14="http://schemas.microsoft.com/office/powerpoint/2010/main" val="2585724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kst og billede ">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7237CE2-5199-45AC-8414-D399F667EF6C}"/>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6" name="think-cell Slide" r:id="rId5" imgW="521" imgH="520" progId="TCLayout.ActiveDocument.1">
                  <p:embed/>
                </p:oleObj>
              </mc:Choice>
              <mc:Fallback>
                <p:oleObj name="think-cell Slide" r:id="rId5" imgW="521" imgH="520" progId="TCLayout.ActiveDocument.1">
                  <p:embed/>
                  <p:pic>
                    <p:nvPicPr>
                      <p:cNvPr id="9" name="Objekt 8" hidden="1">
                        <a:extLst>
                          <a:ext uri="{FF2B5EF4-FFF2-40B4-BE49-F238E27FC236}">
                            <a16:creationId xmlns:a16="http://schemas.microsoft.com/office/drawing/2014/main" id="{07237CE2-5199-45AC-8414-D399F667EF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392EFBCE-777E-4A2F-973A-C2F538738C37}"/>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sp>
        <p:nvSpPr>
          <p:cNvPr id="3" name="Picture Placeholder 2"/>
          <p:cNvSpPr>
            <a:spLocks noGrp="1"/>
          </p:cNvSpPr>
          <p:nvPr>
            <p:ph type="pic" idx="1" hasCustomPrompt="1"/>
          </p:nvPr>
        </p:nvSpPr>
        <p:spPr>
          <a:xfrm>
            <a:off x="6275388" y="0"/>
            <a:ext cx="5916612" cy="6858000"/>
          </a:xfrm>
          <a:solidFill>
            <a:schemeClr val="bg1">
              <a:lumMod val="95000"/>
            </a:schemeClr>
          </a:solidFill>
        </p:spPr>
        <p:txBody>
          <a:bodyPr tIns="900000" anchor="ctr" anchorCtr="0"/>
          <a:lstStyle>
            <a:lvl1pPr marL="0" indent="0" algn="ctr">
              <a:buNone/>
              <a:defRPr sz="16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Træk billede til pladsholder eller klik på symbol for at tilføje billede</a:t>
            </a:r>
            <a:endParaRPr lang="en-US" dirty="0"/>
          </a:p>
        </p:txBody>
      </p:sp>
      <p:sp>
        <p:nvSpPr>
          <p:cNvPr id="4" name="Rectangle 3"/>
          <p:cNvSpPr/>
          <p:nvPr userDrawn="1"/>
        </p:nvSpPr>
        <p:spPr>
          <a:xfrm>
            <a:off x="0" y="0"/>
            <a:ext cx="6275388"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000" noProof="0" dirty="0"/>
          </a:p>
        </p:txBody>
      </p:sp>
      <p:sp>
        <p:nvSpPr>
          <p:cNvPr id="5" name="Date_DateCustomA"/>
          <p:cNvSpPr>
            <a:spLocks noGrp="1"/>
          </p:cNvSpPr>
          <p:nvPr>
            <p:ph type="dt" sz="half" idx="10"/>
          </p:nvPr>
        </p:nvSpPr>
        <p:spPr>
          <a:xfrm>
            <a:off x="0" y="6948000"/>
            <a:ext cx="0" cy="0"/>
          </a:xfrm>
        </p:spPr>
        <p:txBody>
          <a:bodyPr/>
          <a:lstStyle>
            <a:lvl1pPr>
              <a:defRPr sz="100">
                <a:noFill/>
              </a:defRPr>
            </a:lvl1pPr>
          </a:lstStyle>
          <a:p>
            <a:r>
              <a:rPr lang="da-DK"/>
              <a:t>May 2019</a:t>
            </a:r>
            <a:endParaRPr lang="en-US" dirty="0"/>
          </a:p>
        </p:txBody>
      </p:sp>
      <p:sp>
        <p:nvSpPr>
          <p:cNvPr id="6" name="FLD_PresentationTitle"/>
          <p:cNvSpPr>
            <a:spLocks noGrp="1"/>
          </p:cNvSpPr>
          <p:nvPr>
            <p:ph type="ftr" sz="quarter" idx="11"/>
          </p:nvPr>
        </p:nvSpPr>
        <p:spPr>
          <a:xfrm>
            <a:off x="0" y="6948000"/>
            <a:ext cx="0" cy="0"/>
          </a:xfrm>
        </p:spPr>
        <p:txBody>
          <a:bodyPr/>
          <a:lstStyle>
            <a:lvl1pPr>
              <a:defRPr sz="100">
                <a:noFill/>
              </a:defRPr>
            </a:lvl1pPr>
          </a:lstStyle>
          <a:p>
            <a:r>
              <a:rPr lang="en-US"/>
              <a:t>GIE meeting</a:t>
            </a:r>
            <a:endParaRPr lang="en-US" dirty="0"/>
          </a:p>
        </p:txBody>
      </p:sp>
      <p:sp>
        <p:nvSpPr>
          <p:cNvPr id="7" name="Slide Number Placeholder 6"/>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en-US" smtClean="0"/>
              <a:pPr/>
              <a:t>‹#›</a:t>
            </a:fld>
            <a:endParaRPr lang="en-US" dirty="0"/>
          </a:p>
        </p:txBody>
      </p:sp>
      <p:sp>
        <p:nvSpPr>
          <p:cNvPr id="8" name="Title 7"/>
          <p:cNvSpPr>
            <a:spLocks noGrp="1"/>
          </p:cNvSpPr>
          <p:nvPr>
            <p:ph type="title" hasCustomPrompt="1"/>
          </p:nvPr>
        </p:nvSpPr>
        <p:spPr>
          <a:xfrm>
            <a:off x="658814" y="1196976"/>
            <a:ext cx="4204132" cy="1547812"/>
          </a:xfrm>
        </p:spPr>
        <p:txBody>
          <a:bodyPr/>
          <a:lstStyle>
            <a:lvl1pPr>
              <a:defRPr baseline="0">
                <a:solidFill>
                  <a:schemeClr val="bg1"/>
                </a:solidFill>
              </a:defRPr>
            </a:lvl1pPr>
          </a:lstStyle>
          <a:p>
            <a:r>
              <a:rPr lang="en-US"/>
              <a:t>Indsæt overskrift</a:t>
            </a:r>
            <a:endParaRPr lang="en-US" dirty="0"/>
          </a:p>
        </p:txBody>
      </p:sp>
      <p:sp>
        <p:nvSpPr>
          <p:cNvPr id="13" name="Text Placeholder 12"/>
          <p:cNvSpPr>
            <a:spLocks noGrp="1"/>
          </p:cNvSpPr>
          <p:nvPr>
            <p:ph type="body" sz="quarter" idx="14" hasCustomPrompt="1"/>
          </p:nvPr>
        </p:nvSpPr>
        <p:spPr>
          <a:xfrm>
            <a:off x="648001"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en-US"/>
              <a:t>Klik for at indsætte brødtekst</a:t>
            </a:r>
          </a:p>
          <a:p>
            <a:pPr lvl="1"/>
            <a:r>
              <a:rPr lang="en-US"/>
              <a:t>Second level</a:t>
            </a:r>
            <a:endParaRPr lang="en-US" dirty="0"/>
          </a:p>
        </p:txBody>
      </p:sp>
    </p:spTree>
    <p:extLst>
      <p:ext uri="{BB962C8B-B14F-4D97-AF65-F5344CB8AC3E}">
        <p14:creationId xmlns:p14="http://schemas.microsoft.com/office/powerpoint/2010/main" val="2834682953"/>
      </p:ext>
    </p:extLst>
  </p:cSld>
  <p:clrMapOvr>
    <a:masterClrMapping/>
  </p:clrMapOvr>
  <p:extLst mod="1">
    <p:ext uri="{DCECCB84-F9BA-43D5-87BE-67443E8EF086}">
      <p15:sldGuideLst xmlns:p15="http://schemas.microsoft.com/office/powerpoint/2012/main">
        <p15:guide id="1" pos="3568">
          <p15:clr>
            <a:srgbClr val="FBAE40"/>
          </p15:clr>
        </p15:guide>
        <p15:guide id="2" pos="3953">
          <p15:clr>
            <a:srgbClr val="FBAE40"/>
          </p15:clr>
        </p15:guide>
        <p15:guide id="3" pos="415">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 fakta boks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93D5490-4A74-4780-856A-8791FDE4EF94}"/>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0" name="think-cell Slide" r:id="rId5" imgW="521" imgH="520" progId="TCLayout.ActiveDocument.1">
                  <p:embed/>
                </p:oleObj>
              </mc:Choice>
              <mc:Fallback>
                <p:oleObj name="think-cell Slide" r:id="rId5" imgW="521" imgH="520" progId="TCLayout.ActiveDocument.1">
                  <p:embed/>
                  <p:pic>
                    <p:nvPicPr>
                      <p:cNvPr id="3" name="Objekt 2" hidden="1">
                        <a:extLst>
                          <a:ext uri="{FF2B5EF4-FFF2-40B4-BE49-F238E27FC236}">
                            <a16:creationId xmlns:a16="http://schemas.microsoft.com/office/drawing/2014/main" id="{393D5490-4A74-4780-856A-8791FDE4EF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96BF587B-83A4-4CE8-A0F1-36DEC0000480}"/>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sp>
        <p:nvSpPr>
          <p:cNvPr id="4" name="Rectangle 3"/>
          <p:cNvSpPr/>
          <p:nvPr userDrawn="1"/>
        </p:nvSpPr>
        <p:spPr>
          <a:xfrm>
            <a:off x="0" y="0"/>
            <a:ext cx="610856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000" noProof="0" dirty="0"/>
          </a:p>
        </p:txBody>
      </p:sp>
      <p:sp>
        <p:nvSpPr>
          <p:cNvPr id="5" name="Date_DateCustomA"/>
          <p:cNvSpPr>
            <a:spLocks noGrp="1"/>
          </p:cNvSpPr>
          <p:nvPr>
            <p:ph type="dt" sz="half" idx="10"/>
          </p:nvPr>
        </p:nvSpPr>
        <p:spPr>
          <a:xfrm>
            <a:off x="0" y="6948000"/>
            <a:ext cx="0" cy="0"/>
          </a:xfrm>
        </p:spPr>
        <p:txBody>
          <a:bodyPr/>
          <a:lstStyle>
            <a:lvl1pPr>
              <a:defRPr sz="100">
                <a:noFill/>
              </a:defRPr>
            </a:lvl1pPr>
          </a:lstStyle>
          <a:p>
            <a:r>
              <a:rPr lang="da-DK"/>
              <a:t>May 2019</a:t>
            </a:r>
            <a:endParaRPr lang="en-US" dirty="0"/>
          </a:p>
        </p:txBody>
      </p:sp>
      <p:sp>
        <p:nvSpPr>
          <p:cNvPr id="6" name="FLD_PresentationTitle"/>
          <p:cNvSpPr>
            <a:spLocks noGrp="1"/>
          </p:cNvSpPr>
          <p:nvPr>
            <p:ph type="ftr" sz="quarter" idx="11"/>
          </p:nvPr>
        </p:nvSpPr>
        <p:spPr>
          <a:xfrm>
            <a:off x="0" y="6948000"/>
            <a:ext cx="0" cy="0"/>
          </a:xfrm>
        </p:spPr>
        <p:txBody>
          <a:bodyPr/>
          <a:lstStyle>
            <a:lvl1pPr>
              <a:defRPr sz="100">
                <a:noFill/>
              </a:defRPr>
            </a:lvl1pPr>
          </a:lstStyle>
          <a:p>
            <a:r>
              <a:rPr lang="en-US"/>
              <a:t>GIE meeting</a:t>
            </a:r>
            <a:endParaRPr lang="en-US" dirty="0"/>
          </a:p>
        </p:txBody>
      </p:sp>
      <p:sp>
        <p:nvSpPr>
          <p:cNvPr id="7" name="Slide Number Placeholder 6"/>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en-US" smtClean="0"/>
              <a:pPr/>
              <a:t>‹#›</a:t>
            </a:fld>
            <a:endParaRPr lang="en-US" dirty="0"/>
          </a:p>
        </p:txBody>
      </p:sp>
      <p:sp>
        <p:nvSpPr>
          <p:cNvPr id="8" name="Title 7"/>
          <p:cNvSpPr>
            <a:spLocks noGrp="1"/>
          </p:cNvSpPr>
          <p:nvPr>
            <p:ph type="title" hasCustomPrompt="1"/>
          </p:nvPr>
        </p:nvSpPr>
        <p:spPr>
          <a:xfrm>
            <a:off x="894486" y="1196976"/>
            <a:ext cx="4204132" cy="1547812"/>
          </a:xfrm>
        </p:spPr>
        <p:txBody>
          <a:bodyPr/>
          <a:lstStyle>
            <a:lvl1pPr>
              <a:defRPr baseline="0">
                <a:solidFill>
                  <a:schemeClr val="bg1"/>
                </a:solidFill>
              </a:defRPr>
            </a:lvl1pPr>
          </a:lstStyle>
          <a:p>
            <a:r>
              <a:rPr lang="en-US"/>
              <a:t>Indsæt overskrift</a:t>
            </a:r>
            <a:endParaRPr lang="en-US" dirty="0"/>
          </a:p>
        </p:txBody>
      </p:sp>
      <p:sp>
        <p:nvSpPr>
          <p:cNvPr id="13" name="Text Placeholder 12"/>
          <p:cNvSpPr>
            <a:spLocks noGrp="1"/>
          </p:cNvSpPr>
          <p:nvPr>
            <p:ph type="body" sz="quarter" idx="14" hasCustomPrompt="1"/>
          </p:nvPr>
        </p:nvSpPr>
        <p:spPr>
          <a:xfrm>
            <a:off x="883673"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en-US"/>
              <a:t>Klik for at indsætte tekst</a:t>
            </a:r>
          </a:p>
          <a:p>
            <a:pPr lvl="1"/>
            <a:r>
              <a:rPr lang="en-US"/>
              <a:t>Second level</a:t>
            </a:r>
            <a:endParaRPr lang="en-US" dirty="0"/>
          </a:p>
        </p:txBody>
      </p:sp>
      <p:sp>
        <p:nvSpPr>
          <p:cNvPr id="11" name="Rectangle 3">
            <a:extLst>
              <a:ext uri="{FF2B5EF4-FFF2-40B4-BE49-F238E27FC236}">
                <a16:creationId xmlns:a16="http://schemas.microsoft.com/office/drawing/2014/main" id="{45C937D3-2FD3-D148-9B52-28210AC27B20}"/>
              </a:ext>
            </a:extLst>
          </p:cNvPr>
          <p:cNvSpPr/>
          <p:nvPr userDrawn="1"/>
        </p:nvSpPr>
        <p:spPr>
          <a:xfrm>
            <a:off x="6108568" y="0"/>
            <a:ext cx="606143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000" noProof="0" dirty="0"/>
          </a:p>
        </p:txBody>
      </p:sp>
      <p:sp>
        <p:nvSpPr>
          <p:cNvPr id="14" name="Text Placeholder 12">
            <a:extLst>
              <a:ext uri="{FF2B5EF4-FFF2-40B4-BE49-F238E27FC236}">
                <a16:creationId xmlns:a16="http://schemas.microsoft.com/office/drawing/2014/main" id="{03A224DA-2850-CB41-8EBA-23FB13A4AF0E}"/>
              </a:ext>
            </a:extLst>
          </p:cNvPr>
          <p:cNvSpPr>
            <a:spLocks noGrp="1"/>
          </p:cNvSpPr>
          <p:nvPr>
            <p:ph type="body" sz="quarter" idx="15" hasCustomPrompt="1"/>
          </p:nvPr>
        </p:nvSpPr>
        <p:spPr>
          <a:xfrm>
            <a:off x="7011092"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en-US"/>
              <a:t>Klik for at indsætte tekst</a:t>
            </a:r>
          </a:p>
          <a:p>
            <a:pPr lvl="1"/>
            <a:r>
              <a:rPr lang="en-US"/>
              <a:t>Second level</a:t>
            </a:r>
            <a:endParaRPr lang="en-US" dirty="0"/>
          </a:p>
        </p:txBody>
      </p:sp>
      <p:sp>
        <p:nvSpPr>
          <p:cNvPr id="18" name="Text Placeholder 5">
            <a:extLst>
              <a:ext uri="{FF2B5EF4-FFF2-40B4-BE49-F238E27FC236}">
                <a16:creationId xmlns:a16="http://schemas.microsoft.com/office/drawing/2014/main" id="{EB37FB4A-7EE7-7342-AF40-FDD92B4E8767}"/>
              </a:ext>
            </a:extLst>
          </p:cNvPr>
          <p:cNvSpPr>
            <a:spLocks noGrp="1"/>
          </p:cNvSpPr>
          <p:nvPr>
            <p:ph type="body" sz="quarter" idx="16" hasCustomPrompt="1"/>
          </p:nvPr>
        </p:nvSpPr>
        <p:spPr>
          <a:xfrm>
            <a:off x="7003054" y="1196976"/>
            <a:ext cx="4222982" cy="1547812"/>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a:t>
            </a:r>
            <a:br>
              <a:rPr lang="en-US"/>
            </a:br>
            <a:r>
              <a:rPr lang="en-US"/>
              <a:t>overskrift</a:t>
            </a:r>
            <a:endParaRPr lang="en-US" dirty="0"/>
          </a:p>
        </p:txBody>
      </p:sp>
    </p:spTree>
    <p:extLst>
      <p:ext uri="{BB962C8B-B14F-4D97-AF65-F5344CB8AC3E}">
        <p14:creationId xmlns:p14="http://schemas.microsoft.com/office/powerpoint/2010/main" val="2040229461"/>
      </p:ext>
    </p:extLst>
  </p:cSld>
  <p:clrMapOvr>
    <a:masterClrMapping/>
  </p:clrMapOvr>
  <p:extLst mod="1">
    <p:ext uri="{DCECCB84-F9BA-43D5-87BE-67443E8EF086}">
      <p15:sldGuideLst xmlns:p15="http://schemas.microsoft.com/office/powerpoint/2012/main">
        <p15:guide id="1" pos="3568">
          <p15:clr>
            <a:srgbClr val="FBAE40"/>
          </p15:clr>
        </p15:guide>
        <p15:guide id="2" pos="3953">
          <p15:clr>
            <a:srgbClr val="FBAE40"/>
          </p15:clr>
        </p15:guide>
        <p15:guide id="3" pos="415">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 fakta bokse">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881B05A0-8C02-4672-BD36-668DEDEEE7B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4" name="think-cell Slide" r:id="rId5" imgW="521" imgH="520" progId="TCLayout.ActiveDocument.1">
                  <p:embed/>
                </p:oleObj>
              </mc:Choice>
              <mc:Fallback>
                <p:oleObj name="think-cell Slide" r:id="rId5" imgW="521" imgH="520" progId="TCLayout.ActiveDocument.1">
                  <p:embed/>
                  <p:pic>
                    <p:nvPicPr>
                      <p:cNvPr id="10" name="Objekt 9" hidden="1">
                        <a:extLst>
                          <a:ext uri="{FF2B5EF4-FFF2-40B4-BE49-F238E27FC236}">
                            <a16:creationId xmlns:a16="http://schemas.microsoft.com/office/drawing/2014/main" id="{881B05A0-8C02-4672-BD36-668DEDEEE7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29C04D03-837A-4799-92B3-C543D5298170}"/>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sp>
        <p:nvSpPr>
          <p:cNvPr id="7" name="Blå baggrund"/>
          <p:cNvSpPr/>
          <p:nvPr userDrawn="1"/>
        </p:nvSpPr>
        <p:spPr>
          <a:xfrm>
            <a:off x="-1" y="0"/>
            <a:ext cx="40644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000" noProof="0" dirty="0"/>
          </a:p>
        </p:txBody>
      </p:sp>
      <p:sp>
        <p:nvSpPr>
          <p:cNvPr id="8" name="Mørk blå baggrund"/>
          <p:cNvSpPr/>
          <p:nvPr userDrawn="1"/>
        </p:nvSpPr>
        <p:spPr>
          <a:xfrm>
            <a:off x="4063800" y="0"/>
            <a:ext cx="40644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000" noProof="0" dirty="0"/>
          </a:p>
        </p:txBody>
      </p:sp>
      <p:sp>
        <p:nvSpPr>
          <p:cNvPr id="9" name="Grøn baggrund"/>
          <p:cNvSpPr/>
          <p:nvPr userDrawn="1"/>
        </p:nvSpPr>
        <p:spPr>
          <a:xfrm>
            <a:off x="8128200" y="0"/>
            <a:ext cx="4064400" cy="685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2000" noProof="0" dirty="0"/>
          </a:p>
        </p:txBody>
      </p:sp>
      <p:sp>
        <p:nvSpPr>
          <p:cNvPr id="2" name="Title 1"/>
          <p:cNvSpPr>
            <a:spLocks noGrp="1"/>
          </p:cNvSpPr>
          <p:nvPr>
            <p:ph type="title" hasCustomPrompt="1"/>
          </p:nvPr>
        </p:nvSpPr>
        <p:spPr>
          <a:xfrm>
            <a:off x="592199" y="1196975"/>
            <a:ext cx="2880000" cy="1044000"/>
          </a:xfrm>
        </p:spPr>
        <p:txBody>
          <a:bodyPr/>
          <a:lstStyle>
            <a:lvl1pPr algn="ctr">
              <a:defRPr>
                <a:solidFill>
                  <a:schemeClr val="tx1"/>
                </a:solidFill>
              </a:defRPr>
            </a:lvl1pPr>
          </a:lstStyle>
          <a:p>
            <a:r>
              <a:rPr lang="en-US"/>
              <a:t>Indsæt fakta</a:t>
            </a:r>
            <a:endParaRPr lang="en-US" dirty="0"/>
          </a:p>
        </p:txBody>
      </p:sp>
      <p:sp>
        <p:nvSpPr>
          <p:cNvPr id="11" name="Text Placeholder 2"/>
          <p:cNvSpPr>
            <a:spLocks noGrp="1"/>
          </p:cNvSpPr>
          <p:nvPr>
            <p:ph type="body" sz="quarter" idx="13" hasCustomPrompt="1"/>
          </p:nvPr>
        </p:nvSpPr>
        <p:spPr>
          <a:xfrm>
            <a:off x="592199" y="2335214"/>
            <a:ext cx="2880000" cy="3821112"/>
          </a:xfrm>
        </p:spPr>
        <p:txBody>
          <a:bodyPr/>
          <a:lstStyle>
            <a:lvl1pPr marL="0" indent="0" algn="ctr">
              <a:buFont typeface="Arial" panose="020B0604020202020204" pitchFamily="34"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en-US"/>
              <a:t>Klik for at indsætte tekst</a:t>
            </a:r>
            <a:endParaRPr lang="en-US" dirty="0"/>
          </a:p>
        </p:txBody>
      </p:sp>
      <p:sp>
        <p:nvSpPr>
          <p:cNvPr id="13" name="Text Placeholder 3"/>
          <p:cNvSpPr>
            <a:spLocks noGrp="1"/>
          </p:cNvSpPr>
          <p:nvPr>
            <p:ph type="body" sz="quarter" idx="14" hasCustomPrompt="1"/>
          </p:nvPr>
        </p:nvSpPr>
        <p:spPr>
          <a:xfrm>
            <a:off x="4641608" y="1196975"/>
            <a:ext cx="2880000" cy="1044000"/>
          </a:xfrm>
        </p:spPr>
        <p:txBody>
          <a:bodyPr anchor="b" anchorCtr="0"/>
          <a:lstStyle>
            <a:lvl1pPr marL="0" indent="0" algn="ctr">
              <a:lnSpc>
                <a:spcPct val="83000"/>
              </a:lnSpc>
              <a:buFont typeface="Arial" panose="020B0604020202020204" pitchFamily="34" charset="0"/>
              <a:buNone/>
              <a:defRPr sz="4000" cap="all"/>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fakta</a:t>
            </a:r>
            <a:endParaRPr lang="en-US" dirty="0"/>
          </a:p>
        </p:txBody>
      </p:sp>
      <p:sp>
        <p:nvSpPr>
          <p:cNvPr id="14" name="Text Placeholder 4"/>
          <p:cNvSpPr>
            <a:spLocks noGrp="1"/>
          </p:cNvSpPr>
          <p:nvPr>
            <p:ph type="body" sz="quarter" idx="15" hasCustomPrompt="1"/>
          </p:nvPr>
        </p:nvSpPr>
        <p:spPr>
          <a:xfrm>
            <a:off x="4637758" y="2335213"/>
            <a:ext cx="2880000" cy="3821112"/>
          </a:xfrm>
        </p:spPr>
        <p:txBody>
          <a:bodyPr/>
          <a:lstStyle>
            <a:lvl1pPr marL="0" indent="0" algn="ctr">
              <a:buFont typeface="Arial" panose="020B0604020202020204" pitchFamily="34"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en-US"/>
              <a:t>Klik for at indsætte tekst</a:t>
            </a:r>
            <a:endParaRPr lang="en-US" dirty="0"/>
          </a:p>
        </p:txBody>
      </p:sp>
      <p:sp>
        <p:nvSpPr>
          <p:cNvPr id="16" name="Text Placeholder 6"/>
          <p:cNvSpPr>
            <a:spLocks noGrp="1"/>
          </p:cNvSpPr>
          <p:nvPr>
            <p:ph type="body" sz="quarter" idx="17" hasCustomPrompt="1"/>
          </p:nvPr>
        </p:nvSpPr>
        <p:spPr>
          <a:xfrm>
            <a:off x="8701559" y="2335213"/>
            <a:ext cx="2880000" cy="3821112"/>
          </a:xfrm>
        </p:spPr>
        <p:txBody>
          <a:bodyPr/>
          <a:lstStyle>
            <a:lvl1pPr marL="0" indent="0" algn="ctr">
              <a:buFont typeface="Arial"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en-US"/>
              <a:t>Klik for at indsætte tekst</a:t>
            </a:r>
            <a:endParaRPr lang="en-US" dirty="0"/>
          </a:p>
        </p:txBody>
      </p:sp>
      <p:sp>
        <p:nvSpPr>
          <p:cNvPr id="3" name="Date Placeholder 2"/>
          <p:cNvSpPr>
            <a:spLocks noGrp="1"/>
          </p:cNvSpPr>
          <p:nvPr>
            <p:ph type="dt" sz="half" idx="10"/>
          </p:nvPr>
        </p:nvSpPr>
        <p:spPr>
          <a:xfrm>
            <a:off x="0" y="6948000"/>
            <a:ext cx="0" cy="0"/>
          </a:xfrm>
        </p:spPr>
        <p:txBody>
          <a:bodyPr/>
          <a:lstStyle>
            <a:lvl1pPr>
              <a:defRPr sz="100">
                <a:noFill/>
              </a:defRPr>
            </a:lvl1pPr>
          </a:lstStyle>
          <a:p>
            <a:r>
              <a:rPr lang="da-DK"/>
              <a:t>May 2019</a:t>
            </a:r>
            <a:endParaRPr lang="en-US" dirty="0"/>
          </a:p>
        </p:txBody>
      </p:sp>
      <p:sp>
        <p:nvSpPr>
          <p:cNvPr id="4" name="Footer Placeholder 3"/>
          <p:cNvSpPr>
            <a:spLocks noGrp="1"/>
          </p:cNvSpPr>
          <p:nvPr>
            <p:ph type="ftr" sz="quarter" idx="11"/>
          </p:nvPr>
        </p:nvSpPr>
        <p:spPr>
          <a:xfrm>
            <a:off x="0" y="6948000"/>
            <a:ext cx="0" cy="0"/>
          </a:xfrm>
        </p:spPr>
        <p:txBody>
          <a:bodyPr/>
          <a:lstStyle>
            <a:lvl1pPr>
              <a:defRPr sz="100">
                <a:noFill/>
              </a:defRPr>
            </a:lvl1pPr>
          </a:lstStyle>
          <a:p>
            <a:r>
              <a:rPr lang="en-US"/>
              <a:t>GIE meeting</a:t>
            </a:r>
            <a:endParaRPr lang="en-US" dirty="0"/>
          </a:p>
        </p:txBody>
      </p:sp>
      <p:sp>
        <p:nvSpPr>
          <p:cNvPr id="5" name="Slide Number Placeholder 4"/>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en-US" smtClean="0"/>
              <a:pPr/>
              <a:t>‹#›</a:t>
            </a:fld>
            <a:endParaRPr lang="en-US" dirty="0"/>
          </a:p>
        </p:txBody>
      </p:sp>
      <p:sp>
        <p:nvSpPr>
          <p:cNvPr id="17" name="Rectangle 16"/>
          <p:cNvSpPr/>
          <p:nvPr userDrawn="1"/>
        </p:nvSpPr>
        <p:spPr>
          <a:xfrm>
            <a:off x="626458" y="2635420"/>
            <a:ext cx="646112" cy="24288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18" name="Text Placeholder 3">
            <a:extLst>
              <a:ext uri="{FF2B5EF4-FFF2-40B4-BE49-F238E27FC236}">
                <a16:creationId xmlns:a16="http://schemas.microsoft.com/office/drawing/2014/main" id="{50589394-5D7C-2F4F-8AB5-24F785BCD2BF}"/>
              </a:ext>
            </a:extLst>
          </p:cNvPr>
          <p:cNvSpPr>
            <a:spLocks noGrp="1"/>
          </p:cNvSpPr>
          <p:nvPr>
            <p:ph type="body" sz="quarter" idx="18" hasCustomPrompt="1"/>
          </p:nvPr>
        </p:nvSpPr>
        <p:spPr>
          <a:xfrm>
            <a:off x="8698453" y="1196975"/>
            <a:ext cx="2880000" cy="1044000"/>
          </a:xfrm>
        </p:spPr>
        <p:txBody>
          <a:bodyPr anchor="b" anchorCtr="0"/>
          <a:lstStyle>
            <a:lvl1pPr marL="0" indent="0" algn="ctr">
              <a:lnSpc>
                <a:spcPct val="83000"/>
              </a:lnSpc>
              <a:buFont typeface="Arial" panose="020B0604020202020204" pitchFamily="34" charset="0"/>
              <a:buNone/>
              <a:defRPr sz="4000" cap="all"/>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fakta</a:t>
            </a:r>
            <a:endParaRPr lang="en-US" dirty="0"/>
          </a:p>
        </p:txBody>
      </p:sp>
    </p:spTree>
    <p:extLst>
      <p:ext uri="{BB962C8B-B14F-4D97-AF65-F5344CB8AC3E}">
        <p14:creationId xmlns:p14="http://schemas.microsoft.com/office/powerpoint/2010/main" val="4061696824"/>
      </p:ext>
    </p:extLst>
  </p:cSld>
  <p:clrMapOvr>
    <a:overrideClrMapping bg1="dk1" tx1="lt1" bg2="dk2" tx2="lt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re fakta bokse med overskrif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DE34581-61B1-43B4-89CD-8A86E1DFD75C}"/>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8" name="think-cell Slide" r:id="rId5" imgW="521" imgH="520" progId="TCLayout.ActiveDocument.1">
                  <p:embed/>
                </p:oleObj>
              </mc:Choice>
              <mc:Fallback>
                <p:oleObj name="think-cell Slide" r:id="rId5" imgW="521" imgH="520" progId="TCLayout.ActiveDocument.1">
                  <p:embed/>
                  <p:pic>
                    <p:nvPicPr>
                      <p:cNvPr id="4" name="Objekt 3" hidden="1">
                        <a:extLst>
                          <a:ext uri="{FF2B5EF4-FFF2-40B4-BE49-F238E27FC236}">
                            <a16:creationId xmlns:a16="http://schemas.microsoft.com/office/drawing/2014/main" id="{6DE34581-61B1-43B4-89CD-8A86E1DFD7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E35A48F9-4DD5-4D79-99E6-AEF26698288B}"/>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sp>
        <p:nvSpPr>
          <p:cNvPr id="2" name="Titel 1">
            <a:extLst>
              <a:ext uri="{FF2B5EF4-FFF2-40B4-BE49-F238E27FC236}">
                <a16:creationId xmlns:a16="http://schemas.microsoft.com/office/drawing/2014/main" id="{6401184C-B22A-AD40-8EC2-6DB7F8554D36}"/>
              </a:ext>
            </a:extLst>
          </p:cNvPr>
          <p:cNvSpPr>
            <a:spLocks noGrp="1"/>
          </p:cNvSpPr>
          <p:nvPr>
            <p:ph type="title" hasCustomPrompt="1"/>
          </p:nvPr>
        </p:nvSpPr>
        <p:spPr/>
        <p:txBody>
          <a:bodyPr/>
          <a:lstStyle>
            <a:lvl1pPr>
              <a:defRPr/>
            </a:lvl1pPr>
          </a:lstStyle>
          <a:p>
            <a:r>
              <a:rPr lang="en-US"/>
              <a:t>Indsæt overskrift</a:t>
            </a:r>
            <a:endParaRPr lang="en-US" dirty="0"/>
          </a:p>
        </p:txBody>
      </p:sp>
      <p:sp>
        <p:nvSpPr>
          <p:cNvPr id="20" name="Pladsholder til tekst 20">
            <a:extLst>
              <a:ext uri="{FF2B5EF4-FFF2-40B4-BE49-F238E27FC236}">
                <a16:creationId xmlns:a16="http://schemas.microsoft.com/office/drawing/2014/main" id="{589E580B-CAF0-0843-9549-CC4DC8EB8383}"/>
              </a:ext>
            </a:extLst>
          </p:cNvPr>
          <p:cNvSpPr>
            <a:spLocks noGrp="1"/>
          </p:cNvSpPr>
          <p:nvPr>
            <p:ph type="body" sz="quarter" idx="18" hasCustomPrompt="1"/>
          </p:nvPr>
        </p:nvSpPr>
        <p:spPr>
          <a:xfrm>
            <a:off x="982662" y="2227943"/>
            <a:ext cx="3248251" cy="4126359"/>
          </a:xfrm>
          <a:solidFill>
            <a:schemeClr val="accent1"/>
          </a:solidFill>
        </p:spPr>
        <p:txBody>
          <a:bodyPr/>
          <a:lstStyle>
            <a:lvl1pPr>
              <a:defRPr>
                <a:solidFill>
                  <a:schemeClr val="accent1"/>
                </a:solidFill>
              </a:defRPr>
            </a:lvl1pPr>
          </a:lstStyle>
          <a:p>
            <a:pPr lvl="0"/>
            <a:r>
              <a:rPr lang="en-US"/>
              <a:t>Klik for at redigere i master</a:t>
            </a:r>
            <a:endParaRPr lang="en-US" dirty="0"/>
          </a:p>
        </p:txBody>
      </p:sp>
      <p:sp>
        <p:nvSpPr>
          <p:cNvPr id="21" name="Pladsholder til tekst 20">
            <a:extLst>
              <a:ext uri="{FF2B5EF4-FFF2-40B4-BE49-F238E27FC236}">
                <a16:creationId xmlns:a16="http://schemas.microsoft.com/office/drawing/2014/main" id="{E173464F-0D76-D747-8AD0-2735D2AA339C}"/>
              </a:ext>
            </a:extLst>
          </p:cNvPr>
          <p:cNvSpPr>
            <a:spLocks noGrp="1"/>
          </p:cNvSpPr>
          <p:nvPr>
            <p:ph type="body" sz="quarter" idx="19" hasCustomPrompt="1"/>
          </p:nvPr>
        </p:nvSpPr>
        <p:spPr>
          <a:xfrm>
            <a:off x="4465769" y="2227943"/>
            <a:ext cx="3248251" cy="4126359"/>
          </a:xfrm>
          <a:solidFill>
            <a:schemeClr val="accent2"/>
          </a:solidFill>
        </p:spPr>
        <p:txBody>
          <a:bodyPr/>
          <a:lstStyle>
            <a:lvl1pPr>
              <a:defRPr>
                <a:solidFill>
                  <a:schemeClr val="accent2"/>
                </a:solidFill>
              </a:defRPr>
            </a:lvl1pPr>
          </a:lstStyle>
          <a:p>
            <a:pPr lvl="0"/>
            <a:r>
              <a:rPr lang="en-US"/>
              <a:t>Klik for at redigere i master</a:t>
            </a:r>
            <a:endParaRPr lang="en-US" dirty="0"/>
          </a:p>
        </p:txBody>
      </p:sp>
      <p:sp>
        <p:nvSpPr>
          <p:cNvPr id="22" name="Pladsholder til tekst 20">
            <a:extLst>
              <a:ext uri="{FF2B5EF4-FFF2-40B4-BE49-F238E27FC236}">
                <a16:creationId xmlns:a16="http://schemas.microsoft.com/office/drawing/2014/main" id="{D7009CD0-C6D3-DA47-9564-AA91F054FE89}"/>
              </a:ext>
            </a:extLst>
          </p:cNvPr>
          <p:cNvSpPr>
            <a:spLocks noGrp="1"/>
          </p:cNvSpPr>
          <p:nvPr>
            <p:ph type="body" sz="quarter" idx="20" hasCustomPrompt="1"/>
          </p:nvPr>
        </p:nvSpPr>
        <p:spPr>
          <a:xfrm>
            <a:off x="7948876" y="2227943"/>
            <a:ext cx="3248251" cy="4126359"/>
          </a:xfrm>
          <a:solidFill>
            <a:schemeClr val="accent6">
              <a:lumMod val="75000"/>
            </a:schemeClr>
          </a:solidFill>
        </p:spPr>
        <p:txBody>
          <a:bodyPr/>
          <a:lstStyle>
            <a:lvl1pPr>
              <a:defRPr>
                <a:solidFill>
                  <a:schemeClr val="accent6">
                    <a:lumMod val="75000"/>
                  </a:schemeClr>
                </a:solidFill>
              </a:defRPr>
            </a:lvl1pPr>
          </a:lstStyle>
          <a:p>
            <a:pPr lvl="0"/>
            <a:r>
              <a:rPr lang="en-US"/>
              <a:t>Klik for at redigere i master</a:t>
            </a:r>
            <a:endParaRPr lang="en-US" dirty="0"/>
          </a:p>
        </p:txBody>
      </p:sp>
      <p:sp>
        <p:nvSpPr>
          <p:cNvPr id="26" name="Text Placeholder 3">
            <a:extLst>
              <a:ext uri="{FF2B5EF4-FFF2-40B4-BE49-F238E27FC236}">
                <a16:creationId xmlns:a16="http://schemas.microsoft.com/office/drawing/2014/main" id="{2B673409-9F47-FB45-A48A-89910EF4B457}"/>
              </a:ext>
            </a:extLst>
          </p:cNvPr>
          <p:cNvSpPr>
            <a:spLocks noGrp="1"/>
          </p:cNvSpPr>
          <p:nvPr>
            <p:ph type="body" sz="quarter" idx="14" hasCustomPrompt="1"/>
          </p:nvPr>
        </p:nvSpPr>
        <p:spPr>
          <a:xfrm>
            <a:off x="1294667"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a:t>
            </a:r>
            <a:br>
              <a:rPr lang="en-US"/>
            </a:br>
            <a:r>
              <a:rPr lang="en-US"/>
              <a:t>fakta</a:t>
            </a:r>
            <a:endParaRPr lang="en-US" dirty="0"/>
          </a:p>
        </p:txBody>
      </p:sp>
      <p:sp>
        <p:nvSpPr>
          <p:cNvPr id="28" name="Text Placeholder 3">
            <a:extLst>
              <a:ext uri="{FF2B5EF4-FFF2-40B4-BE49-F238E27FC236}">
                <a16:creationId xmlns:a16="http://schemas.microsoft.com/office/drawing/2014/main" id="{774B29C6-58EB-D34C-9127-ACEA3C842249}"/>
              </a:ext>
            </a:extLst>
          </p:cNvPr>
          <p:cNvSpPr>
            <a:spLocks noGrp="1"/>
          </p:cNvSpPr>
          <p:nvPr>
            <p:ph type="body" sz="quarter" idx="23" hasCustomPrompt="1"/>
          </p:nvPr>
        </p:nvSpPr>
        <p:spPr>
          <a:xfrm>
            <a:off x="4727295"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a:t>
            </a:r>
            <a:br>
              <a:rPr lang="en-US"/>
            </a:br>
            <a:r>
              <a:rPr lang="en-US"/>
              <a:t>fakta</a:t>
            </a:r>
            <a:endParaRPr lang="en-US" dirty="0"/>
          </a:p>
        </p:txBody>
      </p:sp>
      <p:sp>
        <p:nvSpPr>
          <p:cNvPr id="30" name="Text Placeholder 3">
            <a:extLst>
              <a:ext uri="{FF2B5EF4-FFF2-40B4-BE49-F238E27FC236}">
                <a16:creationId xmlns:a16="http://schemas.microsoft.com/office/drawing/2014/main" id="{891A87E3-BEAA-A645-A475-1D81C3B49655}"/>
              </a:ext>
            </a:extLst>
          </p:cNvPr>
          <p:cNvSpPr>
            <a:spLocks noGrp="1"/>
          </p:cNvSpPr>
          <p:nvPr>
            <p:ph type="body" sz="quarter" idx="25" hasCustomPrompt="1"/>
          </p:nvPr>
        </p:nvSpPr>
        <p:spPr>
          <a:xfrm>
            <a:off x="8217980"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a:t>
            </a:r>
            <a:br>
              <a:rPr lang="en-US"/>
            </a:br>
            <a:r>
              <a:rPr lang="en-US"/>
              <a:t>fakta</a:t>
            </a:r>
            <a:endParaRPr lang="en-US" dirty="0"/>
          </a:p>
        </p:txBody>
      </p:sp>
      <p:sp>
        <p:nvSpPr>
          <p:cNvPr id="32" name="Pladsholder til dato 2">
            <a:extLst>
              <a:ext uri="{FF2B5EF4-FFF2-40B4-BE49-F238E27FC236}">
                <a16:creationId xmlns:a16="http://schemas.microsoft.com/office/drawing/2014/main" id="{6163A414-1DB0-E44F-AA68-084AD5F92A3D}"/>
              </a:ext>
            </a:extLst>
          </p:cNvPr>
          <p:cNvSpPr>
            <a:spLocks noGrp="1"/>
          </p:cNvSpPr>
          <p:nvPr>
            <p:ph type="dt" sz="half" idx="10"/>
          </p:nvPr>
        </p:nvSpPr>
        <p:spPr>
          <a:xfrm>
            <a:off x="8707583" y="6525816"/>
            <a:ext cx="2489544" cy="180000"/>
          </a:xfrm>
        </p:spPr>
        <p:txBody>
          <a:bodyPr/>
          <a:lstStyle/>
          <a:p>
            <a:r>
              <a:rPr lang="da-DK"/>
              <a:t>May 2019</a:t>
            </a:r>
            <a:endParaRPr lang="en-US" dirty="0"/>
          </a:p>
        </p:txBody>
      </p:sp>
      <p:sp>
        <p:nvSpPr>
          <p:cNvPr id="33" name="Pladsholder til sidefod 3">
            <a:extLst>
              <a:ext uri="{FF2B5EF4-FFF2-40B4-BE49-F238E27FC236}">
                <a16:creationId xmlns:a16="http://schemas.microsoft.com/office/drawing/2014/main" id="{D5BDAAB7-64D3-6F4A-B353-FD3D427AA9B4}"/>
              </a:ext>
            </a:extLst>
          </p:cNvPr>
          <p:cNvSpPr>
            <a:spLocks noGrp="1"/>
          </p:cNvSpPr>
          <p:nvPr>
            <p:ph type="ftr" sz="quarter" idx="11"/>
          </p:nvPr>
        </p:nvSpPr>
        <p:spPr>
          <a:xfrm>
            <a:off x="368559" y="6525816"/>
            <a:ext cx="8182359" cy="180000"/>
          </a:xfrm>
        </p:spPr>
        <p:txBody>
          <a:bodyPr/>
          <a:lstStyle/>
          <a:p>
            <a:r>
              <a:rPr lang="en-US"/>
              <a:t>GIE meeting</a:t>
            </a:r>
            <a:endParaRPr lang="en-US" dirty="0"/>
          </a:p>
        </p:txBody>
      </p:sp>
      <p:sp>
        <p:nvSpPr>
          <p:cNvPr id="34" name="Pladsholder til slidenummer 4">
            <a:extLst>
              <a:ext uri="{FF2B5EF4-FFF2-40B4-BE49-F238E27FC236}">
                <a16:creationId xmlns:a16="http://schemas.microsoft.com/office/drawing/2014/main" id="{69B55418-5C62-9B4C-862D-AC2428413CA1}"/>
              </a:ext>
            </a:extLst>
          </p:cNvPr>
          <p:cNvSpPr>
            <a:spLocks noGrp="1"/>
          </p:cNvSpPr>
          <p:nvPr>
            <p:ph type="sldNum" sz="quarter" idx="12"/>
          </p:nvPr>
        </p:nvSpPr>
        <p:spPr>
          <a:xfrm>
            <a:off x="11209338" y="6525816"/>
            <a:ext cx="610451" cy="180000"/>
          </a:xfrm>
        </p:spPr>
        <p:txBody>
          <a:bodyPr/>
          <a:lstStyle/>
          <a:p>
            <a:fld id="{24C8C45C-947F-4981-8B3F-4F32E973C901}" type="slidenum">
              <a:rPr lang="en-US" smtClean="0"/>
              <a:pPr/>
              <a:t>‹#›</a:t>
            </a:fld>
            <a:endParaRPr lang="en-US" dirty="0"/>
          </a:p>
        </p:txBody>
      </p:sp>
      <p:sp>
        <p:nvSpPr>
          <p:cNvPr id="15" name="Text Placeholder 12">
            <a:extLst>
              <a:ext uri="{FF2B5EF4-FFF2-40B4-BE49-F238E27FC236}">
                <a16:creationId xmlns:a16="http://schemas.microsoft.com/office/drawing/2014/main" id="{DADE3066-ED1D-4F49-93F8-391ABD55C090}"/>
              </a:ext>
            </a:extLst>
          </p:cNvPr>
          <p:cNvSpPr>
            <a:spLocks noGrp="1"/>
          </p:cNvSpPr>
          <p:nvPr>
            <p:ph type="body" sz="quarter" idx="27" hasCustomPrompt="1"/>
          </p:nvPr>
        </p:nvSpPr>
        <p:spPr>
          <a:xfrm>
            <a:off x="1290818"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en-US"/>
              <a:t>Klik for at indsætte tekst</a:t>
            </a:r>
          </a:p>
          <a:p>
            <a:pPr lvl="1"/>
            <a:r>
              <a:rPr lang="en-US"/>
              <a:t>Second level</a:t>
            </a:r>
            <a:endParaRPr lang="en-US" dirty="0"/>
          </a:p>
        </p:txBody>
      </p:sp>
      <p:sp>
        <p:nvSpPr>
          <p:cNvPr id="16" name="Text Placeholder 12">
            <a:extLst>
              <a:ext uri="{FF2B5EF4-FFF2-40B4-BE49-F238E27FC236}">
                <a16:creationId xmlns:a16="http://schemas.microsoft.com/office/drawing/2014/main" id="{8D7F8424-2719-084A-B7D9-9177E1063F2A}"/>
              </a:ext>
            </a:extLst>
          </p:cNvPr>
          <p:cNvSpPr>
            <a:spLocks noGrp="1"/>
          </p:cNvSpPr>
          <p:nvPr>
            <p:ph type="body" sz="quarter" idx="28" hasCustomPrompt="1"/>
          </p:nvPr>
        </p:nvSpPr>
        <p:spPr>
          <a:xfrm>
            <a:off x="4719818"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en-US"/>
              <a:t>Klik for at indsætte tekst</a:t>
            </a:r>
          </a:p>
          <a:p>
            <a:pPr lvl="1"/>
            <a:r>
              <a:rPr lang="en-US"/>
              <a:t>Second level</a:t>
            </a:r>
            <a:endParaRPr lang="en-US" dirty="0"/>
          </a:p>
        </p:txBody>
      </p:sp>
      <p:sp>
        <p:nvSpPr>
          <p:cNvPr id="17" name="Text Placeholder 12">
            <a:extLst>
              <a:ext uri="{FF2B5EF4-FFF2-40B4-BE49-F238E27FC236}">
                <a16:creationId xmlns:a16="http://schemas.microsoft.com/office/drawing/2014/main" id="{6C2F8DB8-478D-2747-97E7-34A79FA6D6D3}"/>
              </a:ext>
            </a:extLst>
          </p:cNvPr>
          <p:cNvSpPr>
            <a:spLocks noGrp="1"/>
          </p:cNvSpPr>
          <p:nvPr>
            <p:ph type="body" sz="quarter" idx="29" hasCustomPrompt="1"/>
          </p:nvPr>
        </p:nvSpPr>
        <p:spPr>
          <a:xfrm>
            <a:off x="8211880"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en-US"/>
              <a:t>Klik for at indsætte tekst</a:t>
            </a:r>
          </a:p>
          <a:p>
            <a:pPr lvl="1"/>
            <a:r>
              <a:rPr lang="en-US"/>
              <a:t>Second level</a:t>
            </a:r>
            <a:endParaRPr lang="en-US" dirty="0"/>
          </a:p>
        </p:txBody>
      </p:sp>
    </p:spTree>
    <p:extLst>
      <p:ext uri="{BB962C8B-B14F-4D97-AF65-F5344CB8AC3E}">
        <p14:creationId xmlns:p14="http://schemas.microsoft.com/office/powerpoint/2010/main" val="22353321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 fakta bokse">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A70984DD-6FD6-BD49-9823-E01C00074D58}"/>
              </a:ext>
            </a:extLst>
          </p:cNvPr>
          <p:cNvSpPr/>
          <p:nvPr userDrawn="1"/>
        </p:nvSpPr>
        <p:spPr>
          <a:xfrm>
            <a:off x="0" y="0"/>
            <a:ext cx="6102000" cy="343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29" name="Rektangel 28">
            <a:extLst>
              <a:ext uri="{FF2B5EF4-FFF2-40B4-BE49-F238E27FC236}">
                <a16:creationId xmlns:a16="http://schemas.microsoft.com/office/drawing/2014/main" id="{B49CAF25-176E-5A4D-9CBF-5CBAFF28450B}"/>
              </a:ext>
            </a:extLst>
          </p:cNvPr>
          <p:cNvSpPr/>
          <p:nvPr userDrawn="1"/>
        </p:nvSpPr>
        <p:spPr>
          <a:xfrm>
            <a:off x="6102000" y="0"/>
            <a:ext cx="6102000"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30" name="Rektangel 29">
            <a:extLst>
              <a:ext uri="{FF2B5EF4-FFF2-40B4-BE49-F238E27FC236}">
                <a16:creationId xmlns:a16="http://schemas.microsoft.com/office/drawing/2014/main" id="{2675EE6C-9AF8-5640-8C49-6FCA0D37E4BD}"/>
              </a:ext>
            </a:extLst>
          </p:cNvPr>
          <p:cNvSpPr/>
          <p:nvPr userDrawn="1"/>
        </p:nvSpPr>
        <p:spPr>
          <a:xfrm>
            <a:off x="0" y="3438000"/>
            <a:ext cx="6102000" cy="343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31" name="Rektangel 30">
            <a:extLst>
              <a:ext uri="{FF2B5EF4-FFF2-40B4-BE49-F238E27FC236}">
                <a16:creationId xmlns:a16="http://schemas.microsoft.com/office/drawing/2014/main" id="{0250F1C9-E8CA-1D4D-A702-30E9656301CB}"/>
              </a:ext>
            </a:extLst>
          </p:cNvPr>
          <p:cNvSpPr/>
          <p:nvPr userDrawn="1"/>
        </p:nvSpPr>
        <p:spPr>
          <a:xfrm>
            <a:off x="6102000" y="3438000"/>
            <a:ext cx="6102000" cy="343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46" name="Text Placeholder 3">
            <a:extLst>
              <a:ext uri="{FF2B5EF4-FFF2-40B4-BE49-F238E27FC236}">
                <a16:creationId xmlns:a16="http://schemas.microsoft.com/office/drawing/2014/main" id="{2C280509-312C-EC4E-9055-368511E7B3E1}"/>
              </a:ext>
            </a:extLst>
          </p:cNvPr>
          <p:cNvSpPr>
            <a:spLocks noGrp="1"/>
          </p:cNvSpPr>
          <p:nvPr>
            <p:ph type="body" sz="quarter" idx="14" hasCustomPrompt="1"/>
          </p:nvPr>
        </p:nvSpPr>
        <p:spPr>
          <a:xfrm>
            <a:off x="610242" y="521417"/>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overskrift</a:t>
            </a:r>
            <a:endParaRPr lang="en-US" dirty="0"/>
          </a:p>
        </p:txBody>
      </p:sp>
      <p:sp>
        <p:nvSpPr>
          <p:cNvPr id="50" name="Text Placeholder 3">
            <a:extLst>
              <a:ext uri="{FF2B5EF4-FFF2-40B4-BE49-F238E27FC236}">
                <a16:creationId xmlns:a16="http://schemas.microsoft.com/office/drawing/2014/main" id="{E5BCC922-2B97-6D45-B26E-C9DCD91CA61B}"/>
              </a:ext>
            </a:extLst>
          </p:cNvPr>
          <p:cNvSpPr>
            <a:spLocks noGrp="1"/>
          </p:cNvSpPr>
          <p:nvPr>
            <p:ph type="body" sz="quarter" idx="18" hasCustomPrompt="1"/>
          </p:nvPr>
        </p:nvSpPr>
        <p:spPr>
          <a:xfrm>
            <a:off x="6786475" y="3890259"/>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overskrift</a:t>
            </a:r>
            <a:endParaRPr lang="en-US" dirty="0"/>
          </a:p>
        </p:txBody>
      </p:sp>
      <p:sp>
        <p:nvSpPr>
          <p:cNvPr id="52" name="Text Placeholder 3">
            <a:extLst>
              <a:ext uri="{FF2B5EF4-FFF2-40B4-BE49-F238E27FC236}">
                <a16:creationId xmlns:a16="http://schemas.microsoft.com/office/drawing/2014/main" id="{F1A17406-FA28-AF46-87B0-90C9678BE33E}"/>
              </a:ext>
            </a:extLst>
          </p:cNvPr>
          <p:cNvSpPr>
            <a:spLocks noGrp="1"/>
          </p:cNvSpPr>
          <p:nvPr>
            <p:ph type="body" sz="quarter" idx="20" hasCustomPrompt="1"/>
          </p:nvPr>
        </p:nvSpPr>
        <p:spPr>
          <a:xfrm>
            <a:off x="6786475" y="521417"/>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overskrift</a:t>
            </a:r>
            <a:endParaRPr lang="en-US" dirty="0"/>
          </a:p>
        </p:txBody>
      </p:sp>
      <p:sp>
        <p:nvSpPr>
          <p:cNvPr id="14" name="Text Placeholder 12">
            <a:extLst>
              <a:ext uri="{FF2B5EF4-FFF2-40B4-BE49-F238E27FC236}">
                <a16:creationId xmlns:a16="http://schemas.microsoft.com/office/drawing/2014/main" id="{9974BBC5-8EA0-F544-8FD6-3D20CB74A771}"/>
              </a:ext>
            </a:extLst>
          </p:cNvPr>
          <p:cNvSpPr>
            <a:spLocks noGrp="1"/>
          </p:cNvSpPr>
          <p:nvPr>
            <p:ph type="body" sz="quarter" idx="27" hasCustomPrompt="1"/>
          </p:nvPr>
        </p:nvSpPr>
        <p:spPr>
          <a:xfrm>
            <a:off x="606392" y="1659655"/>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en-US"/>
              <a:t>Klik for at indsætte tekst</a:t>
            </a:r>
          </a:p>
          <a:p>
            <a:pPr lvl="1"/>
            <a:r>
              <a:rPr lang="en-US"/>
              <a:t>Second level</a:t>
            </a:r>
            <a:endParaRPr lang="en-US" dirty="0"/>
          </a:p>
        </p:txBody>
      </p:sp>
      <p:sp>
        <p:nvSpPr>
          <p:cNvPr id="16" name="Text Placeholder 12">
            <a:extLst>
              <a:ext uri="{FF2B5EF4-FFF2-40B4-BE49-F238E27FC236}">
                <a16:creationId xmlns:a16="http://schemas.microsoft.com/office/drawing/2014/main" id="{12B58BAF-EB02-584B-8F8E-308E103900F5}"/>
              </a:ext>
            </a:extLst>
          </p:cNvPr>
          <p:cNvSpPr>
            <a:spLocks noGrp="1"/>
          </p:cNvSpPr>
          <p:nvPr>
            <p:ph type="body" sz="quarter" idx="28" hasCustomPrompt="1"/>
          </p:nvPr>
        </p:nvSpPr>
        <p:spPr>
          <a:xfrm>
            <a:off x="6786475" y="1659655"/>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en-US"/>
              <a:t>Klik for at indsætte tekst</a:t>
            </a:r>
          </a:p>
          <a:p>
            <a:pPr lvl="1"/>
            <a:r>
              <a:rPr lang="en-US"/>
              <a:t>Second level</a:t>
            </a:r>
            <a:endParaRPr lang="en-US" dirty="0"/>
          </a:p>
        </p:txBody>
      </p:sp>
      <p:sp>
        <p:nvSpPr>
          <p:cNvPr id="17" name="Text Placeholder 12">
            <a:extLst>
              <a:ext uri="{FF2B5EF4-FFF2-40B4-BE49-F238E27FC236}">
                <a16:creationId xmlns:a16="http://schemas.microsoft.com/office/drawing/2014/main" id="{04355197-8B32-A144-8021-CBD5A1671475}"/>
              </a:ext>
            </a:extLst>
          </p:cNvPr>
          <p:cNvSpPr>
            <a:spLocks noGrp="1"/>
          </p:cNvSpPr>
          <p:nvPr>
            <p:ph type="body" sz="quarter" idx="29" hasCustomPrompt="1"/>
          </p:nvPr>
        </p:nvSpPr>
        <p:spPr>
          <a:xfrm>
            <a:off x="6786475" y="5033476"/>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en-US"/>
              <a:t>Klik for at indsætte tekst</a:t>
            </a:r>
          </a:p>
          <a:p>
            <a:pPr lvl="1"/>
            <a:r>
              <a:rPr lang="en-US"/>
              <a:t>Second level</a:t>
            </a:r>
            <a:endParaRPr lang="en-US" dirty="0"/>
          </a:p>
        </p:txBody>
      </p:sp>
      <p:sp>
        <p:nvSpPr>
          <p:cNvPr id="18" name="Text Placeholder 3">
            <a:extLst>
              <a:ext uri="{FF2B5EF4-FFF2-40B4-BE49-F238E27FC236}">
                <a16:creationId xmlns:a16="http://schemas.microsoft.com/office/drawing/2014/main" id="{A51270C9-01F1-7647-BB60-707726D0B499}"/>
              </a:ext>
            </a:extLst>
          </p:cNvPr>
          <p:cNvSpPr>
            <a:spLocks noGrp="1"/>
          </p:cNvSpPr>
          <p:nvPr>
            <p:ph type="body" sz="quarter" idx="30" hasCustomPrompt="1"/>
          </p:nvPr>
        </p:nvSpPr>
        <p:spPr>
          <a:xfrm>
            <a:off x="606392" y="3890259"/>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overskrift</a:t>
            </a:r>
            <a:endParaRPr lang="en-US" dirty="0"/>
          </a:p>
        </p:txBody>
      </p:sp>
      <p:sp>
        <p:nvSpPr>
          <p:cNvPr id="19" name="Text Placeholder 12">
            <a:extLst>
              <a:ext uri="{FF2B5EF4-FFF2-40B4-BE49-F238E27FC236}">
                <a16:creationId xmlns:a16="http://schemas.microsoft.com/office/drawing/2014/main" id="{097DD830-2D9D-0F4F-AB87-6A0DF610B3EB}"/>
              </a:ext>
            </a:extLst>
          </p:cNvPr>
          <p:cNvSpPr>
            <a:spLocks noGrp="1"/>
          </p:cNvSpPr>
          <p:nvPr>
            <p:ph type="body" sz="quarter" idx="31" hasCustomPrompt="1"/>
          </p:nvPr>
        </p:nvSpPr>
        <p:spPr>
          <a:xfrm>
            <a:off x="606392" y="5033476"/>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en-US"/>
              <a:t>Klik for at indsætte tekst</a:t>
            </a:r>
          </a:p>
          <a:p>
            <a:pPr lvl="1"/>
            <a:r>
              <a:rPr lang="en-US"/>
              <a:t>Second level</a:t>
            </a:r>
            <a:endParaRPr lang="en-US" dirty="0"/>
          </a:p>
        </p:txBody>
      </p:sp>
    </p:spTree>
    <p:extLst>
      <p:ext uri="{BB962C8B-B14F-4D97-AF65-F5344CB8AC3E}">
        <p14:creationId xmlns:p14="http://schemas.microsoft.com/office/powerpoint/2010/main" val="9825168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ub-title slide GI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26D9E0-8DC8-47CD-96E8-7524545408A6}"/>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0CE6DBF8-1528-4554-9179-783125EECB3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96505" y="349212"/>
            <a:ext cx="1891404" cy="952049"/>
          </a:xfrm>
          <a:prstGeom prst="rect">
            <a:avLst/>
          </a:prstGeom>
        </p:spPr>
      </p:pic>
    </p:spTree>
    <p:extLst>
      <p:ext uri="{BB962C8B-B14F-4D97-AF65-F5344CB8AC3E}">
        <p14:creationId xmlns:p14="http://schemas.microsoft.com/office/powerpoint/2010/main" val="120124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6 fakta boks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4231207E-52DE-7743-B71F-230159D42985}"/>
              </a:ext>
            </a:extLst>
          </p:cNvPr>
          <p:cNvSpPr/>
          <p:nvPr userDrawn="1"/>
        </p:nvSpPr>
        <p:spPr>
          <a:xfrm>
            <a:off x="0" y="3438854"/>
            <a:ext cx="4064399"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13" name="Rektangel 12">
            <a:extLst>
              <a:ext uri="{FF2B5EF4-FFF2-40B4-BE49-F238E27FC236}">
                <a16:creationId xmlns:a16="http://schemas.microsoft.com/office/drawing/2014/main" id="{363B3948-444E-AA45-B1E9-7EDF40549589}"/>
              </a:ext>
            </a:extLst>
          </p:cNvPr>
          <p:cNvSpPr/>
          <p:nvPr userDrawn="1"/>
        </p:nvSpPr>
        <p:spPr>
          <a:xfrm>
            <a:off x="4060281" y="3438854"/>
            <a:ext cx="4064399" cy="343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14" name="Rektangel 13">
            <a:extLst>
              <a:ext uri="{FF2B5EF4-FFF2-40B4-BE49-F238E27FC236}">
                <a16:creationId xmlns:a16="http://schemas.microsoft.com/office/drawing/2014/main" id="{B5F8A012-C0A3-7947-83C8-A529753F4C0A}"/>
              </a:ext>
            </a:extLst>
          </p:cNvPr>
          <p:cNvSpPr/>
          <p:nvPr userDrawn="1"/>
        </p:nvSpPr>
        <p:spPr>
          <a:xfrm>
            <a:off x="8123999" y="3438854"/>
            <a:ext cx="4068000" cy="343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6" name="Rektangel 5">
            <a:extLst>
              <a:ext uri="{FF2B5EF4-FFF2-40B4-BE49-F238E27FC236}">
                <a16:creationId xmlns:a16="http://schemas.microsoft.com/office/drawing/2014/main" id="{0BC0267F-007F-3641-8922-B7E2F637F90A}"/>
              </a:ext>
            </a:extLst>
          </p:cNvPr>
          <p:cNvSpPr/>
          <p:nvPr userDrawn="1"/>
        </p:nvSpPr>
        <p:spPr>
          <a:xfrm>
            <a:off x="0" y="0"/>
            <a:ext cx="4064399" cy="343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8" name="Rektangel 7">
            <a:extLst>
              <a:ext uri="{FF2B5EF4-FFF2-40B4-BE49-F238E27FC236}">
                <a16:creationId xmlns:a16="http://schemas.microsoft.com/office/drawing/2014/main" id="{6D5C2644-5515-1A4C-861C-7326752F58CA}"/>
              </a:ext>
            </a:extLst>
          </p:cNvPr>
          <p:cNvSpPr/>
          <p:nvPr userDrawn="1"/>
        </p:nvSpPr>
        <p:spPr>
          <a:xfrm>
            <a:off x="4060281" y="0"/>
            <a:ext cx="4064399" cy="343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10" name="Rektangel 9">
            <a:extLst>
              <a:ext uri="{FF2B5EF4-FFF2-40B4-BE49-F238E27FC236}">
                <a16:creationId xmlns:a16="http://schemas.microsoft.com/office/drawing/2014/main" id="{D49124EA-328E-544F-8063-AD5A0253A45B}"/>
              </a:ext>
            </a:extLst>
          </p:cNvPr>
          <p:cNvSpPr/>
          <p:nvPr userDrawn="1"/>
        </p:nvSpPr>
        <p:spPr>
          <a:xfrm>
            <a:off x="8123999" y="0"/>
            <a:ext cx="4068000"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15" name="Text Placeholder 3">
            <a:extLst>
              <a:ext uri="{FF2B5EF4-FFF2-40B4-BE49-F238E27FC236}">
                <a16:creationId xmlns:a16="http://schemas.microsoft.com/office/drawing/2014/main" id="{E90D8679-556B-8A40-899D-9C84538CB769}"/>
              </a:ext>
            </a:extLst>
          </p:cNvPr>
          <p:cNvSpPr>
            <a:spLocks noGrp="1"/>
          </p:cNvSpPr>
          <p:nvPr>
            <p:ph type="body" sz="quarter" idx="14" hasCustomPrompt="1"/>
          </p:nvPr>
        </p:nvSpPr>
        <p:spPr>
          <a:xfrm>
            <a:off x="592199"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kon </a:t>
            </a:r>
            <a:br>
              <a:rPr lang="en-US"/>
            </a:br>
            <a:r>
              <a:rPr lang="en-US"/>
              <a:t>tekst</a:t>
            </a:r>
            <a:endParaRPr lang="en-US" dirty="0"/>
          </a:p>
        </p:txBody>
      </p:sp>
      <p:sp>
        <p:nvSpPr>
          <p:cNvPr id="16" name="Text Placeholder 3">
            <a:extLst>
              <a:ext uri="{FF2B5EF4-FFF2-40B4-BE49-F238E27FC236}">
                <a16:creationId xmlns:a16="http://schemas.microsoft.com/office/drawing/2014/main" id="{54B3218E-0749-9E44-8EB8-F4A37D35CA8B}"/>
              </a:ext>
            </a:extLst>
          </p:cNvPr>
          <p:cNvSpPr>
            <a:spLocks noGrp="1"/>
          </p:cNvSpPr>
          <p:nvPr>
            <p:ph type="body" sz="quarter" idx="15" hasCustomPrompt="1"/>
          </p:nvPr>
        </p:nvSpPr>
        <p:spPr>
          <a:xfrm>
            <a:off x="4636298"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kon </a:t>
            </a:r>
            <a:br>
              <a:rPr lang="en-US"/>
            </a:br>
            <a:r>
              <a:rPr lang="en-US"/>
              <a:t>tekst</a:t>
            </a:r>
            <a:endParaRPr lang="en-US" dirty="0"/>
          </a:p>
        </p:txBody>
      </p:sp>
      <p:sp>
        <p:nvSpPr>
          <p:cNvPr id="17" name="Text Placeholder 3">
            <a:extLst>
              <a:ext uri="{FF2B5EF4-FFF2-40B4-BE49-F238E27FC236}">
                <a16:creationId xmlns:a16="http://schemas.microsoft.com/office/drawing/2014/main" id="{C95927F8-1F62-F141-B530-0EFB97A9C3CF}"/>
              </a:ext>
            </a:extLst>
          </p:cNvPr>
          <p:cNvSpPr>
            <a:spLocks noGrp="1"/>
          </p:cNvSpPr>
          <p:nvPr>
            <p:ph type="body" sz="quarter" idx="16" hasCustomPrompt="1"/>
          </p:nvPr>
        </p:nvSpPr>
        <p:spPr>
          <a:xfrm>
            <a:off x="8887787"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kon </a:t>
            </a:r>
            <a:br>
              <a:rPr lang="en-US"/>
            </a:br>
            <a:r>
              <a:rPr lang="en-US"/>
              <a:t>tekst</a:t>
            </a:r>
            <a:endParaRPr lang="en-US" dirty="0"/>
          </a:p>
        </p:txBody>
      </p:sp>
      <p:sp>
        <p:nvSpPr>
          <p:cNvPr id="18" name="Text Placeholder 3">
            <a:extLst>
              <a:ext uri="{FF2B5EF4-FFF2-40B4-BE49-F238E27FC236}">
                <a16:creationId xmlns:a16="http://schemas.microsoft.com/office/drawing/2014/main" id="{7F466B7C-EB91-BF4C-AF64-2F54DF448FEE}"/>
              </a:ext>
            </a:extLst>
          </p:cNvPr>
          <p:cNvSpPr>
            <a:spLocks noGrp="1"/>
          </p:cNvSpPr>
          <p:nvPr>
            <p:ph type="body" sz="quarter" idx="17" hasCustomPrompt="1"/>
          </p:nvPr>
        </p:nvSpPr>
        <p:spPr>
          <a:xfrm>
            <a:off x="592199"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kon </a:t>
            </a:r>
            <a:br>
              <a:rPr lang="en-US"/>
            </a:br>
            <a:r>
              <a:rPr lang="en-US"/>
              <a:t>tekst</a:t>
            </a:r>
            <a:endParaRPr lang="en-US" dirty="0"/>
          </a:p>
        </p:txBody>
      </p:sp>
      <p:sp>
        <p:nvSpPr>
          <p:cNvPr id="19" name="Text Placeholder 3">
            <a:extLst>
              <a:ext uri="{FF2B5EF4-FFF2-40B4-BE49-F238E27FC236}">
                <a16:creationId xmlns:a16="http://schemas.microsoft.com/office/drawing/2014/main" id="{939CC98F-B499-7842-957F-DE634767DFFB}"/>
              </a:ext>
            </a:extLst>
          </p:cNvPr>
          <p:cNvSpPr>
            <a:spLocks noGrp="1"/>
          </p:cNvSpPr>
          <p:nvPr>
            <p:ph type="body" sz="quarter" idx="18" hasCustomPrompt="1"/>
          </p:nvPr>
        </p:nvSpPr>
        <p:spPr>
          <a:xfrm>
            <a:off x="4636298"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kon </a:t>
            </a:r>
            <a:br>
              <a:rPr lang="en-US"/>
            </a:br>
            <a:r>
              <a:rPr lang="en-US"/>
              <a:t>tekst</a:t>
            </a:r>
            <a:endParaRPr lang="en-US" dirty="0"/>
          </a:p>
        </p:txBody>
      </p:sp>
      <p:sp>
        <p:nvSpPr>
          <p:cNvPr id="20" name="Text Placeholder 3">
            <a:extLst>
              <a:ext uri="{FF2B5EF4-FFF2-40B4-BE49-F238E27FC236}">
                <a16:creationId xmlns:a16="http://schemas.microsoft.com/office/drawing/2014/main" id="{7899C76E-502E-5F4D-965E-B2EE55D85BBC}"/>
              </a:ext>
            </a:extLst>
          </p:cNvPr>
          <p:cNvSpPr>
            <a:spLocks noGrp="1"/>
          </p:cNvSpPr>
          <p:nvPr>
            <p:ph type="body" sz="quarter" idx="19" hasCustomPrompt="1"/>
          </p:nvPr>
        </p:nvSpPr>
        <p:spPr>
          <a:xfrm>
            <a:off x="8887787"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kon </a:t>
            </a:r>
            <a:br>
              <a:rPr lang="en-US"/>
            </a:br>
            <a:r>
              <a:rPr lang="en-US"/>
              <a:t>tekst</a:t>
            </a:r>
            <a:endParaRPr lang="en-US" dirty="0"/>
          </a:p>
        </p:txBody>
      </p:sp>
      <p:sp>
        <p:nvSpPr>
          <p:cNvPr id="23" name="Pladsholder til billede 21">
            <a:extLst>
              <a:ext uri="{FF2B5EF4-FFF2-40B4-BE49-F238E27FC236}">
                <a16:creationId xmlns:a16="http://schemas.microsoft.com/office/drawing/2014/main" id="{DF55435F-ADCB-E04B-8525-F3542D26DA3C}"/>
              </a:ext>
            </a:extLst>
          </p:cNvPr>
          <p:cNvSpPr>
            <a:spLocks noGrp="1"/>
          </p:cNvSpPr>
          <p:nvPr>
            <p:ph type="pic" sz="quarter" idx="21" hasCustomPrompt="1"/>
          </p:nvPr>
        </p:nvSpPr>
        <p:spPr>
          <a:xfrm>
            <a:off x="5444480" y="592134"/>
            <a:ext cx="1152000" cy="1152000"/>
          </a:xfrm>
        </p:spPr>
        <p:txBody>
          <a:bodyPr anchor="ctr"/>
          <a:lstStyle>
            <a:lvl1pPr algn="ctr">
              <a:defRPr>
                <a:solidFill>
                  <a:schemeClr val="bg1"/>
                </a:solidFill>
              </a:defRPr>
            </a:lvl1pPr>
          </a:lstStyle>
          <a:p>
            <a:r>
              <a:rPr lang="en-US"/>
              <a:t>Indsæt ikon</a:t>
            </a:r>
            <a:endParaRPr lang="en-US" dirty="0"/>
          </a:p>
        </p:txBody>
      </p:sp>
      <p:sp>
        <p:nvSpPr>
          <p:cNvPr id="32" name="Pladsholder til billede 21">
            <a:extLst>
              <a:ext uri="{FF2B5EF4-FFF2-40B4-BE49-F238E27FC236}">
                <a16:creationId xmlns:a16="http://schemas.microsoft.com/office/drawing/2014/main" id="{645988EB-136C-7B47-8BA1-CF5AFA251403}"/>
              </a:ext>
            </a:extLst>
          </p:cNvPr>
          <p:cNvSpPr>
            <a:spLocks noGrp="1"/>
          </p:cNvSpPr>
          <p:nvPr>
            <p:ph type="pic" sz="quarter" idx="22" hasCustomPrompt="1"/>
          </p:nvPr>
        </p:nvSpPr>
        <p:spPr>
          <a:xfrm>
            <a:off x="1428662" y="592134"/>
            <a:ext cx="1152000" cy="1152000"/>
          </a:xfrm>
        </p:spPr>
        <p:txBody>
          <a:bodyPr anchor="ctr"/>
          <a:lstStyle>
            <a:lvl1pPr algn="ctr">
              <a:defRPr>
                <a:solidFill>
                  <a:schemeClr val="bg1"/>
                </a:solidFill>
              </a:defRPr>
            </a:lvl1pPr>
          </a:lstStyle>
          <a:p>
            <a:r>
              <a:rPr lang="en-US"/>
              <a:t>Indsæt ikon</a:t>
            </a:r>
            <a:endParaRPr lang="en-US" dirty="0"/>
          </a:p>
        </p:txBody>
      </p:sp>
      <p:sp>
        <p:nvSpPr>
          <p:cNvPr id="33" name="Pladsholder til billede 21">
            <a:extLst>
              <a:ext uri="{FF2B5EF4-FFF2-40B4-BE49-F238E27FC236}">
                <a16:creationId xmlns:a16="http://schemas.microsoft.com/office/drawing/2014/main" id="{25765CAD-7482-C640-9455-1D6708AA64F7}"/>
              </a:ext>
            </a:extLst>
          </p:cNvPr>
          <p:cNvSpPr>
            <a:spLocks noGrp="1"/>
          </p:cNvSpPr>
          <p:nvPr>
            <p:ph type="pic" sz="quarter" idx="23" hasCustomPrompt="1"/>
          </p:nvPr>
        </p:nvSpPr>
        <p:spPr>
          <a:xfrm>
            <a:off x="9592275" y="592134"/>
            <a:ext cx="1152000" cy="1152000"/>
          </a:xfrm>
        </p:spPr>
        <p:txBody>
          <a:bodyPr anchor="ctr"/>
          <a:lstStyle>
            <a:lvl1pPr algn="ctr">
              <a:defRPr>
                <a:solidFill>
                  <a:schemeClr val="bg1"/>
                </a:solidFill>
              </a:defRPr>
            </a:lvl1pPr>
          </a:lstStyle>
          <a:p>
            <a:r>
              <a:rPr lang="en-US"/>
              <a:t>Indsæt ikon</a:t>
            </a:r>
            <a:endParaRPr lang="en-US" dirty="0"/>
          </a:p>
        </p:txBody>
      </p:sp>
      <p:sp>
        <p:nvSpPr>
          <p:cNvPr id="34" name="Pladsholder til billede 21">
            <a:extLst>
              <a:ext uri="{FF2B5EF4-FFF2-40B4-BE49-F238E27FC236}">
                <a16:creationId xmlns:a16="http://schemas.microsoft.com/office/drawing/2014/main" id="{10C7017F-8D5D-1C4A-B3D6-C1EF8301B11E}"/>
              </a:ext>
            </a:extLst>
          </p:cNvPr>
          <p:cNvSpPr>
            <a:spLocks noGrp="1"/>
          </p:cNvSpPr>
          <p:nvPr>
            <p:ph type="pic" sz="quarter" idx="24" hasCustomPrompt="1"/>
          </p:nvPr>
        </p:nvSpPr>
        <p:spPr>
          <a:xfrm>
            <a:off x="5444480" y="4032919"/>
            <a:ext cx="1152000" cy="1152000"/>
          </a:xfrm>
        </p:spPr>
        <p:txBody>
          <a:bodyPr anchor="ctr"/>
          <a:lstStyle>
            <a:lvl1pPr algn="ctr">
              <a:defRPr>
                <a:solidFill>
                  <a:schemeClr val="bg1"/>
                </a:solidFill>
              </a:defRPr>
            </a:lvl1pPr>
          </a:lstStyle>
          <a:p>
            <a:r>
              <a:rPr lang="en-US"/>
              <a:t>Indsæt ikon</a:t>
            </a:r>
            <a:endParaRPr lang="en-US" dirty="0"/>
          </a:p>
        </p:txBody>
      </p:sp>
      <p:sp>
        <p:nvSpPr>
          <p:cNvPr id="35" name="Pladsholder til billede 21">
            <a:extLst>
              <a:ext uri="{FF2B5EF4-FFF2-40B4-BE49-F238E27FC236}">
                <a16:creationId xmlns:a16="http://schemas.microsoft.com/office/drawing/2014/main" id="{43FF324F-4E4B-1D43-8DE6-5DF412D016B7}"/>
              </a:ext>
            </a:extLst>
          </p:cNvPr>
          <p:cNvSpPr>
            <a:spLocks noGrp="1"/>
          </p:cNvSpPr>
          <p:nvPr>
            <p:ph type="pic" sz="quarter" idx="25" hasCustomPrompt="1"/>
          </p:nvPr>
        </p:nvSpPr>
        <p:spPr>
          <a:xfrm>
            <a:off x="1428662" y="4032919"/>
            <a:ext cx="1152000" cy="1152000"/>
          </a:xfrm>
        </p:spPr>
        <p:txBody>
          <a:bodyPr anchor="ctr"/>
          <a:lstStyle>
            <a:lvl1pPr algn="ctr">
              <a:defRPr>
                <a:solidFill>
                  <a:schemeClr val="bg1"/>
                </a:solidFill>
              </a:defRPr>
            </a:lvl1pPr>
          </a:lstStyle>
          <a:p>
            <a:r>
              <a:rPr lang="en-US"/>
              <a:t>Indsæt ikon</a:t>
            </a:r>
            <a:endParaRPr lang="en-US" dirty="0"/>
          </a:p>
        </p:txBody>
      </p:sp>
      <p:sp>
        <p:nvSpPr>
          <p:cNvPr id="36" name="Pladsholder til billede 21">
            <a:extLst>
              <a:ext uri="{FF2B5EF4-FFF2-40B4-BE49-F238E27FC236}">
                <a16:creationId xmlns:a16="http://schemas.microsoft.com/office/drawing/2014/main" id="{6840F908-7AC0-954D-87CD-F598A5733812}"/>
              </a:ext>
            </a:extLst>
          </p:cNvPr>
          <p:cNvSpPr>
            <a:spLocks noGrp="1"/>
          </p:cNvSpPr>
          <p:nvPr>
            <p:ph type="pic" sz="quarter" idx="26" hasCustomPrompt="1"/>
          </p:nvPr>
        </p:nvSpPr>
        <p:spPr>
          <a:xfrm>
            <a:off x="9592275" y="4032919"/>
            <a:ext cx="1152000" cy="1152000"/>
          </a:xfrm>
        </p:spPr>
        <p:txBody>
          <a:bodyPr anchor="ctr"/>
          <a:lstStyle>
            <a:lvl1pPr algn="ctr">
              <a:defRPr>
                <a:solidFill>
                  <a:schemeClr val="bg1"/>
                </a:solidFill>
              </a:defRPr>
            </a:lvl1pPr>
          </a:lstStyle>
          <a:p>
            <a:r>
              <a:rPr lang="en-US"/>
              <a:t>Indsæt ikon</a:t>
            </a:r>
            <a:endParaRPr lang="en-US" dirty="0"/>
          </a:p>
        </p:txBody>
      </p:sp>
    </p:spTree>
    <p:extLst>
      <p:ext uri="{BB962C8B-B14F-4D97-AF65-F5344CB8AC3E}">
        <p14:creationId xmlns:p14="http://schemas.microsoft.com/office/powerpoint/2010/main" val="275650166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 faktaboks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032A522-0B79-4E1E-AE9B-DE359B4BDB4F}"/>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2" name="think-cell Slide" r:id="rId5" imgW="521" imgH="520" progId="TCLayout.ActiveDocument.1">
                  <p:embed/>
                </p:oleObj>
              </mc:Choice>
              <mc:Fallback>
                <p:oleObj name="think-cell Slide" r:id="rId5" imgW="521" imgH="520" progId="TCLayout.ActiveDocument.1">
                  <p:embed/>
                  <p:pic>
                    <p:nvPicPr>
                      <p:cNvPr id="7" name="Objekt 6" hidden="1">
                        <a:extLst>
                          <a:ext uri="{FF2B5EF4-FFF2-40B4-BE49-F238E27FC236}">
                            <a16:creationId xmlns:a16="http://schemas.microsoft.com/office/drawing/2014/main" id="{5032A522-0B79-4E1E-AE9B-DE359B4BDB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4C486E05-5E10-46BC-AC77-02C28940649F}"/>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sp>
        <p:nvSpPr>
          <p:cNvPr id="2" name="Titel 1"/>
          <p:cNvSpPr>
            <a:spLocks noGrp="1"/>
          </p:cNvSpPr>
          <p:nvPr>
            <p:ph type="title" hasCustomPrompt="1"/>
          </p:nvPr>
        </p:nvSpPr>
        <p:spPr/>
        <p:txBody>
          <a:bodyPr/>
          <a:lstStyle>
            <a:lvl1pPr>
              <a:defRPr/>
            </a:lvl1pPr>
          </a:lstStyle>
          <a:p>
            <a:r>
              <a:rPr lang="en-US"/>
              <a:t>Indsæt overskrift</a:t>
            </a:r>
            <a:endParaRPr lang="en-US" dirty="0"/>
          </a:p>
        </p:txBody>
      </p:sp>
      <p:sp>
        <p:nvSpPr>
          <p:cNvPr id="3" name="Pladsholder til dato 2"/>
          <p:cNvSpPr>
            <a:spLocks noGrp="1"/>
          </p:cNvSpPr>
          <p:nvPr>
            <p:ph type="dt" sz="half" idx="10"/>
          </p:nvPr>
        </p:nvSpPr>
        <p:spPr/>
        <p:txBody>
          <a:bodyPr/>
          <a:lstStyle/>
          <a:p>
            <a:r>
              <a:rPr lang="da-DK"/>
              <a:t>May 2019</a:t>
            </a:r>
            <a:endParaRPr lang="en-US" dirty="0"/>
          </a:p>
        </p:txBody>
      </p:sp>
      <p:sp>
        <p:nvSpPr>
          <p:cNvPr id="4" name="Pladsholder til sidefod 3"/>
          <p:cNvSpPr>
            <a:spLocks noGrp="1"/>
          </p:cNvSpPr>
          <p:nvPr>
            <p:ph type="ftr" sz="quarter" idx="11"/>
          </p:nvPr>
        </p:nvSpPr>
        <p:spPr/>
        <p:txBody>
          <a:bodyPr/>
          <a:lstStyle/>
          <a:p>
            <a:r>
              <a:rPr lang="en-US"/>
              <a:t>GIE meeting</a:t>
            </a:r>
            <a:endParaRPr lang="en-US" dirty="0"/>
          </a:p>
        </p:txBody>
      </p:sp>
      <p:sp>
        <p:nvSpPr>
          <p:cNvPr id="5" name="Pladsholder til slidenummer 4"/>
          <p:cNvSpPr>
            <a:spLocks noGrp="1"/>
          </p:cNvSpPr>
          <p:nvPr>
            <p:ph type="sldNum" sz="quarter" idx="12"/>
          </p:nvPr>
        </p:nvSpPr>
        <p:spPr/>
        <p:txBody>
          <a:bodyPr/>
          <a:lstStyle/>
          <a:p>
            <a:fld id="{24C8C45C-947F-4981-8B3F-4F32E973C901}" type="slidenum">
              <a:rPr lang="en-US" smtClean="0"/>
              <a:pPr/>
              <a:t>‹#›</a:t>
            </a:fld>
            <a:endParaRPr lang="en-US" dirty="0"/>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en-US"/>
              <a:t>Indsæt underoverskrift eller indledning</a:t>
            </a:r>
            <a:endParaRPr lang="en-US" dirty="0"/>
          </a:p>
        </p:txBody>
      </p:sp>
      <p:sp>
        <p:nvSpPr>
          <p:cNvPr id="21" name="Pladsholder til tekst 20">
            <a:extLst>
              <a:ext uri="{FF2B5EF4-FFF2-40B4-BE49-F238E27FC236}">
                <a16:creationId xmlns:a16="http://schemas.microsoft.com/office/drawing/2014/main" id="{504E1570-7FD5-B94C-96B2-87EEE2656BB9}"/>
              </a:ext>
            </a:extLst>
          </p:cNvPr>
          <p:cNvSpPr>
            <a:spLocks noGrp="1"/>
          </p:cNvSpPr>
          <p:nvPr>
            <p:ph type="body" sz="quarter" idx="18" hasCustomPrompt="1"/>
          </p:nvPr>
        </p:nvSpPr>
        <p:spPr>
          <a:xfrm>
            <a:off x="982663" y="2916302"/>
            <a:ext cx="2398100" cy="3438000"/>
          </a:xfrm>
          <a:solidFill>
            <a:schemeClr val="accent1"/>
          </a:solidFill>
        </p:spPr>
        <p:txBody>
          <a:bodyPr/>
          <a:lstStyle>
            <a:lvl1pPr>
              <a:defRPr>
                <a:solidFill>
                  <a:schemeClr val="accent1"/>
                </a:solidFill>
              </a:defRPr>
            </a:lvl1pPr>
          </a:lstStyle>
          <a:p>
            <a:pPr lvl="0"/>
            <a:r>
              <a:rPr lang="en-US"/>
              <a:t>Klik for at redigere i master</a:t>
            </a:r>
            <a:endParaRPr lang="en-US" dirty="0"/>
          </a:p>
        </p:txBody>
      </p:sp>
      <p:sp>
        <p:nvSpPr>
          <p:cNvPr id="24" name="Pladsholder til tekst 20">
            <a:extLst>
              <a:ext uri="{FF2B5EF4-FFF2-40B4-BE49-F238E27FC236}">
                <a16:creationId xmlns:a16="http://schemas.microsoft.com/office/drawing/2014/main" id="{C1474434-9748-3C4A-8FFE-6507601F8B83}"/>
              </a:ext>
            </a:extLst>
          </p:cNvPr>
          <p:cNvSpPr>
            <a:spLocks noGrp="1"/>
          </p:cNvSpPr>
          <p:nvPr>
            <p:ph type="body" sz="quarter" idx="19" hasCustomPrompt="1"/>
          </p:nvPr>
        </p:nvSpPr>
        <p:spPr>
          <a:xfrm>
            <a:off x="3597232" y="2916302"/>
            <a:ext cx="2398100" cy="3438000"/>
          </a:xfrm>
          <a:solidFill>
            <a:schemeClr val="accent2"/>
          </a:solidFill>
        </p:spPr>
        <p:txBody>
          <a:bodyPr/>
          <a:lstStyle>
            <a:lvl1pPr>
              <a:defRPr>
                <a:solidFill>
                  <a:schemeClr val="accent2"/>
                </a:solidFill>
              </a:defRPr>
            </a:lvl1pPr>
          </a:lstStyle>
          <a:p>
            <a:pPr lvl="0"/>
            <a:r>
              <a:rPr lang="en-US"/>
              <a:t>Klik for at redigere i master</a:t>
            </a:r>
            <a:endParaRPr lang="en-US" dirty="0"/>
          </a:p>
        </p:txBody>
      </p:sp>
      <p:sp>
        <p:nvSpPr>
          <p:cNvPr id="25" name="Pladsholder til tekst 20">
            <a:extLst>
              <a:ext uri="{FF2B5EF4-FFF2-40B4-BE49-F238E27FC236}">
                <a16:creationId xmlns:a16="http://schemas.microsoft.com/office/drawing/2014/main" id="{9AEFC2A5-60D1-1B41-8B68-EE22149A305F}"/>
              </a:ext>
            </a:extLst>
          </p:cNvPr>
          <p:cNvSpPr>
            <a:spLocks noGrp="1"/>
          </p:cNvSpPr>
          <p:nvPr>
            <p:ph type="body" sz="quarter" idx="20" hasCustomPrompt="1"/>
          </p:nvPr>
        </p:nvSpPr>
        <p:spPr>
          <a:xfrm>
            <a:off x="6211801" y="2916302"/>
            <a:ext cx="2398100" cy="3438000"/>
          </a:xfrm>
          <a:solidFill>
            <a:schemeClr val="bg2"/>
          </a:solidFill>
        </p:spPr>
        <p:txBody>
          <a:bodyPr/>
          <a:lstStyle>
            <a:lvl1pPr>
              <a:defRPr>
                <a:solidFill>
                  <a:schemeClr val="bg2"/>
                </a:solidFill>
              </a:defRPr>
            </a:lvl1pPr>
          </a:lstStyle>
          <a:p>
            <a:pPr lvl="0"/>
            <a:r>
              <a:rPr lang="en-US"/>
              <a:t>Klik for at redigere i master</a:t>
            </a:r>
            <a:endParaRPr lang="en-US" dirty="0"/>
          </a:p>
        </p:txBody>
      </p:sp>
      <p:sp>
        <p:nvSpPr>
          <p:cNvPr id="26" name="Pladsholder til tekst 20">
            <a:extLst>
              <a:ext uri="{FF2B5EF4-FFF2-40B4-BE49-F238E27FC236}">
                <a16:creationId xmlns:a16="http://schemas.microsoft.com/office/drawing/2014/main" id="{E9448C85-B257-644C-B8A8-8DF0E31FC0AB}"/>
              </a:ext>
            </a:extLst>
          </p:cNvPr>
          <p:cNvSpPr>
            <a:spLocks noGrp="1"/>
          </p:cNvSpPr>
          <p:nvPr>
            <p:ph type="body" sz="quarter" idx="21" hasCustomPrompt="1"/>
          </p:nvPr>
        </p:nvSpPr>
        <p:spPr>
          <a:xfrm>
            <a:off x="8826370" y="2916302"/>
            <a:ext cx="2398100" cy="3438000"/>
          </a:xfrm>
          <a:solidFill>
            <a:schemeClr val="accent5"/>
          </a:solidFill>
        </p:spPr>
        <p:txBody>
          <a:bodyPr/>
          <a:lstStyle>
            <a:lvl1pPr>
              <a:defRPr>
                <a:solidFill>
                  <a:schemeClr val="accent5"/>
                </a:solidFill>
              </a:defRPr>
            </a:lvl1pPr>
          </a:lstStyle>
          <a:p>
            <a:pPr lvl="0"/>
            <a:r>
              <a:rPr lang="en-US"/>
              <a:t>Klik for at redigere i master</a:t>
            </a:r>
            <a:endParaRPr lang="en-US" dirty="0"/>
          </a:p>
        </p:txBody>
      </p:sp>
      <p:sp>
        <p:nvSpPr>
          <p:cNvPr id="27" name="Text Placeholder 3">
            <a:extLst>
              <a:ext uri="{FF2B5EF4-FFF2-40B4-BE49-F238E27FC236}">
                <a16:creationId xmlns:a16="http://schemas.microsoft.com/office/drawing/2014/main" id="{5D6F8130-2DB6-AE4B-8369-FF1DA067AEA4}"/>
              </a:ext>
            </a:extLst>
          </p:cNvPr>
          <p:cNvSpPr>
            <a:spLocks noGrp="1"/>
          </p:cNvSpPr>
          <p:nvPr>
            <p:ph type="body" sz="quarter" idx="14" hasCustomPrompt="1"/>
          </p:nvPr>
        </p:nvSpPr>
        <p:spPr>
          <a:xfrm>
            <a:off x="1135010"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a:t>
            </a:r>
            <a:br>
              <a:rPr lang="en-US"/>
            </a:br>
            <a:r>
              <a:rPr lang="en-US"/>
              <a:t>fakta</a:t>
            </a:r>
            <a:endParaRPr lang="en-US" dirty="0"/>
          </a:p>
        </p:txBody>
      </p:sp>
      <p:sp>
        <p:nvSpPr>
          <p:cNvPr id="28" name="Text Placeholder 4">
            <a:extLst>
              <a:ext uri="{FF2B5EF4-FFF2-40B4-BE49-F238E27FC236}">
                <a16:creationId xmlns:a16="http://schemas.microsoft.com/office/drawing/2014/main" id="{BE5129DE-B085-9B48-B3C2-DDFCB4E99863}"/>
              </a:ext>
            </a:extLst>
          </p:cNvPr>
          <p:cNvSpPr>
            <a:spLocks noGrp="1"/>
          </p:cNvSpPr>
          <p:nvPr>
            <p:ph type="body" sz="quarter" idx="22" hasCustomPrompt="1"/>
          </p:nvPr>
        </p:nvSpPr>
        <p:spPr>
          <a:xfrm>
            <a:off x="1131160"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en-US"/>
              <a:t>Tilføj tekst</a:t>
            </a:r>
            <a:endParaRPr lang="en-US" dirty="0"/>
          </a:p>
        </p:txBody>
      </p:sp>
      <p:sp>
        <p:nvSpPr>
          <p:cNvPr id="29" name="Text Placeholder 3">
            <a:extLst>
              <a:ext uri="{FF2B5EF4-FFF2-40B4-BE49-F238E27FC236}">
                <a16:creationId xmlns:a16="http://schemas.microsoft.com/office/drawing/2014/main" id="{54E2AF37-E71E-F54A-BE4C-70EAE52EEAB2}"/>
              </a:ext>
            </a:extLst>
          </p:cNvPr>
          <p:cNvSpPr>
            <a:spLocks noGrp="1"/>
          </p:cNvSpPr>
          <p:nvPr>
            <p:ph type="body" sz="quarter" idx="23" hasCustomPrompt="1"/>
          </p:nvPr>
        </p:nvSpPr>
        <p:spPr>
          <a:xfrm>
            <a:off x="3743986"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a:t>
            </a:r>
            <a:br>
              <a:rPr lang="en-US"/>
            </a:br>
            <a:r>
              <a:rPr lang="en-US"/>
              <a:t>fakta</a:t>
            </a:r>
            <a:endParaRPr lang="en-US" dirty="0"/>
          </a:p>
        </p:txBody>
      </p:sp>
      <p:sp>
        <p:nvSpPr>
          <p:cNvPr id="30" name="Text Placeholder 4">
            <a:extLst>
              <a:ext uri="{FF2B5EF4-FFF2-40B4-BE49-F238E27FC236}">
                <a16:creationId xmlns:a16="http://schemas.microsoft.com/office/drawing/2014/main" id="{E5F89DFA-B682-8040-8D6C-BADC14138F0C}"/>
              </a:ext>
            </a:extLst>
          </p:cNvPr>
          <p:cNvSpPr>
            <a:spLocks noGrp="1"/>
          </p:cNvSpPr>
          <p:nvPr>
            <p:ph type="body" sz="quarter" idx="24" hasCustomPrompt="1"/>
          </p:nvPr>
        </p:nvSpPr>
        <p:spPr>
          <a:xfrm>
            <a:off x="3740136"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en-US"/>
              <a:t>Tilføj tekst</a:t>
            </a:r>
            <a:endParaRPr lang="en-US" dirty="0"/>
          </a:p>
        </p:txBody>
      </p:sp>
      <p:sp>
        <p:nvSpPr>
          <p:cNvPr id="31" name="Text Placeholder 3">
            <a:extLst>
              <a:ext uri="{FF2B5EF4-FFF2-40B4-BE49-F238E27FC236}">
                <a16:creationId xmlns:a16="http://schemas.microsoft.com/office/drawing/2014/main" id="{941FBE6E-ED14-5140-A488-5284A55A8F3E}"/>
              </a:ext>
            </a:extLst>
          </p:cNvPr>
          <p:cNvSpPr>
            <a:spLocks noGrp="1"/>
          </p:cNvSpPr>
          <p:nvPr>
            <p:ph type="body" sz="quarter" idx="25" hasCustomPrompt="1"/>
          </p:nvPr>
        </p:nvSpPr>
        <p:spPr>
          <a:xfrm>
            <a:off x="6352962"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a:t>
            </a:r>
            <a:br>
              <a:rPr lang="en-US"/>
            </a:br>
            <a:r>
              <a:rPr lang="en-US"/>
              <a:t>fakta</a:t>
            </a:r>
            <a:endParaRPr lang="en-US" dirty="0"/>
          </a:p>
        </p:txBody>
      </p:sp>
      <p:sp>
        <p:nvSpPr>
          <p:cNvPr id="32" name="Text Placeholder 4">
            <a:extLst>
              <a:ext uri="{FF2B5EF4-FFF2-40B4-BE49-F238E27FC236}">
                <a16:creationId xmlns:a16="http://schemas.microsoft.com/office/drawing/2014/main" id="{0CFC515D-6BD2-6F45-B5F2-67564A3F63D6}"/>
              </a:ext>
            </a:extLst>
          </p:cNvPr>
          <p:cNvSpPr>
            <a:spLocks noGrp="1"/>
          </p:cNvSpPr>
          <p:nvPr>
            <p:ph type="body" sz="quarter" idx="26" hasCustomPrompt="1"/>
          </p:nvPr>
        </p:nvSpPr>
        <p:spPr>
          <a:xfrm>
            <a:off x="6349112"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en-US"/>
              <a:t>Tilføj tekst</a:t>
            </a:r>
            <a:endParaRPr lang="en-US" dirty="0"/>
          </a:p>
        </p:txBody>
      </p:sp>
      <p:sp>
        <p:nvSpPr>
          <p:cNvPr id="33" name="Text Placeholder 3">
            <a:extLst>
              <a:ext uri="{FF2B5EF4-FFF2-40B4-BE49-F238E27FC236}">
                <a16:creationId xmlns:a16="http://schemas.microsoft.com/office/drawing/2014/main" id="{3B79C489-0923-8D4F-8FF1-A87C901F23C8}"/>
              </a:ext>
            </a:extLst>
          </p:cNvPr>
          <p:cNvSpPr>
            <a:spLocks noGrp="1"/>
          </p:cNvSpPr>
          <p:nvPr>
            <p:ph type="body" sz="quarter" idx="27" hasCustomPrompt="1"/>
          </p:nvPr>
        </p:nvSpPr>
        <p:spPr>
          <a:xfrm>
            <a:off x="8978716"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a:t>
            </a:r>
            <a:br>
              <a:rPr lang="en-US"/>
            </a:br>
            <a:r>
              <a:rPr lang="en-US"/>
              <a:t>fakta</a:t>
            </a:r>
            <a:endParaRPr lang="en-US" dirty="0"/>
          </a:p>
        </p:txBody>
      </p:sp>
      <p:sp>
        <p:nvSpPr>
          <p:cNvPr id="34" name="Text Placeholder 4">
            <a:extLst>
              <a:ext uri="{FF2B5EF4-FFF2-40B4-BE49-F238E27FC236}">
                <a16:creationId xmlns:a16="http://schemas.microsoft.com/office/drawing/2014/main" id="{032721F4-3138-C84F-987A-B1996ABE4AA9}"/>
              </a:ext>
            </a:extLst>
          </p:cNvPr>
          <p:cNvSpPr>
            <a:spLocks noGrp="1"/>
          </p:cNvSpPr>
          <p:nvPr>
            <p:ph type="body" sz="quarter" idx="28" hasCustomPrompt="1"/>
          </p:nvPr>
        </p:nvSpPr>
        <p:spPr>
          <a:xfrm>
            <a:off x="8974866"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en-US"/>
              <a:t>Tilføj tekst</a:t>
            </a:r>
            <a:endParaRPr lang="en-US" dirty="0"/>
          </a:p>
        </p:txBody>
      </p:sp>
    </p:spTree>
    <p:extLst>
      <p:ext uri="{BB962C8B-B14F-4D97-AF65-F5344CB8AC3E}">
        <p14:creationId xmlns:p14="http://schemas.microsoft.com/office/powerpoint/2010/main" val="83573068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 faktabokse med billed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120E289-5E3F-4149-89CF-A571578B650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6" name="think-cell Slide" r:id="rId5" imgW="521" imgH="520" progId="TCLayout.ActiveDocument.1">
                  <p:embed/>
                </p:oleObj>
              </mc:Choice>
              <mc:Fallback>
                <p:oleObj name="think-cell Slide" r:id="rId5" imgW="521" imgH="520" progId="TCLayout.ActiveDocument.1">
                  <p:embed/>
                  <p:pic>
                    <p:nvPicPr>
                      <p:cNvPr id="8" name="Objekt 7" hidden="1">
                        <a:extLst>
                          <a:ext uri="{FF2B5EF4-FFF2-40B4-BE49-F238E27FC236}">
                            <a16:creationId xmlns:a16="http://schemas.microsoft.com/office/drawing/2014/main" id="{5120E289-5E3F-4149-89CF-A571578B65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ktangel 5" hidden="1">
            <a:extLst>
              <a:ext uri="{FF2B5EF4-FFF2-40B4-BE49-F238E27FC236}">
                <a16:creationId xmlns:a16="http://schemas.microsoft.com/office/drawing/2014/main" id="{9D8FBAC4-ED4B-4675-A40C-E45413954B3C}"/>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sp>
        <p:nvSpPr>
          <p:cNvPr id="2" name="Titel 1"/>
          <p:cNvSpPr>
            <a:spLocks noGrp="1"/>
          </p:cNvSpPr>
          <p:nvPr>
            <p:ph type="title" hasCustomPrompt="1"/>
          </p:nvPr>
        </p:nvSpPr>
        <p:spPr/>
        <p:txBody>
          <a:bodyPr/>
          <a:lstStyle>
            <a:lvl1pPr>
              <a:defRPr/>
            </a:lvl1pPr>
          </a:lstStyle>
          <a:p>
            <a:r>
              <a:rPr lang="en-US"/>
              <a:t>Indsæt overskrift</a:t>
            </a:r>
            <a:endParaRPr lang="en-US" dirty="0"/>
          </a:p>
        </p:txBody>
      </p:sp>
      <p:sp>
        <p:nvSpPr>
          <p:cNvPr id="3" name="Pladsholder til dato 2"/>
          <p:cNvSpPr>
            <a:spLocks noGrp="1"/>
          </p:cNvSpPr>
          <p:nvPr>
            <p:ph type="dt" sz="half" idx="10"/>
          </p:nvPr>
        </p:nvSpPr>
        <p:spPr/>
        <p:txBody>
          <a:bodyPr/>
          <a:lstStyle/>
          <a:p>
            <a:r>
              <a:rPr lang="da-DK"/>
              <a:t>May 2019</a:t>
            </a:r>
            <a:endParaRPr lang="en-US" dirty="0"/>
          </a:p>
        </p:txBody>
      </p:sp>
      <p:sp>
        <p:nvSpPr>
          <p:cNvPr id="4" name="Pladsholder til sidefod 3"/>
          <p:cNvSpPr>
            <a:spLocks noGrp="1"/>
          </p:cNvSpPr>
          <p:nvPr>
            <p:ph type="ftr" sz="quarter" idx="11"/>
          </p:nvPr>
        </p:nvSpPr>
        <p:spPr/>
        <p:txBody>
          <a:bodyPr/>
          <a:lstStyle/>
          <a:p>
            <a:r>
              <a:rPr lang="en-US"/>
              <a:t>GIE meeting</a:t>
            </a:r>
            <a:endParaRPr lang="en-US" dirty="0"/>
          </a:p>
        </p:txBody>
      </p:sp>
      <p:sp>
        <p:nvSpPr>
          <p:cNvPr id="5" name="Pladsholder til slidenummer 4"/>
          <p:cNvSpPr>
            <a:spLocks noGrp="1"/>
          </p:cNvSpPr>
          <p:nvPr>
            <p:ph type="sldNum" sz="quarter" idx="12"/>
          </p:nvPr>
        </p:nvSpPr>
        <p:spPr/>
        <p:txBody>
          <a:bodyPr/>
          <a:lstStyle/>
          <a:p>
            <a:fld id="{24C8C45C-947F-4981-8B3F-4F32E973C901}" type="slidenum">
              <a:rPr lang="en-US" smtClean="0"/>
              <a:pPr/>
              <a:t>‹#›</a:t>
            </a:fld>
            <a:endParaRPr lang="en-US" dirty="0"/>
          </a:p>
        </p:txBody>
      </p:sp>
      <p:sp>
        <p:nvSpPr>
          <p:cNvPr id="9" name="Pladsholder til tekst 9"/>
          <p:cNvSpPr>
            <a:spLocks noGrp="1"/>
          </p:cNvSpPr>
          <p:nvPr>
            <p:ph type="body" sz="quarter" idx="15" hasCustomPrompt="1"/>
          </p:nvPr>
        </p:nvSpPr>
        <p:spPr>
          <a:xfrm>
            <a:off x="982663" y="2024063"/>
            <a:ext cx="10214464" cy="400355"/>
          </a:xfrm>
        </p:spPr>
        <p:txBody>
          <a:bodyPr/>
          <a:lstStyle>
            <a:lvl1pPr>
              <a:defRPr sz="2200">
                <a:solidFill>
                  <a:schemeClr val="accent1"/>
                </a:solidFill>
              </a:defRPr>
            </a:lvl1pPr>
          </a:lstStyle>
          <a:p>
            <a:pPr lvl="0"/>
            <a:r>
              <a:rPr lang="en-US"/>
              <a:t>Indsæt underoverskrift eller indledning</a:t>
            </a:r>
            <a:endParaRPr lang="en-US" dirty="0"/>
          </a:p>
        </p:txBody>
      </p:sp>
      <p:sp>
        <p:nvSpPr>
          <p:cNvPr id="21" name="Pladsholder til tekst 20">
            <a:extLst>
              <a:ext uri="{FF2B5EF4-FFF2-40B4-BE49-F238E27FC236}">
                <a16:creationId xmlns:a16="http://schemas.microsoft.com/office/drawing/2014/main" id="{504E1570-7FD5-B94C-96B2-87EEE2656BB9}"/>
              </a:ext>
            </a:extLst>
          </p:cNvPr>
          <p:cNvSpPr>
            <a:spLocks noGrp="1"/>
          </p:cNvSpPr>
          <p:nvPr>
            <p:ph type="body" sz="quarter" idx="18" hasCustomPrompt="1"/>
          </p:nvPr>
        </p:nvSpPr>
        <p:spPr>
          <a:xfrm>
            <a:off x="982663" y="3657600"/>
            <a:ext cx="2398100" cy="2696702"/>
          </a:xfrm>
          <a:solidFill>
            <a:schemeClr val="accent1"/>
          </a:solidFill>
        </p:spPr>
        <p:txBody>
          <a:bodyPr/>
          <a:lstStyle>
            <a:lvl1pPr>
              <a:defRPr>
                <a:solidFill>
                  <a:schemeClr val="accent1"/>
                </a:solidFill>
              </a:defRPr>
            </a:lvl1pPr>
          </a:lstStyle>
          <a:p>
            <a:pPr lvl="0"/>
            <a:r>
              <a:rPr lang="en-US"/>
              <a:t>Klik for at redigere i master</a:t>
            </a:r>
            <a:endParaRPr lang="en-US" dirty="0"/>
          </a:p>
        </p:txBody>
      </p:sp>
      <p:sp>
        <p:nvSpPr>
          <p:cNvPr id="24" name="Pladsholder til tekst 20">
            <a:extLst>
              <a:ext uri="{FF2B5EF4-FFF2-40B4-BE49-F238E27FC236}">
                <a16:creationId xmlns:a16="http://schemas.microsoft.com/office/drawing/2014/main" id="{C1474434-9748-3C4A-8FFE-6507601F8B83}"/>
              </a:ext>
            </a:extLst>
          </p:cNvPr>
          <p:cNvSpPr>
            <a:spLocks noGrp="1"/>
          </p:cNvSpPr>
          <p:nvPr>
            <p:ph type="body" sz="quarter" idx="19" hasCustomPrompt="1"/>
          </p:nvPr>
        </p:nvSpPr>
        <p:spPr>
          <a:xfrm>
            <a:off x="3597232" y="3657600"/>
            <a:ext cx="2398100" cy="2696702"/>
          </a:xfrm>
          <a:solidFill>
            <a:schemeClr val="accent1"/>
          </a:solidFill>
        </p:spPr>
        <p:txBody>
          <a:bodyPr/>
          <a:lstStyle>
            <a:lvl1pPr>
              <a:defRPr>
                <a:solidFill>
                  <a:schemeClr val="accent1"/>
                </a:solidFill>
              </a:defRPr>
            </a:lvl1pPr>
          </a:lstStyle>
          <a:p>
            <a:pPr lvl="0"/>
            <a:r>
              <a:rPr lang="en-US"/>
              <a:t>Klik for at redigere i master</a:t>
            </a:r>
            <a:endParaRPr lang="en-US" dirty="0"/>
          </a:p>
        </p:txBody>
      </p:sp>
      <p:sp>
        <p:nvSpPr>
          <p:cNvPr id="25" name="Pladsholder til tekst 20">
            <a:extLst>
              <a:ext uri="{FF2B5EF4-FFF2-40B4-BE49-F238E27FC236}">
                <a16:creationId xmlns:a16="http://schemas.microsoft.com/office/drawing/2014/main" id="{9AEFC2A5-60D1-1B41-8B68-EE22149A305F}"/>
              </a:ext>
            </a:extLst>
          </p:cNvPr>
          <p:cNvSpPr>
            <a:spLocks noGrp="1"/>
          </p:cNvSpPr>
          <p:nvPr>
            <p:ph type="body" sz="quarter" idx="20" hasCustomPrompt="1"/>
          </p:nvPr>
        </p:nvSpPr>
        <p:spPr>
          <a:xfrm>
            <a:off x="6211801" y="3657600"/>
            <a:ext cx="2398100" cy="2696702"/>
          </a:xfrm>
          <a:solidFill>
            <a:schemeClr val="accent1"/>
          </a:solidFill>
        </p:spPr>
        <p:txBody>
          <a:bodyPr/>
          <a:lstStyle>
            <a:lvl1pPr>
              <a:defRPr>
                <a:solidFill>
                  <a:schemeClr val="accent1"/>
                </a:solidFill>
              </a:defRPr>
            </a:lvl1pPr>
          </a:lstStyle>
          <a:p>
            <a:pPr lvl="0"/>
            <a:r>
              <a:rPr lang="en-US"/>
              <a:t>Klik for at redigere i master</a:t>
            </a:r>
            <a:endParaRPr lang="en-US" dirty="0"/>
          </a:p>
        </p:txBody>
      </p:sp>
      <p:sp>
        <p:nvSpPr>
          <p:cNvPr id="26" name="Pladsholder til tekst 20">
            <a:extLst>
              <a:ext uri="{FF2B5EF4-FFF2-40B4-BE49-F238E27FC236}">
                <a16:creationId xmlns:a16="http://schemas.microsoft.com/office/drawing/2014/main" id="{E9448C85-B257-644C-B8A8-8DF0E31FC0AB}"/>
              </a:ext>
            </a:extLst>
          </p:cNvPr>
          <p:cNvSpPr>
            <a:spLocks noGrp="1"/>
          </p:cNvSpPr>
          <p:nvPr>
            <p:ph type="body" sz="quarter" idx="21" hasCustomPrompt="1"/>
          </p:nvPr>
        </p:nvSpPr>
        <p:spPr>
          <a:xfrm>
            <a:off x="8826370" y="3657600"/>
            <a:ext cx="2398100" cy="2696702"/>
          </a:xfrm>
          <a:solidFill>
            <a:schemeClr val="accent1"/>
          </a:solidFill>
        </p:spPr>
        <p:txBody>
          <a:bodyPr/>
          <a:lstStyle>
            <a:lvl1pPr>
              <a:defRPr>
                <a:solidFill>
                  <a:schemeClr val="accent1"/>
                </a:solidFill>
              </a:defRPr>
            </a:lvl1pPr>
          </a:lstStyle>
          <a:p>
            <a:pPr lvl="0"/>
            <a:r>
              <a:rPr lang="en-US"/>
              <a:t>Klik for at redigere i master</a:t>
            </a:r>
            <a:endParaRPr lang="en-US" dirty="0"/>
          </a:p>
        </p:txBody>
      </p:sp>
      <p:sp>
        <p:nvSpPr>
          <p:cNvPr id="27" name="Text Placeholder 3">
            <a:extLst>
              <a:ext uri="{FF2B5EF4-FFF2-40B4-BE49-F238E27FC236}">
                <a16:creationId xmlns:a16="http://schemas.microsoft.com/office/drawing/2014/main" id="{5D6F8130-2DB6-AE4B-8369-FF1DA067AEA4}"/>
              </a:ext>
            </a:extLst>
          </p:cNvPr>
          <p:cNvSpPr>
            <a:spLocks noGrp="1"/>
          </p:cNvSpPr>
          <p:nvPr>
            <p:ph type="body" sz="quarter" idx="14" hasCustomPrompt="1"/>
          </p:nvPr>
        </p:nvSpPr>
        <p:spPr>
          <a:xfrm>
            <a:off x="1135010"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a:t>
            </a:r>
            <a:br>
              <a:rPr lang="en-US"/>
            </a:br>
            <a:r>
              <a:rPr lang="en-US"/>
              <a:t>fakta</a:t>
            </a:r>
            <a:endParaRPr lang="en-US" dirty="0"/>
          </a:p>
        </p:txBody>
      </p:sp>
      <p:sp>
        <p:nvSpPr>
          <p:cNvPr id="28" name="Text Placeholder 4">
            <a:extLst>
              <a:ext uri="{FF2B5EF4-FFF2-40B4-BE49-F238E27FC236}">
                <a16:creationId xmlns:a16="http://schemas.microsoft.com/office/drawing/2014/main" id="{BE5129DE-B085-9B48-B3C2-DDFCB4E99863}"/>
              </a:ext>
            </a:extLst>
          </p:cNvPr>
          <p:cNvSpPr>
            <a:spLocks noGrp="1"/>
          </p:cNvSpPr>
          <p:nvPr>
            <p:ph type="body" sz="quarter" idx="22" hasCustomPrompt="1"/>
          </p:nvPr>
        </p:nvSpPr>
        <p:spPr>
          <a:xfrm>
            <a:off x="1131160"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en-US"/>
              <a:t>Tilføj tekst</a:t>
            </a:r>
            <a:endParaRPr lang="en-US" dirty="0"/>
          </a:p>
        </p:txBody>
      </p:sp>
      <p:sp>
        <p:nvSpPr>
          <p:cNvPr id="29" name="Text Placeholder 3">
            <a:extLst>
              <a:ext uri="{FF2B5EF4-FFF2-40B4-BE49-F238E27FC236}">
                <a16:creationId xmlns:a16="http://schemas.microsoft.com/office/drawing/2014/main" id="{54E2AF37-E71E-F54A-BE4C-70EAE52EEAB2}"/>
              </a:ext>
            </a:extLst>
          </p:cNvPr>
          <p:cNvSpPr>
            <a:spLocks noGrp="1"/>
          </p:cNvSpPr>
          <p:nvPr>
            <p:ph type="body" sz="quarter" idx="23" hasCustomPrompt="1"/>
          </p:nvPr>
        </p:nvSpPr>
        <p:spPr>
          <a:xfrm>
            <a:off x="3743986"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a:t>
            </a:r>
            <a:br>
              <a:rPr lang="en-US"/>
            </a:br>
            <a:r>
              <a:rPr lang="en-US"/>
              <a:t>fakta</a:t>
            </a:r>
            <a:endParaRPr lang="en-US" dirty="0"/>
          </a:p>
        </p:txBody>
      </p:sp>
      <p:sp>
        <p:nvSpPr>
          <p:cNvPr id="30" name="Text Placeholder 4">
            <a:extLst>
              <a:ext uri="{FF2B5EF4-FFF2-40B4-BE49-F238E27FC236}">
                <a16:creationId xmlns:a16="http://schemas.microsoft.com/office/drawing/2014/main" id="{E5F89DFA-B682-8040-8D6C-BADC14138F0C}"/>
              </a:ext>
            </a:extLst>
          </p:cNvPr>
          <p:cNvSpPr>
            <a:spLocks noGrp="1"/>
          </p:cNvSpPr>
          <p:nvPr>
            <p:ph type="body" sz="quarter" idx="24" hasCustomPrompt="1"/>
          </p:nvPr>
        </p:nvSpPr>
        <p:spPr>
          <a:xfrm>
            <a:off x="3740136"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en-US"/>
              <a:t>Tilføj tekst</a:t>
            </a:r>
            <a:endParaRPr lang="en-US" dirty="0"/>
          </a:p>
        </p:txBody>
      </p:sp>
      <p:sp>
        <p:nvSpPr>
          <p:cNvPr id="31" name="Text Placeholder 3">
            <a:extLst>
              <a:ext uri="{FF2B5EF4-FFF2-40B4-BE49-F238E27FC236}">
                <a16:creationId xmlns:a16="http://schemas.microsoft.com/office/drawing/2014/main" id="{941FBE6E-ED14-5140-A488-5284A55A8F3E}"/>
              </a:ext>
            </a:extLst>
          </p:cNvPr>
          <p:cNvSpPr>
            <a:spLocks noGrp="1"/>
          </p:cNvSpPr>
          <p:nvPr>
            <p:ph type="body" sz="quarter" idx="25" hasCustomPrompt="1"/>
          </p:nvPr>
        </p:nvSpPr>
        <p:spPr>
          <a:xfrm>
            <a:off x="6352962"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a:t>
            </a:r>
            <a:br>
              <a:rPr lang="en-US"/>
            </a:br>
            <a:r>
              <a:rPr lang="en-US"/>
              <a:t>fakta</a:t>
            </a:r>
            <a:endParaRPr lang="en-US" dirty="0"/>
          </a:p>
        </p:txBody>
      </p:sp>
      <p:sp>
        <p:nvSpPr>
          <p:cNvPr id="32" name="Text Placeholder 4">
            <a:extLst>
              <a:ext uri="{FF2B5EF4-FFF2-40B4-BE49-F238E27FC236}">
                <a16:creationId xmlns:a16="http://schemas.microsoft.com/office/drawing/2014/main" id="{0CFC515D-6BD2-6F45-B5F2-67564A3F63D6}"/>
              </a:ext>
            </a:extLst>
          </p:cNvPr>
          <p:cNvSpPr>
            <a:spLocks noGrp="1"/>
          </p:cNvSpPr>
          <p:nvPr>
            <p:ph type="body" sz="quarter" idx="26" hasCustomPrompt="1"/>
          </p:nvPr>
        </p:nvSpPr>
        <p:spPr>
          <a:xfrm>
            <a:off x="6349112"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en-US"/>
              <a:t>Tilføj tekst</a:t>
            </a:r>
            <a:endParaRPr lang="en-US" dirty="0"/>
          </a:p>
        </p:txBody>
      </p:sp>
      <p:sp>
        <p:nvSpPr>
          <p:cNvPr id="33" name="Text Placeholder 3">
            <a:extLst>
              <a:ext uri="{FF2B5EF4-FFF2-40B4-BE49-F238E27FC236}">
                <a16:creationId xmlns:a16="http://schemas.microsoft.com/office/drawing/2014/main" id="{3B79C489-0923-8D4F-8FF1-A87C901F23C8}"/>
              </a:ext>
            </a:extLst>
          </p:cNvPr>
          <p:cNvSpPr>
            <a:spLocks noGrp="1"/>
          </p:cNvSpPr>
          <p:nvPr>
            <p:ph type="body" sz="quarter" idx="27" hasCustomPrompt="1"/>
          </p:nvPr>
        </p:nvSpPr>
        <p:spPr>
          <a:xfrm>
            <a:off x="8978716"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en-US"/>
              <a:t>Indsæt </a:t>
            </a:r>
            <a:br>
              <a:rPr lang="en-US"/>
            </a:br>
            <a:r>
              <a:rPr lang="en-US"/>
              <a:t>fakta</a:t>
            </a:r>
            <a:endParaRPr lang="en-US" dirty="0"/>
          </a:p>
        </p:txBody>
      </p:sp>
      <p:sp>
        <p:nvSpPr>
          <p:cNvPr id="34" name="Text Placeholder 4">
            <a:extLst>
              <a:ext uri="{FF2B5EF4-FFF2-40B4-BE49-F238E27FC236}">
                <a16:creationId xmlns:a16="http://schemas.microsoft.com/office/drawing/2014/main" id="{032721F4-3138-C84F-987A-B1996ABE4AA9}"/>
              </a:ext>
            </a:extLst>
          </p:cNvPr>
          <p:cNvSpPr>
            <a:spLocks noGrp="1"/>
          </p:cNvSpPr>
          <p:nvPr>
            <p:ph type="body" sz="quarter" idx="28" hasCustomPrompt="1"/>
          </p:nvPr>
        </p:nvSpPr>
        <p:spPr>
          <a:xfrm>
            <a:off x="8974866"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en-US"/>
              <a:t>Tilføj tekst</a:t>
            </a:r>
            <a:endParaRPr lang="en-US" dirty="0"/>
          </a:p>
        </p:txBody>
      </p:sp>
      <p:sp>
        <p:nvSpPr>
          <p:cNvPr id="7" name="Pladsholder til billede 6">
            <a:extLst>
              <a:ext uri="{FF2B5EF4-FFF2-40B4-BE49-F238E27FC236}">
                <a16:creationId xmlns:a16="http://schemas.microsoft.com/office/drawing/2014/main" id="{E1B3C7FE-A5C5-DB43-8F81-6B58E0617478}"/>
              </a:ext>
            </a:extLst>
          </p:cNvPr>
          <p:cNvSpPr>
            <a:spLocks noGrp="1"/>
          </p:cNvSpPr>
          <p:nvPr>
            <p:ph type="pic" sz="quarter" idx="29" hasCustomPrompt="1"/>
          </p:nvPr>
        </p:nvSpPr>
        <p:spPr>
          <a:xfrm>
            <a:off x="982663" y="2528083"/>
            <a:ext cx="2398712" cy="1129517"/>
          </a:xfrm>
          <a:solidFill>
            <a:schemeClr val="bg1">
              <a:lumMod val="95000"/>
            </a:schemeClr>
          </a:solidFill>
        </p:spPr>
        <p:txBody>
          <a:bodyPr anchor="ctr"/>
          <a:lstStyle>
            <a:lvl1pPr marL="0" marR="0" indent="0" algn="just"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Tilføje billede</a:t>
            </a:r>
            <a:endParaRPr lang="en-US" dirty="0"/>
          </a:p>
        </p:txBody>
      </p:sp>
      <p:sp>
        <p:nvSpPr>
          <p:cNvPr id="23" name="Pladsholder til billede 6">
            <a:extLst>
              <a:ext uri="{FF2B5EF4-FFF2-40B4-BE49-F238E27FC236}">
                <a16:creationId xmlns:a16="http://schemas.microsoft.com/office/drawing/2014/main" id="{0DD12C78-FFFA-B441-91D8-3D10BA150646}"/>
              </a:ext>
            </a:extLst>
          </p:cNvPr>
          <p:cNvSpPr>
            <a:spLocks noGrp="1"/>
          </p:cNvSpPr>
          <p:nvPr>
            <p:ph type="pic" sz="quarter" idx="30" hasCustomPrompt="1"/>
          </p:nvPr>
        </p:nvSpPr>
        <p:spPr>
          <a:xfrm>
            <a:off x="3600028"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Tilføje billede</a:t>
            </a:r>
            <a:endParaRPr lang="en-US" dirty="0"/>
          </a:p>
        </p:txBody>
      </p:sp>
      <p:sp>
        <p:nvSpPr>
          <p:cNvPr id="35" name="Pladsholder til billede 6">
            <a:extLst>
              <a:ext uri="{FF2B5EF4-FFF2-40B4-BE49-F238E27FC236}">
                <a16:creationId xmlns:a16="http://schemas.microsoft.com/office/drawing/2014/main" id="{5433A101-EEC2-1A43-BCC6-EA29BC4C8101}"/>
              </a:ext>
            </a:extLst>
          </p:cNvPr>
          <p:cNvSpPr>
            <a:spLocks noGrp="1"/>
          </p:cNvSpPr>
          <p:nvPr>
            <p:ph type="pic" sz="quarter" idx="31" hasCustomPrompt="1"/>
          </p:nvPr>
        </p:nvSpPr>
        <p:spPr>
          <a:xfrm>
            <a:off x="6209005"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Tilføje billede</a:t>
            </a:r>
            <a:endParaRPr lang="en-US" dirty="0"/>
          </a:p>
        </p:txBody>
      </p:sp>
      <p:sp>
        <p:nvSpPr>
          <p:cNvPr id="36" name="Pladsholder til billede 6">
            <a:extLst>
              <a:ext uri="{FF2B5EF4-FFF2-40B4-BE49-F238E27FC236}">
                <a16:creationId xmlns:a16="http://schemas.microsoft.com/office/drawing/2014/main" id="{C060D71F-6125-7045-8FC0-37F1BD04BF91}"/>
              </a:ext>
            </a:extLst>
          </p:cNvPr>
          <p:cNvSpPr>
            <a:spLocks noGrp="1"/>
          </p:cNvSpPr>
          <p:nvPr>
            <p:ph type="pic" sz="quarter" idx="32" hasCustomPrompt="1"/>
          </p:nvPr>
        </p:nvSpPr>
        <p:spPr>
          <a:xfrm>
            <a:off x="8826370"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Tilføje billede</a:t>
            </a:r>
            <a:endParaRPr lang="en-US" dirty="0"/>
          </a:p>
        </p:txBody>
      </p:sp>
    </p:spTree>
    <p:extLst>
      <p:ext uri="{BB962C8B-B14F-4D97-AF65-F5344CB8AC3E}">
        <p14:creationId xmlns:p14="http://schemas.microsoft.com/office/powerpoint/2010/main" val="172002632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Helsides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Træk billede til pladsholder eller klik på symbol for at tilføje billede</a:t>
            </a:r>
            <a:endParaRPr lang="en-US" dirty="0"/>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r>
              <a:rPr lang="da-DK"/>
              <a:t>May 2019</a:t>
            </a:r>
            <a:endParaRPr lang="en-US" dirty="0"/>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r>
              <a:rPr lang="en-US"/>
              <a:t>GIE meeting</a:t>
            </a:r>
            <a:endParaRPr lang="en-US" dirty="0"/>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21663425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Helsidesbillede med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1DF8E84-042B-48C6-A46A-1D190EA2678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0" name="think-cell Slide" r:id="rId5" imgW="521" imgH="520" progId="TCLayout.ActiveDocument.1">
                  <p:embed/>
                </p:oleObj>
              </mc:Choice>
              <mc:Fallback>
                <p:oleObj name="think-cell Slide" r:id="rId5" imgW="521" imgH="520" progId="TCLayout.ActiveDocument.1">
                  <p:embed/>
                  <p:pic>
                    <p:nvPicPr>
                      <p:cNvPr id="4" name="Objekt 3" hidden="1">
                        <a:extLst>
                          <a:ext uri="{FF2B5EF4-FFF2-40B4-BE49-F238E27FC236}">
                            <a16:creationId xmlns:a16="http://schemas.microsoft.com/office/drawing/2014/main" id="{81DF8E84-042B-48C6-A46A-1D190EA267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DD98A658-3234-4EA3-9F66-26D54EA61666}"/>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Træk billede til pladsholder eller klik på symbol for at tilføje billede</a:t>
            </a:r>
            <a:endParaRPr lang="en-US" dirty="0"/>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r>
              <a:rPr lang="da-DK"/>
              <a:t>May 2019</a:t>
            </a:r>
            <a:endParaRPr lang="en-US" dirty="0"/>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r>
              <a:rPr lang="en-US"/>
              <a:t>GIE meeting</a:t>
            </a:r>
            <a:endParaRPr lang="en-US" dirty="0"/>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en-US" smtClean="0"/>
              <a:pPr/>
              <a:t>‹#›</a:t>
            </a:fld>
            <a:endParaRPr lang="en-US" dirty="0"/>
          </a:p>
        </p:txBody>
      </p:sp>
      <p:sp>
        <p:nvSpPr>
          <p:cNvPr id="3" name="Pladsholder til tekst 2">
            <a:extLst>
              <a:ext uri="{FF2B5EF4-FFF2-40B4-BE49-F238E27FC236}">
                <a16:creationId xmlns:a16="http://schemas.microsoft.com/office/drawing/2014/main" id="{68837300-163F-DC47-9B9C-D8493E8F69E9}"/>
              </a:ext>
            </a:extLst>
          </p:cNvPr>
          <p:cNvSpPr>
            <a:spLocks noGrp="1"/>
          </p:cNvSpPr>
          <p:nvPr>
            <p:ph type="body" sz="quarter" idx="14" hasCustomPrompt="1"/>
          </p:nvPr>
        </p:nvSpPr>
        <p:spPr>
          <a:xfrm>
            <a:off x="0" y="3761376"/>
            <a:ext cx="6749592" cy="2535237"/>
          </a:xfrm>
          <a:solidFill>
            <a:schemeClr val="accent1">
              <a:alpha val="82000"/>
            </a:schemeClr>
          </a:solidFill>
        </p:spPr>
        <p:txBody>
          <a:bodyPr/>
          <a:lstStyle>
            <a:lvl1pPr>
              <a:defRPr>
                <a:solidFill>
                  <a:schemeClr val="accent1"/>
                </a:solidFill>
              </a:defRPr>
            </a:lvl1pPr>
          </a:lstStyle>
          <a:p>
            <a:r>
              <a:rPr lang="en-US"/>
              <a:t>.</a:t>
            </a:r>
            <a:endParaRPr lang="en-US" dirty="0"/>
          </a:p>
        </p:txBody>
      </p:sp>
      <p:sp>
        <p:nvSpPr>
          <p:cNvPr id="12" name="Text Placeholder 2">
            <a:extLst>
              <a:ext uri="{FF2B5EF4-FFF2-40B4-BE49-F238E27FC236}">
                <a16:creationId xmlns:a16="http://schemas.microsoft.com/office/drawing/2014/main" id="{77FF458B-15FF-6B49-B25A-4260DC5E65ED}"/>
              </a:ext>
            </a:extLst>
          </p:cNvPr>
          <p:cNvSpPr>
            <a:spLocks noGrp="1"/>
          </p:cNvSpPr>
          <p:nvPr>
            <p:ph type="body" sz="quarter" idx="15" hasCustomPrompt="1"/>
          </p:nvPr>
        </p:nvSpPr>
        <p:spPr>
          <a:xfrm>
            <a:off x="885680" y="5249848"/>
            <a:ext cx="5364292" cy="839867"/>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en-US"/>
              <a:t>Tilføj kort tekst</a:t>
            </a:r>
            <a:endParaRPr lang="en-US" dirty="0"/>
          </a:p>
        </p:txBody>
      </p:sp>
      <p:sp>
        <p:nvSpPr>
          <p:cNvPr id="13" name="Title 1">
            <a:extLst>
              <a:ext uri="{FF2B5EF4-FFF2-40B4-BE49-F238E27FC236}">
                <a16:creationId xmlns:a16="http://schemas.microsoft.com/office/drawing/2014/main" id="{2E921A19-2C33-D149-9AE6-ECF43EC313CA}"/>
              </a:ext>
            </a:extLst>
          </p:cNvPr>
          <p:cNvSpPr>
            <a:spLocks noGrp="1"/>
          </p:cNvSpPr>
          <p:nvPr>
            <p:ph type="title" hasCustomPrompt="1"/>
          </p:nvPr>
        </p:nvSpPr>
        <p:spPr>
          <a:xfrm>
            <a:off x="885680" y="4069772"/>
            <a:ext cx="5364291" cy="1030127"/>
          </a:xfrm>
        </p:spPr>
        <p:txBody>
          <a:bodyPr anchor="b"/>
          <a:lstStyle>
            <a:lvl1pPr algn="l">
              <a:defRPr>
                <a:solidFill>
                  <a:schemeClr val="bg1"/>
                </a:solidFill>
              </a:defRPr>
            </a:lvl1pPr>
          </a:lstStyle>
          <a:p>
            <a:r>
              <a:rPr lang="en-US"/>
              <a:t>Indsæt overskrift</a:t>
            </a:r>
            <a:endParaRPr lang="en-US" dirty="0"/>
          </a:p>
        </p:txBody>
      </p:sp>
    </p:spTree>
    <p:extLst>
      <p:ext uri="{BB962C8B-B14F-4D97-AF65-F5344CB8AC3E}">
        <p14:creationId xmlns:p14="http://schemas.microsoft.com/office/powerpoint/2010/main" val="231663674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Helsidesbillede med tekst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F58AF95-D8ED-45F1-8E42-283C2B5BCF9A}"/>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4" name="think-cell Slide" r:id="rId5" imgW="521" imgH="520" progId="TCLayout.ActiveDocument.1">
                  <p:embed/>
                </p:oleObj>
              </mc:Choice>
              <mc:Fallback>
                <p:oleObj name="think-cell Slide" r:id="rId5" imgW="521" imgH="520" progId="TCLayout.ActiveDocument.1">
                  <p:embed/>
                  <p:pic>
                    <p:nvPicPr>
                      <p:cNvPr id="4" name="Objekt 3" hidden="1">
                        <a:extLst>
                          <a:ext uri="{FF2B5EF4-FFF2-40B4-BE49-F238E27FC236}">
                            <a16:creationId xmlns:a16="http://schemas.microsoft.com/office/drawing/2014/main" id="{BF58AF95-D8ED-45F1-8E42-283C2B5BCF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5EF6DD7B-4737-41E9-93D9-D0B6B721FB73}"/>
              </a:ext>
            </a:extLst>
          </p:cNvPr>
          <p:cNvSpPr/>
          <p:nvPr userDrawn="1">
            <p:custDataLst>
              <p:tags r:id="rId3"/>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Træk billede til pladsholder eller klik på symbol for at tilføje billede</a:t>
            </a:r>
            <a:endParaRPr lang="en-US" dirty="0"/>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r>
              <a:rPr lang="da-DK"/>
              <a:t>May 2019</a:t>
            </a:r>
            <a:endParaRPr lang="en-US" dirty="0"/>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r>
              <a:rPr lang="en-US"/>
              <a:t>GIE meeting</a:t>
            </a:r>
            <a:endParaRPr lang="en-US" dirty="0"/>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en-US" smtClean="0"/>
              <a:pPr/>
              <a:t>‹#›</a:t>
            </a:fld>
            <a:endParaRPr lang="en-US" dirty="0"/>
          </a:p>
        </p:txBody>
      </p:sp>
      <p:sp>
        <p:nvSpPr>
          <p:cNvPr id="3" name="Pladsholder til tekst 2">
            <a:extLst>
              <a:ext uri="{FF2B5EF4-FFF2-40B4-BE49-F238E27FC236}">
                <a16:creationId xmlns:a16="http://schemas.microsoft.com/office/drawing/2014/main" id="{68837300-163F-DC47-9B9C-D8493E8F69E9}"/>
              </a:ext>
            </a:extLst>
          </p:cNvPr>
          <p:cNvSpPr>
            <a:spLocks noGrp="1"/>
          </p:cNvSpPr>
          <p:nvPr>
            <p:ph type="body" sz="quarter" idx="14" hasCustomPrompt="1"/>
          </p:nvPr>
        </p:nvSpPr>
        <p:spPr>
          <a:xfrm>
            <a:off x="7258639" y="0"/>
            <a:ext cx="4242062" cy="6858000"/>
          </a:xfrm>
          <a:solidFill>
            <a:schemeClr val="accent1">
              <a:alpha val="82000"/>
            </a:schemeClr>
          </a:solidFill>
        </p:spPr>
        <p:txBody>
          <a:bodyPr/>
          <a:lstStyle>
            <a:lvl1pPr>
              <a:defRPr>
                <a:solidFill>
                  <a:schemeClr val="accent1"/>
                </a:solidFill>
              </a:defRPr>
            </a:lvl1pPr>
          </a:lstStyle>
          <a:p>
            <a:r>
              <a:rPr lang="en-US"/>
              <a:t>.</a:t>
            </a:r>
            <a:endParaRPr lang="en-US" dirty="0"/>
          </a:p>
        </p:txBody>
      </p:sp>
      <p:sp>
        <p:nvSpPr>
          <p:cNvPr id="12" name="Text Placeholder 2">
            <a:extLst>
              <a:ext uri="{FF2B5EF4-FFF2-40B4-BE49-F238E27FC236}">
                <a16:creationId xmlns:a16="http://schemas.microsoft.com/office/drawing/2014/main" id="{77FF458B-15FF-6B49-B25A-4260DC5E65ED}"/>
              </a:ext>
            </a:extLst>
          </p:cNvPr>
          <p:cNvSpPr>
            <a:spLocks noGrp="1"/>
          </p:cNvSpPr>
          <p:nvPr>
            <p:ph type="body" sz="quarter" idx="15" hasCustomPrompt="1"/>
          </p:nvPr>
        </p:nvSpPr>
        <p:spPr>
          <a:xfrm>
            <a:off x="7672980" y="2607740"/>
            <a:ext cx="3337528" cy="351968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en-US"/>
              <a:t>Tilføj tekst</a:t>
            </a:r>
            <a:endParaRPr lang="en-US" dirty="0"/>
          </a:p>
        </p:txBody>
      </p:sp>
      <p:sp>
        <p:nvSpPr>
          <p:cNvPr id="13" name="Title 1">
            <a:extLst>
              <a:ext uri="{FF2B5EF4-FFF2-40B4-BE49-F238E27FC236}">
                <a16:creationId xmlns:a16="http://schemas.microsoft.com/office/drawing/2014/main" id="{2E921A19-2C33-D149-9AE6-ECF43EC313CA}"/>
              </a:ext>
            </a:extLst>
          </p:cNvPr>
          <p:cNvSpPr>
            <a:spLocks noGrp="1"/>
          </p:cNvSpPr>
          <p:nvPr>
            <p:ph type="title" hasCustomPrompt="1"/>
          </p:nvPr>
        </p:nvSpPr>
        <p:spPr>
          <a:xfrm>
            <a:off x="7672980" y="789245"/>
            <a:ext cx="3337528" cy="1576883"/>
          </a:xfrm>
        </p:spPr>
        <p:txBody>
          <a:bodyPr anchor="b"/>
          <a:lstStyle>
            <a:lvl1pPr algn="l">
              <a:defRPr>
                <a:solidFill>
                  <a:schemeClr val="bg1"/>
                </a:solidFill>
              </a:defRPr>
            </a:lvl1pPr>
          </a:lstStyle>
          <a:p>
            <a:r>
              <a:rPr lang="en-US"/>
              <a:t>Indsæt overskrift</a:t>
            </a:r>
            <a:endParaRPr lang="en-US" dirty="0"/>
          </a:p>
        </p:txBody>
      </p:sp>
    </p:spTree>
    <p:extLst>
      <p:ext uri="{BB962C8B-B14F-4D97-AF65-F5344CB8AC3E}">
        <p14:creationId xmlns:p14="http://schemas.microsoft.com/office/powerpoint/2010/main" val="23574549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om">
    <p:spTree>
      <p:nvGrpSpPr>
        <p:cNvPr id="1" name=""/>
        <p:cNvGrpSpPr/>
        <p:nvPr/>
      </p:nvGrpSpPr>
      <p:grpSpPr>
        <a:xfrm>
          <a:off x="0" y="0"/>
          <a:ext cx="0" cy="0"/>
          <a:chOff x="0" y="0"/>
          <a:chExt cx="0" cy="0"/>
        </a:xfrm>
      </p:grpSpPr>
      <p:sp>
        <p:nvSpPr>
          <p:cNvPr id="9" name="Date_DateCustomA"/>
          <p:cNvSpPr>
            <a:spLocks noGrp="1"/>
          </p:cNvSpPr>
          <p:nvPr>
            <p:ph type="dt" sz="half" idx="10"/>
          </p:nvPr>
        </p:nvSpPr>
        <p:spPr>
          <a:xfrm>
            <a:off x="0" y="6912000"/>
            <a:ext cx="0" cy="0"/>
          </a:xfrm>
        </p:spPr>
        <p:txBody>
          <a:bodyPr/>
          <a:lstStyle>
            <a:lvl1pPr>
              <a:defRPr sz="100">
                <a:noFill/>
              </a:defRPr>
            </a:lvl1pPr>
          </a:lstStyle>
          <a:p>
            <a:r>
              <a:rPr lang="da-DK"/>
              <a:t>May 2019</a:t>
            </a:r>
            <a:endParaRPr lang="en-US" dirty="0"/>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r>
              <a:rPr lang="en-US"/>
              <a:t>GIE meeting</a:t>
            </a:r>
            <a:endParaRPr lang="en-US" dirty="0"/>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en-US" smtClean="0"/>
              <a:pPr/>
              <a:t>‹#›</a:t>
            </a:fld>
            <a:endParaRPr lang="en-US" dirty="0"/>
          </a:p>
        </p:txBody>
      </p:sp>
      <p:pic>
        <p:nvPicPr>
          <p:cNvPr id="6" name="Logo">
            <a:extLst>
              <a:ext uri="{FF2B5EF4-FFF2-40B4-BE49-F238E27FC236}">
                <a16:creationId xmlns:a16="http://schemas.microsoft.com/office/drawing/2014/main" id="{22772A8C-5A1B-E74C-98FD-E87FD5A802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Tree>
    <p:extLst>
      <p:ext uri="{BB962C8B-B14F-4D97-AF65-F5344CB8AC3E}">
        <p14:creationId xmlns:p14="http://schemas.microsoft.com/office/powerpoint/2010/main" val="245294626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5F867355-AAA7-FD40-B0C3-7BAE5A5FC3F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0000"/>
              </a:lnSpc>
              <a:spcBef>
                <a:spcPts val="750"/>
              </a:spcBef>
            </a:pPr>
            <a:endParaRPr lang="en-US" sz="2000" noProof="0" dirty="0"/>
          </a:p>
        </p:txBody>
      </p:sp>
      <p:sp>
        <p:nvSpPr>
          <p:cNvPr id="10" name="Tekstfelt 9">
            <a:extLst>
              <a:ext uri="{FF2B5EF4-FFF2-40B4-BE49-F238E27FC236}">
                <a16:creationId xmlns:a16="http://schemas.microsoft.com/office/drawing/2014/main" id="{D8A753AC-05F3-AD4C-BF95-2BE4A21C048C}"/>
              </a:ext>
            </a:extLst>
          </p:cNvPr>
          <p:cNvSpPr txBox="1"/>
          <p:nvPr userDrawn="1"/>
        </p:nvSpPr>
        <p:spPr>
          <a:xfrm>
            <a:off x="3479800" y="1876695"/>
            <a:ext cx="5232400" cy="769441"/>
          </a:xfrm>
          <a:prstGeom prst="rect">
            <a:avLst/>
          </a:prstGeom>
          <a:noFill/>
        </p:spPr>
        <p:txBody>
          <a:bodyPr wrap="square" lIns="0" tIns="0" rIns="0" bIns="0" rtlCol="0">
            <a:spAutoFit/>
          </a:bodyPr>
          <a:lstStyle/>
          <a:p>
            <a:pPr algn="ctr"/>
            <a:r>
              <a:rPr lang="en-US" sz="5000">
                <a:solidFill>
                  <a:schemeClr val="bg1"/>
                </a:solidFill>
              </a:rPr>
              <a:t>PAUSE</a:t>
            </a:r>
            <a:endParaRPr lang="en-US" sz="5000" dirty="0">
              <a:solidFill>
                <a:schemeClr val="bg1"/>
              </a:solidFill>
            </a:endParaRPr>
          </a:p>
        </p:txBody>
      </p:sp>
      <p:pic>
        <p:nvPicPr>
          <p:cNvPr id="11" name="Billede 10">
            <a:extLst>
              <a:ext uri="{FF2B5EF4-FFF2-40B4-BE49-F238E27FC236}">
                <a16:creationId xmlns:a16="http://schemas.microsoft.com/office/drawing/2014/main" id="{23DDF7F7-0AC1-C443-BA29-DD597A10C3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0575" y="2261415"/>
            <a:ext cx="4020155" cy="3935895"/>
          </a:xfrm>
          <a:prstGeom prst="rect">
            <a:avLst/>
          </a:prstGeom>
        </p:spPr>
      </p:pic>
    </p:spTree>
    <p:extLst>
      <p:ext uri="{BB962C8B-B14F-4D97-AF65-F5344CB8AC3E}">
        <p14:creationId xmlns:p14="http://schemas.microsoft.com/office/powerpoint/2010/main" val="100011976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pic>
        <p:nvPicPr>
          <p:cNvPr id="6" name="Billede 5"/>
          <p:cNvPicPr>
            <a:picLocks noChangeAspect="1"/>
          </p:cNvPicPr>
          <p:nvPr userDrawn="1"/>
        </p:nvPicPr>
        <p:blipFill rotWithShape="1">
          <a:blip r:embed="rId2" cstate="screen">
            <a:extLst>
              <a:ext uri="{28A0092B-C50C-407E-A947-70E740481C1C}">
                <a14:useLocalDpi xmlns:a14="http://schemas.microsoft.com/office/drawing/2010/main"/>
              </a:ext>
            </a:extLst>
          </a:blip>
          <a:srcRect t="1299" b="1121"/>
          <a:stretch/>
        </p:blipFill>
        <p:spPr>
          <a:xfrm>
            <a:off x="-16298" y="0"/>
            <a:ext cx="12208298" cy="6857999"/>
          </a:xfrm>
          <a:prstGeom prst="rect">
            <a:avLst/>
          </a:prstGeom>
        </p:spPr>
      </p:pic>
      <p:sp>
        <p:nvSpPr>
          <p:cNvPr id="3" name="Pladsholder til tekst 2"/>
          <p:cNvSpPr>
            <a:spLocks noGrp="1"/>
          </p:cNvSpPr>
          <p:nvPr>
            <p:ph type="body" sz="quarter" idx="11" hasCustomPrompt="1"/>
          </p:nvPr>
        </p:nvSpPr>
        <p:spPr>
          <a:xfrm>
            <a:off x="389376" y="5822731"/>
            <a:ext cx="6410325" cy="377825"/>
          </a:xfrm>
        </p:spPr>
        <p:txBody>
          <a:bodyPr/>
          <a:lstStyle>
            <a:lvl1pPr>
              <a:defRPr sz="1800" baseline="0">
                <a:solidFill>
                  <a:schemeClr val="bg1"/>
                </a:solidFill>
              </a:defRPr>
            </a:lvl1pPr>
          </a:lstStyle>
          <a:p>
            <a:pPr lvl="0"/>
            <a:r>
              <a:rPr lang="en-US"/>
              <a:t>KONTAKT: Tlf.: xx xx xx xx Mail: XXX@energinet.dk</a:t>
            </a:r>
            <a:endParaRPr lang="en-US" dirty="0"/>
          </a:p>
        </p:txBody>
      </p:sp>
      <p:sp>
        <p:nvSpPr>
          <p:cNvPr id="4" name="Tekstfelt 3"/>
          <p:cNvSpPr txBox="1"/>
          <p:nvPr userDrawn="1"/>
        </p:nvSpPr>
        <p:spPr>
          <a:xfrm>
            <a:off x="2701158" y="2026750"/>
            <a:ext cx="6600497" cy="1538883"/>
          </a:xfrm>
          <a:prstGeom prst="rect">
            <a:avLst/>
          </a:prstGeom>
          <a:noFill/>
        </p:spPr>
        <p:txBody>
          <a:bodyPr wrap="square" lIns="0" tIns="0" rIns="0" bIns="0" rtlCol="0">
            <a:spAutoFit/>
          </a:bodyPr>
          <a:lstStyle/>
          <a:p>
            <a:r>
              <a:rPr lang="en-US" sz="10000">
                <a:solidFill>
                  <a:schemeClr val="bg1"/>
                </a:solidFill>
              </a:rPr>
              <a:t>SPØRGSMÅL</a:t>
            </a:r>
            <a:endParaRPr lang="en-US" sz="10000" dirty="0">
              <a:solidFill>
                <a:schemeClr val="bg1"/>
              </a:solidFill>
            </a:endParaRPr>
          </a:p>
        </p:txBody>
      </p:sp>
    </p:spTree>
    <p:extLst>
      <p:ext uri="{BB962C8B-B14F-4D97-AF65-F5344CB8AC3E}">
        <p14:creationId xmlns:p14="http://schemas.microsoft.com/office/powerpoint/2010/main" val="350252741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5" name="Fast overskrift"/>
          <p:cNvSpPr txBox="1"/>
          <p:nvPr userDrawn="1"/>
        </p:nvSpPr>
        <p:spPr>
          <a:xfrm>
            <a:off x="982663" y="539750"/>
            <a:ext cx="9361487" cy="650171"/>
          </a:xfrm>
          <a:prstGeom prst="rect">
            <a:avLst/>
          </a:prstGeom>
          <a:noFill/>
        </p:spPr>
        <p:txBody>
          <a:bodyPr wrap="square" lIns="0" tIns="0" rIns="0" bIns="0" rtlCol="0" anchor="b" anchorCtr="0">
            <a:noAutofit/>
          </a:bodyPr>
          <a:lstStyle/>
          <a:p>
            <a:r>
              <a:rPr lang="en-US" sz="3200" b="0" noProof="1">
                <a:solidFill>
                  <a:schemeClr val="tx1"/>
                </a:solidFill>
                <a:latin typeface="Arial" panose="020B0604020202020204" pitchFamily="34" charset="0"/>
                <a:cs typeface="Arial" panose="020B0604020202020204" pitchFamily="34" charset="0"/>
              </a:rPr>
              <a:t>Brugerguide - Slet før anvendelse</a:t>
            </a:r>
          </a:p>
        </p:txBody>
      </p:sp>
      <p:sp>
        <p:nvSpPr>
          <p:cNvPr id="17" name="Text Box 2"/>
          <p:cNvSpPr txBox="1">
            <a:spLocks noChangeArrowheads="1"/>
          </p:cNvSpPr>
          <p:nvPr userDrawn="1"/>
        </p:nvSpPr>
        <p:spPr bwMode="auto">
          <a:xfrm>
            <a:off x="982667" y="1833789"/>
            <a:ext cx="2280360" cy="4678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US" sz="1000" b="1" noProof="1">
                <a:latin typeface="Arial" panose="020B0604020202020204" pitchFamily="34" charset="0"/>
                <a:cs typeface="Arial" panose="020B0604020202020204" pitchFamily="34" charset="0"/>
              </a:rPr>
              <a:t>Brug</a:t>
            </a:r>
            <a:r>
              <a:rPr lang="en-US" sz="1000" b="1" baseline="0" noProof="1">
                <a:latin typeface="Arial" panose="020B0604020202020204" pitchFamily="34" charset="0"/>
                <a:cs typeface="Arial" panose="020B0604020202020204" pitchFamily="34" charset="0"/>
              </a:rPr>
              <a:t> tekst typografier</a:t>
            </a:r>
            <a:endParaRPr lang="en-US" sz="1000" b="1" noProof="1">
              <a:latin typeface="Arial" panose="020B0604020202020204" pitchFamily="34" charset="0"/>
              <a:cs typeface="Arial" panose="020B0604020202020204" pitchFamily="34" charset="0"/>
            </a:endParaRPr>
          </a:p>
          <a:p>
            <a:pPr eaLnBrk="1" hangingPunct="1">
              <a:spcAft>
                <a:spcPts val="600"/>
              </a:spcAft>
              <a:defRPr/>
            </a:pPr>
            <a:r>
              <a:rPr lang="en-US" altLang="da-DK" sz="900" b="0" noProof="1">
                <a:solidFill>
                  <a:schemeClr val="tx1"/>
                </a:solidFill>
                <a:latin typeface="Arial" panose="020B0604020202020204" pitchFamily="34" charset="0"/>
                <a:cs typeface="Arial" panose="020B0604020202020204" pitchFamily="34" charset="0"/>
              </a:rPr>
              <a:t>Brug</a:t>
            </a:r>
            <a:r>
              <a:rPr lang="en-US" altLang="da-DK" sz="900" b="1" noProof="1">
                <a:solidFill>
                  <a:schemeClr val="tx1"/>
                </a:solidFill>
                <a:latin typeface="Arial" panose="020B0604020202020204" pitchFamily="34" charset="0"/>
                <a:cs typeface="Arial" panose="020B0604020202020204" pitchFamily="34" charset="0"/>
              </a:rPr>
              <a:t> TAB </a:t>
            </a:r>
            <a:r>
              <a:rPr lang="en-US" altLang="da-DK" sz="900" b="0" noProof="1">
                <a:solidFill>
                  <a:schemeClr val="tx1"/>
                </a:solidFill>
                <a:latin typeface="Arial" panose="020B0604020202020204" pitchFamily="34" charset="0"/>
                <a:cs typeface="Arial" panose="020B0604020202020204" pitchFamily="34" charset="0"/>
              </a:rPr>
              <a:t>for at gå frem i tekst-niveauer. Klik </a:t>
            </a:r>
            <a:r>
              <a:rPr lang="en-US" altLang="da-DK" sz="900" b="1" noProof="1">
                <a:solidFill>
                  <a:schemeClr val="tx1"/>
                </a:solidFill>
                <a:latin typeface="Arial" panose="020B0604020202020204" pitchFamily="34" charset="0"/>
                <a:cs typeface="Arial" panose="020B0604020202020204" pitchFamily="34" charset="0"/>
              </a:rPr>
              <a:t>ENTER</a:t>
            </a:r>
            <a:r>
              <a:rPr lang="en-US" altLang="da-DK" sz="900" b="0" noProof="1">
                <a:solidFill>
                  <a:schemeClr val="tx1"/>
                </a:solidFill>
                <a:latin typeface="Arial" panose="020B0604020202020204" pitchFamily="34" charset="0"/>
                <a:cs typeface="Arial" panose="020B0604020202020204" pitchFamily="34" charset="0"/>
              </a:rPr>
              <a:t>, derefter </a:t>
            </a:r>
            <a:r>
              <a:rPr lang="en-US" altLang="da-DK" sz="900" b="1" noProof="1">
                <a:solidFill>
                  <a:schemeClr val="tx1"/>
                </a:solidFill>
                <a:latin typeface="Arial" panose="020B0604020202020204" pitchFamily="34" charset="0"/>
                <a:cs typeface="Arial" panose="020B0604020202020204" pitchFamily="34" charset="0"/>
              </a:rPr>
              <a:t>TAB</a:t>
            </a:r>
            <a:r>
              <a:rPr lang="en-US"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en-US" altLang="da-DK" sz="900" b="0" noProof="1">
                <a:solidFill>
                  <a:schemeClr val="tx1"/>
                </a:solidFill>
                <a:latin typeface="Arial" panose="020B0604020202020204" pitchFamily="34" charset="0"/>
                <a:cs typeface="Arial" panose="020B0604020202020204" pitchFamily="34" charset="0"/>
              </a:rPr>
              <a:t>For at gå tilbage i tekst-niveauer,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brug </a:t>
            </a:r>
            <a:r>
              <a:rPr lang="en-US" altLang="da-DK" sz="900" b="1" noProof="1">
                <a:solidFill>
                  <a:schemeClr val="tx1"/>
                </a:solidFill>
                <a:latin typeface="Arial" panose="020B0604020202020204" pitchFamily="34" charset="0"/>
                <a:cs typeface="Arial" panose="020B0604020202020204" pitchFamily="34" charset="0"/>
              </a:rPr>
              <a:t>SHIFT+TAB.</a:t>
            </a:r>
            <a:endParaRPr lang="en-US"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US" altLang="da-DK" sz="900" b="0" noProof="1">
                <a:solidFill>
                  <a:schemeClr val="tx1"/>
                </a:solidFill>
                <a:latin typeface="Arial" panose="020B0604020202020204" pitchFamily="34" charset="0"/>
                <a:cs typeface="Arial" panose="020B0604020202020204" pitchFamily="34" charset="0"/>
              </a:rPr>
              <a:t>Alternativt kan </a:t>
            </a:r>
            <a:br>
              <a:rPr lang="en-US" altLang="da-DK" sz="900" b="0" noProof="1">
                <a:solidFill>
                  <a:schemeClr val="tx1"/>
                </a:solidFill>
                <a:latin typeface="Arial" panose="020B0604020202020204" pitchFamily="34" charset="0"/>
                <a:cs typeface="Arial" panose="020B0604020202020204" pitchFamily="34" charset="0"/>
              </a:rPr>
            </a:br>
            <a:r>
              <a:rPr lang="en-US" altLang="da-DK" sz="900" b="1" noProof="1">
                <a:solidFill>
                  <a:schemeClr val="tx1"/>
                </a:solidFill>
                <a:latin typeface="Arial" panose="020B0604020202020204" pitchFamily="34" charset="0"/>
                <a:cs typeface="Arial" panose="020B0604020202020204" pitchFamily="34" charset="0"/>
              </a:rPr>
              <a:t>Forøg</a:t>
            </a:r>
            <a:r>
              <a:rPr lang="en-US" altLang="da-DK" sz="900" b="0" noProof="1">
                <a:solidFill>
                  <a:schemeClr val="tx1"/>
                </a:solidFill>
                <a:latin typeface="Arial" panose="020B0604020202020204" pitchFamily="34" charset="0"/>
                <a:cs typeface="Arial" panose="020B0604020202020204" pitchFamily="34" charset="0"/>
              </a:rPr>
              <a:t> og </a:t>
            </a:r>
            <a:r>
              <a:rPr lang="en-US" altLang="da-DK" sz="900" b="1" noProof="1">
                <a:solidFill>
                  <a:schemeClr val="tx1"/>
                </a:solidFill>
                <a:latin typeface="Arial" panose="020B0604020202020204" pitchFamily="34" charset="0"/>
                <a:cs typeface="Arial" panose="020B0604020202020204" pitchFamily="34" charset="0"/>
              </a:rPr>
              <a:t>Formindsk</a:t>
            </a:r>
            <a:r>
              <a:rPr lang="en-US"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Aft>
                <a:spcPts val="600"/>
              </a:spcAft>
              <a:defRPr/>
            </a:pPr>
            <a:r>
              <a:rPr lang="en-US" altLang="da-DK" sz="900" b="0" noProof="1">
                <a:solidFill>
                  <a:schemeClr val="tx1"/>
                </a:solidFill>
                <a:latin typeface="Arial" panose="020B0604020202020204" pitchFamily="34" charset="0"/>
                <a:cs typeface="Arial" panose="020B0604020202020204" pitchFamily="34" charset="0"/>
              </a:rPr>
              <a:t>Brug </a:t>
            </a:r>
            <a:r>
              <a:rPr lang="en-US" altLang="da-DK" sz="900" b="1" noProof="1">
                <a:solidFill>
                  <a:schemeClr val="tx1"/>
                </a:solidFill>
                <a:latin typeface="Arial" panose="020B0604020202020204" pitchFamily="34" charset="0"/>
                <a:cs typeface="Arial" panose="020B0604020202020204" pitchFamily="34" charset="0"/>
              </a:rPr>
              <a:t>Bullet</a:t>
            </a:r>
            <a:r>
              <a:rPr lang="en-US" altLang="da-DK" sz="900" b="0" noProof="1">
                <a:solidFill>
                  <a:schemeClr val="tx1"/>
                </a:solidFill>
                <a:latin typeface="Arial" panose="020B0604020202020204" pitchFamily="34" charset="0"/>
                <a:cs typeface="Arial" panose="020B0604020202020204" pitchFamily="34" charset="0"/>
              </a:rPr>
              <a:t>-knappen for at fjerne og</a:t>
            </a:r>
            <a:r>
              <a:rPr lang="en-US" altLang="da-DK" sz="900" b="0" baseline="0" noProof="1">
                <a:solidFill>
                  <a:schemeClr val="tx1"/>
                </a:solidFill>
                <a:latin typeface="Arial" panose="020B0604020202020204" pitchFamily="34" charset="0"/>
                <a:cs typeface="Arial" panose="020B0604020202020204" pitchFamily="34" charset="0"/>
              </a:rPr>
              <a:t> sætte bullet på igen.</a:t>
            </a:r>
            <a:endParaRPr lang="en-US" altLang="da-DK" sz="900" b="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US" sz="1000" b="1" noProof="1">
                <a:solidFill>
                  <a:schemeClr val="tx1"/>
                </a:solidFill>
                <a:latin typeface="Arial" panose="020B0604020202020204" pitchFamily="34" charset="0"/>
                <a:cs typeface="Arial" panose="020B0604020202020204" pitchFamily="34" charset="0"/>
              </a:rPr>
              <a:t>Brug layouts</a:t>
            </a:r>
          </a:p>
          <a:p>
            <a:pPr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1. </a:t>
            </a:r>
            <a:r>
              <a:rPr lang="en-US" altLang="da-DK" sz="900" b="0" noProof="1">
                <a:solidFill>
                  <a:schemeClr val="tx1"/>
                </a:solidFill>
                <a:latin typeface="Arial" panose="020B0604020202020204" pitchFamily="34" charset="0"/>
                <a:cs typeface="Arial" panose="020B0604020202020204" pitchFamily="34" charset="0"/>
              </a:rPr>
              <a:t>Klik på fanen </a:t>
            </a:r>
            <a:r>
              <a:rPr lang="en-US" altLang="da-DK" sz="900" b="1" noProof="1">
                <a:solidFill>
                  <a:schemeClr val="tx1"/>
                </a:solidFill>
                <a:latin typeface="Arial" panose="020B0604020202020204" pitchFamily="34" charset="0"/>
                <a:cs typeface="Arial" panose="020B0604020202020204" pitchFamily="34" charset="0"/>
              </a:rPr>
              <a:t>Startside.</a:t>
            </a:r>
          </a:p>
          <a:p>
            <a:pPr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2. </a:t>
            </a:r>
            <a:r>
              <a:rPr lang="en-US" altLang="da-DK" sz="900" b="0" noProof="1">
                <a:solidFill>
                  <a:schemeClr val="tx1"/>
                </a:solidFill>
                <a:latin typeface="Arial" panose="020B0604020202020204" pitchFamily="34" charset="0"/>
                <a:cs typeface="Arial" panose="020B0604020202020204" pitchFamily="34" charset="0"/>
              </a:rPr>
              <a:t>Klik på menupunktet </a:t>
            </a:r>
            <a:r>
              <a:rPr lang="en-US" altLang="da-DK" sz="900" b="1" noProof="1">
                <a:solidFill>
                  <a:schemeClr val="tx1"/>
                </a:solidFill>
                <a:latin typeface="Arial" panose="020B0604020202020204" pitchFamily="34" charset="0"/>
                <a:cs typeface="Arial" panose="020B0604020202020204" pitchFamily="34" charset="0"/>
              </a:rPr>
              <a:t>Nyt dias </a:t>
            </a:r>
            <a:r>
              <a:rPr lang="en-US" altLang="da-DK" sz="900" b="0" noProof="1">
                <a:solidFill>
                  <a:schemeClr val="tx1"/>
                </a:solidFill>
                <a:latin typeface="Arial" panose="020B0604020202020204" pitchFamily="34" charset="0"/>
                <a:cs typeface="Arial" panose="020B0604020202020204" pitchFamily="34" charset="0"/>
              </a:rPr>
              <a:t>for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at indsætte nyt slide.</a:t>
            </a:r>
          </a:p>
          <a:p>
            <a:pPr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3. </a:t>
            </a:r>
            <a:r>
              <a:rPr lang="en-US" altLang="da-DK" sz="900" b="0" noProof="1">
                <a:solidFill>
                  <a:schemeClr val="tx1"/>
                </a:solidFill>
                <a:latin typeface="Arial" panose="020B0604020202020204" pitchFamily="34" charset="0"/>
                <a:cs typeface="Arial" panose="020B0604020202020204" pitchFamily="34" charset="0"/>
              </a:rPr>
              <a:t>Vælg det layout, du ønsker,</a:t>
            </a:r>
            <a:r>
              <a:rPr lang="en-US" altLang="da-DK" sz="900" b="0" baseline="0" noProof="1">
                <a:solidFill>
                  <a:schemeClr val="tx1"/>
                </a:solidFill>
                <a:latin typeface="Arial" panose="020B0604020202020204" pitchFamily="34" charset="0"/>
                <a:cs typeface="Arial" panose="020B0604020202020204" pitchFamily="34" charset="0"/>
              </a:rPr>
              <a:t> </a:t>
            </a:r>
            <a:r>
              <a:rPr lang="en-US" altLang="da-DK" sz="900" b="0" noProof="1">
                <a:solidFill>
                  <a:schemeClr val="tx1"/>
                </a:solidFill>
                <a:latin typeface="Arial" panose="020B0604020202020204" pitchFamily="34" charset="0"/>
                <a:cs typeface="Arial" panose="020B0604020202020204" pitchFamily="34" charset="0"/>
              </a:rPr>
              <a:t>for at ændre dit nuværende layout til et alternativt.</a:t>
            </a:r>
          </a:p>
          <a:p>
            <a:pPr fontAlgn="auto">
              <a:spcBef>
                <a:spcPts val="1200"/>
              </a:spcBef>
              <a:spcAft>
                <a:spcPts val="600"/>
              </a:spcAft>
              <a:buFont typeface="+mj-lt"/>
              <a:buNone/>
              <a:defRPr/>
            </a:pPr>
            <a:r>
              <a:rPr lang="en-US" sz="10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Arial" panose="020B0604020202020204" pitchFamily="34" charset="0"/>
                <a:cs typeface="Arial" panose="020B0604020202020204" pitchFamily="34" charset="0"/>
              </a:rPr>
              <a:t>1. </a:t>
            </a:r>
            <a:r>
              <a:rPr lang="en-US" altLang="da-DK" sz="900" b="0" noProof="1">
                <a:solidFill>
                  <a:schemeClr val="tx1"/>
                </a:solidFill>
                <a:latin typeface="Arial" panose="020B0604020202020204" pitchFamily="34" charset="0"/>
                <a:cs typeface="Arial" panose="020B0604020202020204" pitchFamily="34" charset="0"/>
              </a:rPr>
              <a:t>Klik på fanen </a:t>
            </a:r>
            <a:r>
              <a:rPr lang="en-US"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Arial" panose="020B0604020202020204" pitchFamily="34" charset="0"/>
                <a:cs typeface="Arial" panose="020B0604020202020204" pitchFamily="34" charset="0"/>
              </a:rPr>
              <a:t>2. </a:t>
            </a:r>
            <a:r>
              <a:rPr lang="en-US" altLang="da-DK" sz="900" b="0" noProof="1">
                <a:solidFill>
                  <a:schemeClr val="tx1"/>
                </a:solidFill>
                <a:latin typeface="Arial" panose="020B0604020202020204" pitchFamily="34" charset="0"/>
                <a:cs typeface="Arial" panose="020B0604020202020204" pitchFamily="34" charset="0"/>
              </a:rPr>
              <a:t>Vælg </a:t>
            </a:r>
            <a:r>
              <a:rPr lang="en-US" altLang="da-DK" sz="900" b="1" noProof="1">
                <a:solidFill>
                  <a:schemeClr val="tx1"/>
                </a:solidFill>
                <a:latin typeface="Arial" panose="020B0604020202020204" pitchFamily="34" charset="0"/>
                <a:cs typeface="Arial" panose="020B0604020202020204" pitchFamily="34" charset="0"/>
              </a:rPr>
              <a:t>Nulstil</a:t>
            </a:r>
            <a:r>
              <a:rPr lang="en-US"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 .</a:t>
            </a:r>
          </a:p>
          <a:p>
            <a:pPr eaLnBrk="1" hangingPunct="1">
              <a:spcAft>
                <a:spcPts val="600"/>
              </a:spcAft>
              <a:defRPr/>
            </a:pPr>
            <a:endParaRPr lang="en-US"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en-US" sz="900" noProof="1">
              <a:solidFill>
                <a:schemeClr val="tx1"/>
              </a:solidFill>
              <a:latin typeface="Arial" panose="020B0604020202020204" pitchFamily="34" charset="0"/>
              <a:cs typeface="Arial" panose="020B0604020202020204" pitchFamily="34" charset="0"/>
            </a:endParaRPr>
          </a:p>
        </p:txBody>
      </p:sp>
      <p:sp>
        <p:nvSpPr>
          <p:cNvPr id="18" name="Text Box 3"/>
          <p:cNvSpPr txBox="1">
            <a:spLocks noChangeArrowheads="1"/>
          </p:cNvSpPr>
          <p:nvPr userDrawn="1"/>
        </p:nvSpPr>
        <p:spPr bwMode="auto">
          <a:xfrm>
            <a:off x="5039973" y="1833789"/>
            <a:ext cx="1927222"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US" sz="10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en-US" altLang="da-DK" sz="900" b="0" noProof="1">
                <a:solidFill>
                  <a:schemeClr val="tx1"/>
                </a:solidFill>
                <a:latin typeface="Arial" panose="020B0604020202020204" pitchFamily="34" charset="0"/>
                <a:cs typeface="Arial" panose="020B0604020202020204" pitchFamily="34" charset="0"/>
              </a:rPr>
              <a:t>På slides med billedpladsholder,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klik på ikonet og vælg </a:t>
            </a:r>
            <a:r>
              <a:rPr lang="en-US" altLang="da-DK" sz="900" b="1" noProof="1">
                <a:solidFill>
                  <a:schemeClr val="tx1"/>
                </a:solidFill>
                <a:latin typeface="Arial" panose="020B0604020202020204" pitchFamily="34" charset="0"/>
                <a:cs typeface="Arial" panose="020B0604020202020204" pitchFamily="34" charset="0"/>
              </a:rPr>
              <a:t>Indsæt.</a:t>
            </a:r>
          </a:p>
          <a:p>
            <a:pPr eaLnBrk="1" hangingPunct="1">
              <a:spcBef>
                <a:spcPts val="1200"/>
              </a:spcBef>
              <a:spcAft>
                <a:spcPts val="600"/>
              </a:spcAft>
              <a:defRPr/>
            </a:pPr>
            <a:r>
              <a:rPr lang="en-US" sz="10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1.</a:t>
            </a:r>
            <a:r>
              <a:rPr lang="en-US" altLang="da-DK" sz="900" b="1" baseline="0" noProof="1">
                <a:solidFill>
                  <a:schemeClr val="tx1"/>
                </a:solidFill>
                <a:latin typeface="Arial" panose="020B0604020202020204" pitchFamily="34" charset="0"/>
                <a:cs typeface="Arial" panose="020B0604020202020204" pitchFamily="34" charset="0"/>
              </a:rPr>
              <a:t> </a:t>
            </a:r>
            <a:r>
              <a:rPr lang="en-US" altLang="da-DK" sz="900" b="0" baseline="0" noProof="1">
                <a:solidFill>
                  <a:schemeClr val="tx1"/>
                </a:solidFill>
                <a:latin typeface="Arial" panose="020B0604020202020204" pitchFamily="34" charset="0"/>
                <a:cs typeface="Arial" panose="020B0604020202020204" pitchFamily="34" charset="0"/>
              </a:rPr>
              <a:t>Markér billedet. Klik på fanen </a:t>
            </a:r>
            <a:r>
              <a:rPr lang="en-US" altLang="da-DK" sz="900" b="1" noProof="1">
                <a:solidFill>
                  <a:schemeClr val="tx1"/>
                </a:solidFill>
                <a:latin typeface="Arial" panose="020B0604020202020204" pitchFamily="34" charset="0"/>
                <a:cs typeface="Arial" panose="020B0604020202020204" pitchFamily="34" charset="0"/>
              </a:rPr>
              <a:t>Billedværktøjer</a:t>
            </a:r>
            <a:r>
              <a:rPr lang="en-US" altLang="da-DK" sz="900" b="0" baseline="0" noProof="1">
                <a:solidFill>
                  <a:schemeClr val="tx1"/>
                </a:solidFill>
                <a:latin typeface="Arial" panose="020B0604020202020204" pitchFamily="34" charset="0"/>
                <a:cs typeface="Arial" panose="020B0604020202020204" pitchFamily="34" charset="0"/>
              </a:rPr>
              <a:t> og </a:t>
            </a:r>
            <a:r>
              <a:rPr lang="en-US" altLang="da-DK" sz="900" b="1" noProof="1">
                <a:solidFill>
                  <a:schemeClr val="tx1"/>
                </a:solidFill>
                <a:latin typeface="Arial" panose="020B0604020202020204" pitchFamily="34" charset="0"/>
                <a:cs typeface="Arial" panose="020B0604020202020204" pitchFamily="34" charset="0"/>
              </a:rPr>
              <a:t>Formater</a:t>
            </a:r>
            <a:r>
              <a:rPr lang="en-US" altLang="da-DK" sz="900" b="0" baseline="0" noProof="1">
                <a:solidFill>
                  <a:schemeClr val="tx1"/>
                </a:solidFill>
                <a:latin typeface="Arial" panose="020B0604020202020204" pitchFamily="34" charset="0"/>
                <a:cs typeface="Arial" panose="020B0604020202020204" pitchFamily="34" charset="0"/>
              </a:rPr>
              <a:t>.</a:t>
            </a:r>
            <a:endParaRPr lang="en-US"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2. </a:t>
            </a:r>
            <a:r>
              <a:rPr lang="en-US" altLang="da-DK" sz="900" b="0" noProof="1">
                <a:solidFill>
                  <a:schemeClr val="tx1"/>
                </a:solidFill>
                <a:latin typeface="Arial" panose="020B0604020202020204" pitchFamily="34" charset="0"/>
                <a:cs typeface="Arial" panose="020B0604020202020204" pitchFamily="34" charset="0"/>
              </a:rPr>
              <a:t>Klik </a:t>
            </a:r>
            <a:r>
              <a:rPr lang="en-US" altLang="da-DK" sz="900" b="1" noProof="1">
                <a:solidFill>
                  <a:schemeClr val="tx1"/>
                </a:solidFill>
                <a:latin typeface="Arial" panose="020B0604020202020204" pitchFamily="34" charset="0"/>
                <a:cs typeface="Arial" panose="020B0604020202020204" pitchFamily="34" charset="0"/>
              </a:rPr>
              <a:t>Beskær</a:t>
            </a:r>
            <a:r>
              <a:rPr lang="en-US" altLang="da-DK" sz="900" b="0" noProof="1">
                <a:solidFill>
                  <a:schemeClr val="tx1"/>
                </a:solidFill>
                <a:latin typeface="Arial" panose="020B0604020202020204" pitchFamily="34" charset="0"/>
                <a:cs typeface="Arial" panose="020B0604020202020204" pitchFamily="34" charset="0"/>
              </a:rPr>
              <a:t> for at ændre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3. </a:t>
            </a:r>
            <a:r>
              <a:rPr lang="en-US" altLang="da-DK" sz="900" b="0" noProof="1">
                <a:solidFill>
                  <a:schemeClr val="tx1"/>
                </a:solidFill>
                <a:latin typeface="Arial" panose="020B0604020202020204" pitchFamily="34" charset="0"/>
                <a:cs typeface="Arial" panose="020B0604020202020204" pitchFamily="34" charset="0"/>
              </a:rPr>
              <a:t>Ønsker du at skalere billedet, så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hold </a:t>
            </a:r>
            <a:r>
              <a:rPr lang="en-US" altLang="da-DK" sz="900" b="1" noProof="1">
                <a:solidFill>
                  <a:schemeClr val="tx1"/>
                </a:solidFill>
                <a:latin typeface="Arial" panose="020B0604020202020204" pitchFamily="34" charset="0"/>
                <a:cs typeface="Arial" panose="020B0604020202020204" pitchFamily="34" charset="0"/>
              </a:rPr>
              <a:t>SHIFT</a:t>
            </a:r>
            <a:r>
              <a:rPr lang="en-US" altLang="da-DK" sz="900" b="0" noProof="1">
                <a:solidFill>
                  <a:schemeClr val="tx1"/>
                </a:solidFill>
                <a:latin typeface="Arial" panose="020B0604020202020204" pitchFamily="34" charset="0"/>
                <a:cs typeface="Arial" panose="020B0604020202020204" pitchFamily="34" charset="0"/>
              </a:rPr>
              <a:t>-knappen nede, mens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Tips: </a:t>
            </a:r>
            <a:r>
              <a:rPr lang="en-US" altLang="da-DK" sz="900" b="0" noProof="1">
                <a:solidFill>
                  <a:schemeClr val="tx1"/>
                </a:solidFill>
                <a:latin typeface="Arial" panose="020B0604020202020204" pitchFamily="34" charset="0"/>
                <a:cs typeface="Arial" panose="020B0604020202020204" pitchFamily="34" charset="0"/>
              </a:rPr>
              <a:t>Hvis du sletter billedet og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indsætter et nyt, kan billedet lægge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sig foran tekst og grafik. Hvis dette sker, højreklik på billedet og vælg </a:t>
            </a:r>
            <a:r>
              <a:rPr lang="en-US" altLang="da-DK" sz="900" b="1" noProof="1">
                <a:solidFill>
                  <a:schemeClr val="tx1"/>
                </a:solidFill>
                <a:latin typeface="Arial" panose="020B0604020202020204" pitchFamily="34" charset="0"/>
                <a:cs typeface="Arial" panose="020B0604020202020204" pitchFamily="34" charset="0"/>
              </a:rPr>
              <a:t>Placer bagest.</a:t>
            </a:r>
          </a:p>
        </p:txBody>
      </p:sp>
      <p:sp>
        <p:nvSpPr>
          <p:cNvPr id="19" name="Text Box 4"/>
          <p:cNvSpPr txBox="1">
            <a:spLocks noChangeArrowheads="1"/>
          </p:cNvSpPr>
          <p:nvPr userDrawn="1"/>
        </p:nvSpPr>
        <p:spPr bwMode="auto">
          <a:xfrm>
            <a:off x="9062174" y="1815926"/>
            <a:ext cx="2256615" cy="350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US" sz="1000" b="1" noProof="1">
                <a:solidFill>
                  <a:schemeClr val="tx1"/>
                </a:solidFill>
                <a:latin typeface="Arial" panose="020B0604020202020204" pitchFamily="34" charset="0"/>
                <a:cs typeface="Arial" panose="020B0604020202020204" pitchFamily="34" charset="0"/>
              </a:rPr>
              <a:t>For at justere sidenummerering, </a:t>
            </a:r>
            <a:br>
              <a:rPr lang="en-US" sz="1000" b="1" noProof="1">
                <a:solidFill>
                  <a:schemeClr val="tx1"/>
                </a:solidFill>
                <a:latin typeface="Arial" panose="020B0604020202020204" pitchFamily="34" charset="0"/>
                <a:cs typeface="Arial" panose="020B0604020202020204" pitchFamily="34" charset="0"/>
              </a:rPr>
            </a:br>
            <a:r>
              <a:rPr lang="en-US" sz="10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Arial" panose="020B0604020202020204" pitchFamily="34" charset="0"/>
                <a:cs typeface="Arial" panose="020B0604020202020204" pitchFamily="34" charset="0"/>
              </a:rPr>
              <a:t>Gør dette som</a:t>
            </a:r>
            <a:r>
              <a:rPr lang="en-US" altLang="da-DK" sz="900" b="0" baseline="0" noProof="1">
                <a:solidFill>
                  <a:schemeClr val="tx1"/>
                </a:solidFill>
                <a:latin typeface="Arial" panose="020B0604020202020204" pitchFamily="34" charset="0"/>
                <a:cs typeface="Arial" panose="020B0604020202020204" pitchFamily="34" charset="0"/>
              </a:rPr>
              <a:t> det sidste i din præsentation, så det slår igennem på alle slides.</a:t>
            </a:r>
            <a:endParaRPr lang="en-US"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1. </a:t>
            </a:r>
            <a:r>
              <a:rPr lang="en-US" altLang="da-DK" sz="900" b="0" noProof="1">
                <a:solidFill>
                  <a:schemeClr val="tx1"/>
                </a:solidFill>
                <a:latin typeface="Arial" panose="020B0604020202020204" pitchFamily="34" charset="0"/>
                <a:cs typeface="Arial" panose="020B0604020202020204" pitchFamily="34" charset="0"/>
              </a:rPr>
              <a:t>Klik på fanen </a:t>
            </a:r>
            <a:r>
              <a:rPr lang="en-US"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2. </a:t>
            </a:r>
            <a:r>
              <a:rPr lang="en-US" altLang="da-DK" sz="900" b="0" noProof="1">
                <a:solidFill>
                  <a:schemeClr val="tx1"/>
                </a:solidFill>
                <a:latin typeface="Arial" panose="020B0604020202020204" pitchFamily="34" charset="0"/>
                <a:cs typeface="Arial" panose="020B0604020202020204" pitchFamily="34" charset="0"/>
              </a:rPr>
              <a:t>Klik </a:t>
            </a:r>
            <a:r>
              <a:rPr lang="en-US" altLang="da-DK" sz="900" b="1" noProof="1">
                <a:solidFill>
                  <a:schemeClr val="tx1"/>
                </a:solidFill>
                <a:latin typeface="Arial" panose="020B0604020202020204" pitchFamily="34" charset="0"/>
                <a:cs typeface="Arial" panose="020B0604020202020204" pitchFamily="34" charset="0"/>
              </a:rPr>
              <a:t>Sidehoved og Sidef</a:t>
            </a:r>
            <a:r>
              <a:rPr lang="en-US" altLang="da-DK" sz="900" b="0" noProof="1">
                <a:solidFill>
                  <a:schemeClr val="tx1"/>
                </a:solidFill>
                <a:latin typeface="Arial" panose="020B0604020202020204" pitchFamily="34" charset="0"/>
                <a:cs typeface="Arial" panose="020B0604020202020204" pitchFamily="34" charset="0"/>
              </a:rPr>
              <a:t>od</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en-US" altLang="da-DK" sz="900" b="0" noProof="1">
                <a:solidFill>
                  <a:schemeClr val="tx1"/>
                </a:solidFill>
                <a:latin typeface="Arial" panose="020B0604020202020204" pitchFamily="34" charset="0"/>
                <a:cs typeface="Arial" panose="020B0604020202020204" pitchFamily="34" charset="0"/>
              </a:rPr>
              <a:t>Vælg </a:t>
            </a:r>
            <a:r>
              <a:rPr lang="en-US" altLang="da-DK" sz="900" b="1" noProof="1">
                <a:solidFill>
                  <a:schemeClr val="tx1"/>
                </a:solidFill>
                <a:latin typeface="Arial" panose="020B0604020202020204" pitchFamily="34" charset="0"/>
                <a:cs typeface="Arial" panose="020B0604020202020204" pitchFamily="34" charset="0"/>
              </a:rPr>
              <a:t>Anvend på alle </a:t>
            </a:r>
            <a:r>
              <a:rPr lang="en-US" altLang="da-DK" sz="900" b="0" noProof="1">
                <a:solidFill>
                  <a:schemeClr val="tx1"/>
                </a:solidFill>
                <a:latin typeface="Arial" panose="020B0604020202020204" pitchFamily="34" charset="0"/>
                <a:cs typeface="Arial" panose="020B0604020202020204" pitchFamily="34" charset="0"/>
              </a:rPr>
              <a:t>eller </a:t>
            </a:r>
            <a:r>
              <a:rPr lang="en-US" altLang="da-DK" sz="900" b="1" noProof="1">
                <a:solidFill>
                  <a:schemeClr val="tx1"/>
                </a:solidFill>
                <a:latin typeface="Arial" panose="020B0604020202020204" pitchFamily="34" charset="0"/>
                <a:cs typeface="Arial" panose="020B0604020202020204" pitchFamily="34" charset="0"/>
              </a:rPr>
              <a:t>Anvend</a:t>
            </a:r>
            <a:r>
              <a:rPr lang="en-US"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en-US" sz="10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en-US"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1. </a:t>
            </a:r>
            <a:r>
              <a:rPr lang="en-US" altLang="da-DK" sz="900" b="0" noProof="1">
                <a:solidFill>
                  <a:schemeClr val="tx1"/>
                </a:solidFill>
                <a:latin typeface="Arial" panose="020B0604020202020204" pitchFamily="34" charset="0"/>
                <a:cs typeface="Arial" panose="020B0604020202020204" pitchFamily="34" charset="0"/>
              </a:rPr>
              <a:t>Klik på fanen </a:t>
            </a:r>
            <a:r>
              <a:rPr lang="en-US" altLang="da-DK" sz="900" b="1" noProof="1">
                <a:solidFill>
                  <a:schemeClr val="tx1"/>
                </a:solidFill>
                <a:latin typeface="Arial" panose="020B0604020202020204" pitchFamily="34" charset="0"/>
                <a:cs typeface="Arial" panose="020B0604020202020204" pitchFamily="34" charset="0"/>
              </a:rPr>
              <a:t>Vis </a:t>
            </a:r>
            <a:r>
              <a:rPr lang="en-US" altLang="da-DK" sz="900" b="0" noProof="1">
                <a:solidFill>
                  <a:schemeClr val="tx1"/>
                </a:solidFill>
                <a:latin typeface="Arial" panose="020B0604020202020204" pitchFamily="34" charset="0"/>
                <a:cs typeface="Arial" panose="020B0604020202020204" pitchFamily="34" charset="0"/>
              </a:rPr>
              <a:t>og sæt hak ved </a:t>
            </a:r>
            <a:r>
              <a:rPr lang="en-US"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endParaRPr lang="en-US"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Tips: Alt + F9 </a:t>
            </a:r>
            <a:r>
              <a:rPr lang="en-US" altLang="da-DK" sz="900" b="0" noProof="1">
                <a:solidFill>
                  <a:schemeClr val="tx1"/>
                </a:solidFill>
                <a:latin typeface="Arial" panose="020B0604020202020204" pitchFamily="34" charset="0"/>
                <a:cs typeface="Arial" panose="020B0604020202020204" pitchFamily="34" charset="0"/>
              </a:rPr>
              <a:t>for hurtig visning af hjælpelinjer.</a:t>
            </a:r>
          </a:p>
          <a:p>
            <a:pPr eaLnBrk="1" hangingPunct="1">
              <a:spcAft>
                <a:spcPts val="600"/>
              </a:spcAft>
              <a:defRPr/>
            </a:pPr>
            <a:endParaRPr lang="en-US" altLang="da-DK" sz="900" b="0" noProof="1">
              <a:solidFill>
                <a:schemeClr val="tx1"/>
              </a:solidFill>
              <a:latin typeface="Arial" panose="020B0604020202020204" pitchFamily="34" charset="0"/>
              <a:cs typeface="Arial" panose="020B0604020202020204" pitchFamily="34" charset="0"/>
            </a:endParaRPr>
          </a:p>
        </p:txBody>
      </p:sp>
      <p:pic>
        <p:nvPicPr>
          <p:cNvPr id="22" name="1 Forøg formindsk"/>
          <p:cNvPicPr>
            <a:picLocks noChangeAspect="1"/>
          </p:cNvPicPr>
          <p:nvPr userDrawn="1"/>
        </p:nvPicPr>
        <p:blipFill>
          <a:blip r:embed="rId2"/>
          <a:stretch>
            <a:fillRect/>
          </a:stretch>
        </p:blipFill>
        <p:spPr>
          <a:xfrm>
            <a:off x="3143464" y="2877130"/>
            <a:ext cx="549328" cy="285228"/>
          </a:xfrm>
          <a:prstGeom prst="rect">
            <a:avLst/>
          </a:prstGeom>
        </p:spPr>
      </p:pic>
      <p:pic>
        <p:nvPicPr>
          <p:cNvPr id="26" name="2 Ny slide"/>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157383" y="3958874"/>
            <a:ext cx="363713" cy="647461"/>
          </a:xfrm>
          <a:prstGeom prst="rect">
            <a:avLst/>
          </a:prstGeom>
        </p:spPr>
      </p:pic>
      <p:pic>
        <p:nvPicPr>
          <p:cNvPr id="27" name="4 Nulstil"/>
          <p:cNvPicPr>
            <a:picLocks noChangeAspect="1"/>
          </p:cNvPicPr>
          <p:nvPr userDrawn="1"/>
        </p:nvPicPr>
        <p:blipFill>
          <a:blip r:embed="rId4"/>
          <a:stretch>
            <a:fillRect/>
          </a:stretch>
        </p:blipFill>
        <p:spPr>
          <a:xfrm>
            <a:off x="3145551" y="5464557"/>
            <a:ext cx="547241" cy="197798"/>
          </a:xfrm>
          <a:prstGeom prst="rect">
            <a:avLst/>
          </a:prstGeom>
        </p:spPr>
      </p:pic>
      <p:pic>
        <p:nvPicPr>
          <p:cNvPr id="30" name="5 Indsæt billede"/>
          <p:cNvPicPr>
            <a:picLocks noChangeAspect="1"/>
          </p:cNvPicPr>
          <p:nvPr userDrawn="1"/>
        </p:nvPicPr>
        <p:blipFill>
          <a:blip r:embed="rId5"/>
          <a:stretch>
            <a:fillRect/>
          </a:stretch>
        </p:blipFill>
        <p:spPr>
          <a:xfrm>
            <a:off x="6967195" y="2075087"/>
            <a:ext cx="262151" cy="256054"/>
          </a:xfrm>
          <a:prstGeom prst="rect">
            <a:avLst/>
          </a:prstGeom>
        </p:spPr>
      </p:pic>
      <p:pic>
        <p:nvPicPr>
          <p:cNvPr id="31" name="6 Beskær"/>
          <p:cNvPicPr>
            <a:picLocks noChangeAspect="1"/>
          </p:cNvPicPr>
          <p:nvPr userDrawn="1"/>
        </p:nvPicPr>
        <p:blipFill>
          <a:blip r:embed="rId6"/>
          <a:stretch>
            <a:fillRect/>
          </a:stretch>
        </p:blipFill>
        <p:spPr>
          <a:xfrm>
            <a:off x="6929570" y="3095427"/>
            <a:ext cx="337400" cy="321707"/>
          </a:xfrm>
          <a:prstGeom prst="rect">
            <a:avLst/>
          </a:prstGeom>
        </p:spPr>
      </p:pic>
      <p:pic>
        <p:nvPicPr>
          <p:cNvPr id="32" name="7 Skalér billede"/>
          <p:cNvPicPr>
            <a:picLocks noChangeAspect="1"/>
          </p:cNvPicPr>
          <p:nvPr userDrawn="1"/>
        </p:nvPicPr>
        <p:blipFill>
          <a:blip r:embed="rId7"/>
          <a:stretch>
            <a:fillRect/>
          </a:stretch>
        </p:blipFill>
        <p:spPr>
          <a:xfrm>
            <a:off x="6945349" y="3543401"/>
            <a:ext cx="359695" cy="335309"/>
          </a:xfrm>
          <a:prstGeom prst="rect">
            <a:avLst/>
          </a:prstGeom>
        </p:spPr>
      </p:pic>
      <p:pic>
        <p:nvPicPr>
          <p:cNvPr id="33" name="Picture 13"/>
          <p:cNvPicPr>
            <a:picLocks noChangeAspect="1"/>
          </p:cNvPicPr>
          <p:nvPr userDrawn="1"/>
        </p:nvPicPr>
        <p:blipFill>
          <a:blip r:embed="rId8"/>
          <a:stretch>
            <a:fillRect/>
          </a:stretch>
        </p:blipFill>
        <p:spPr>
          <a:xfrm>
            <a:off x="3239595" y="3321050"/>
            <a:ext cx="199287" cy="192169"/>
          </a:xfrm>
          <a:prstGeom prst="rect">
            <a:avLst/>
          </a:prstGeom>
          <a:ln w="3175">
            <a:solidFill>
              <a:schemeClr val="tx1">
                <a:lumMod val="50000"/>
                <a:lumOff val="50000"/>
              </a:schemeClr>
            </a:solidFill>
          </a:ln>
        </p:spPr>
      </p:pic>
      <p:pic>
        <p:nvPicPr>
          <p:cNvPr id="34" name="Picture 2"/>
          <p:cNvPicPr>
            <a:picLocks noChangeAspect="1" noChangeArrowheads="1"/>
          </p:cNvPicPr>
          <p:nvPr userDrawn="1"/>
        </p:nvPicPr>
        <p:blipFill>
          <a:blip r:embed="rId9">
            <a:extLst>
              <a:ext uri="{28A0092B-C50C-407E-A947-70E740481C1C}">
                <a14:useLocalDpi xmlns:a14="http://schemas.microsoft.com/office/drawing/2010/main"/>
              </a:ext>
            </a:extLst>
          </a:blip>
          <a:srcRect/>
          <a:stretch>
            <a:fillRect/>
          </a:stretch>
        </p:blipFill>
        <p:spPr bwMode="auto">
          <a:xfrm>
            <a:off x="6945349" y="2723498"/>
            <a:ext cx="595309" cy="350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1308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24.jpe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23.jpe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2.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image" Target="../media/image2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image" Target="../media/image24.jpe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image" Target="../media/image23.jpeg"/><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heme" Target="../theme/theme4.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2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theme" Target="../theme/theme5.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theme" Target="../theme/theme6.xml"/><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slideLayout" Target="../slideLayouts/slideLayout102.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29" Type="http://schemas.openxmlformats.org/officeDocument/2006/relationships/tags" Target="../tags/tag2.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slideLayout" Target="../slideLayouts/slideLayout101.xml"/><Relationship Id="rId32" Type="http://schemas.openxmlformats.org/officeDocument/2006/relationships/image" Target="../media/image32.emf"/><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tags" Target="../tags/tag1.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31" Type="http://schemas.openxmlformats.org/officeDocument/2006/relationships/image" Target="../media/image31.emf"/><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vmlDrawing" Target="../drawings/vmlDrawing1.vml"/><Relationship Id="rId30" Type="http://schemas.openxmlformats.org/officeDocument/2006/relationships/oleObject" Target="../embeddings/oleObject1.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image" Target="../media/image49.png"/><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theme" Target="../theme/theme7.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9611346"/>
      </p:ext>
    </p:extLst>
  </p:cSld>
  <p:clrMap bg1="lt1" tx1="dk1" bg2="lt2" tx2="dk2" accent1="accent1" accent2="accent2" accent3="accent3" accent4="accent4" accent5="accent5" accent6="accent6" hlink="hlink" folHlink="folHlink"/>
  <p:sldLayoutIdLst>
    <p:sldLayoutId id="2147484988" r:id="rId1"/>
    <p:sldLayoutId id="2147484989" r:id="rId2"/>
    <p:sldLayoutId id="2147484990" r:id="rId3"/>
    <p:sldLayoutId id="2147484991" r:id="rId4"/>
    <p:sldLayoutId id="2147484992" r:id="rId5"/>
    <p:sldLayoutId id="2147484993" r:id="rId6"/>
    <p:sldLayoutId id="2147484994" r:id="rId7"/>
    <p:sldLayoutId id="2147484995" r:id="rId8"/>
    <p:sldLayoutId id="2147484996" r:id="rId9"/>
    <p:sldLayoutId id="2147484997" r:id="rId10"/>
    <p:sldLayoutId id="2147484998" r:id="rId11"/>
    <p:sldLayoutId id="2147484999" r:id="rId12"/>
    <p:sldLayoutId id="2147485000" r:id="rId13"/>
    <p:sldLayoutId id="2147485001" r:id="rId14"/>
    <p:sldLayoutId id="2147485002" r:id="rId15"/>
    <p:sldLayoutId id="2147485003" r:id="rId16"/>
    <p:sldLayoutId id="2147485126" r:id="rId17"/>
    <p:sldLayoutId id="2147485127" r:id="rId18"/>
    <p:sldLayoutId id="2147485128" r:id="rId19"/>
    <p:sldLayoutId id="2147485129" r:id="rId20"/>
  </p:sldLayoutIdLst>
  <p:transition/>
  <p:hf hdr="0" ftr="0" dt="0"/>
  <p:txStyles>
    <p:titleStyle>
      <a:lvl1pPr algn="ctr" rtl="0" eaLnBrk="0" fontAlgn="base" hangingPunct="0">
        <a:spcBef>
          <a:spcPct val="0"/>
        </a:spcBef>
        <a:spcAft>
          <a:spcPct val="0"/>
        </a:spcAft>
        <a:defRPr sz="4000">
          <a:solidFill>
            <a:srgbClr val="000099"/>
          </a:solidFill>
          <a:latin typeface="+mj-lt"/>
          <a:ea typeface="+mj-ea"/>
          <a:cs typeface="+mj-cs"/>
        </a:defRPr>
      </a:lvl1pPr>
      <a:lvl2pPr algn="ctr" rtl="0" eaLnBrk="0" fontAlgn="base" hangingPunct="0">
        <a:spcBef>
          <a:spcPct val="0"/>
        </a:spcBef>
        <a:spcAft>
          <a:spcPct val="0"/>
        </a:spcAft>
        <a:defRPr sz="4000">
          <a:solidFill>
            <a:srgbClr val="000099"/>
          </a:solidFill>
          <a:latin typeface="Myriad Roman" charset="0"/>
        </a:defRPr>
      </a:lvl2pPr>
      <a:lvl3pPr algn="ctr" rtl="0" eaLnBrk="0" fontAlgn="base" hangingPunct="0">
        <a:spcBef>
          <a:spcPct val="0"/>
        </a:spcBef>
        <a:spcAft>
          <a:spcPct val="0"/>
        </a:spcAft>
        <a:defRPr sz="4000">
          <a:solidFill>
            <a:srgbClr val="000099"/>
          </a:solidFill>
          <a:latin typeface="Myriad Roman" charset="0"/>
        </a:defRPr>
      </a:lvl3pPr>
      <a:lvl4pPr algn="ctr" rtl="0" eaLnBrk="0" fontAlgn="base" hangingPunct="0">
        <a:spcBef>
          <a:spcPct val="0"/>
        </a:spcBef>
        <a:spcAft>
          <a:spcPct val="0"/>
        </a:spcAft>
        <a:defRPr sz="4000">
          <a:solidFill>
            <a:srgbClr val="000099"/>
          </a:solidFill>
          <a:latin typeface="Myriad Roman" charset="0"/>
        </a:defRPr>
      </a:lvl4pPr>
      <a:lvl5pPr algn="ctr" rtl="0" eaLnBrk="0" fontAlgn="base" hangingPunct="0">
        <a:spcBef>
          <a:spcPct val="0"/>
        </a:spcBef>
        <a:spcAft>
          <a:spcPct val="0"/>
        </a:spcAft>
        <a:defRPr sz="4000">
          <a:solidFill>
            <a:srgbClr val="000099"/>
          </a:solidFill>
          <a:latin typeface="Myriad Roman" charset="0"/>
        </a:defRPr>
      </a:lvl5pPr>
      <a:lvl6pPr marL="457200" algn="ctr" rtl="0" fontAlgn="base">
        <a:spcBef>
          <a:spcPct val="0"/>
        </a:spcBef>
        <a:spcAft>
          <a:spcPct val="0"/>
        </a:spcAft>
        <a:defRPr sz="4000">
          <a:solidFill>
            <a:srgbClr val="000099"/>
          </a:solidFill>
          <a:latin typeface="Myriad Roman" charset="0"/>
        </a:defRPr>
      </a:lvl6pPr>
      <a:lvl7pPr marL="914400" algn="ctr" rtl="0" fontAlgn="base">
        <a:spcBef>
          <a:spcPct val="0"/>
        </a:spcBef>
        <a:spcAft>
          <a:spcPct val="0"/>
        </a:spcAft>
        <a:defRPr sz="4000">
          <a:solidFill>
            <a:srgbClr val="000099"/>
          </a:solidFill>
          <a:latin typeface="Myriad Roman" charset="0"/>
        </a:defRPr>
      </a:lvl7pPr>
      <a:lvl8pPr marL="1371600" algn="ctr" rtl="0" fontAlgn="base">
        <a:spcBef>
          <a:spcPct val="0"/>
        </a:spcBef>
        <a:spcAft>
          <a:spcPct val="0"/>
        </a:spcAft>
        <a:defRPr sz="4000">
          <a:solidFill>
            <a:srgbClr val="000099"/>
          </a:solidFill>
          <a:latin typeface="Myriad Roman" charset="0"/>
        </a:defRPr>
      </a:lvl8pPr>
      <a:lvl9pPr marL="1828800" algn="ctr" rtl="0" fontAlgn="base">
        <a:spcBef>
          <a:spcPct val="0"/>
        </a:spcBef>
        <a:spcAft>
          <a:spcPct val="0"/>
        </a:spcAft>
        <a:defRPr sz="4000">
          <a:solidFill>
            <a:srgbClr val="000099"/>
          </a:solidFill>
          <a:latin typeface="Myriad Roman" charset="0"/>
        </a:defRPr>
      </a:lvl9pPr>
    </p:titleStyle>
    <p:bodyStyle>
      <a:lvl1pPr marL="342900" indent="-342900" algn="l" rtl="0" eaLnBrk="0" fontAlgn="base" hangingPunct="0">
        <a:spcBef>
          <a:spcPct val="20000"/>
        </a:spcBef>
        <a:spcAft>
          <a:spcPct val="0"/>
        </a:spcAft>
        <a:buChar char="•"/>
        <a:defRPr sz="3200">
          <a:solidFill>
            <a:schemeClr val="bg2"/>
          </a:solidFill>
          <a:latin typeface="+mn-lt"/>
          <a:ea typeface="+mn-ea"/>
          <a:cs typeface="+mn-cs"/>
        </a:defRPr>
      </a:lvl1pPr>
      <a:lvl2pPr marL="742950" indent="-285750" algn="l" rtl="0" eaLnBrk="0" fontAlgn="base" hangingPunct="0">
        <a:spcBef>
          <a:spcPct val="20000"/>
        </a:spcBef>
        <a:spcAft>
          <a:spcPct val="0"/>
        </a:spcAft>
        <a:buChar char="–"/>
        <a:defRPr sz="2800">
          <a:solidFill>
            <a:schemeClr val="bg2"/>
          </a:solidFill>
          <a:latin typeface="+mn-lt"/>
        </a:defRPr>
      </a:lvl2pPr>
      <a:lvl3pPr marL="1143000" indent="-228600" algn="l" rtl="0" eaLnBrk="0" fontAlgn="base" hangingPunct="0">
        <a:spcBef>
          <a:spcPct val="20000"/>
        </a:spcBef>
        <a:spcAft>
          <a:spcPct val="0"/>
        </a:spcAft>
        <a:buChar char="•"/>
        <a:defRPr sz="2400">
          <a:solidFill>
            <a:schemeClr val="bg2"/>
          </a:solidFill>
          <a:latin typeface="+mn-lt"/>
        </a:defRPr>
      </a:lvl3pPr>
      <a:lvl4pPr marL="1600200" indent="-228600" algn="l" rtl="0" eaLnBrk="0" fontAlgn="base" hangingPunct="0">
        <a:spcBef>
          <a:spcPct val="20000"/>
        </a:spcBef>
        <a:spcAft>
          <a:spcPct val="0"/>
        </a:spcAft>
        <a:buChar char="–"/>
        <a:defRPr sz="2000">
          <a:solidFill>
            <a:schemeClr val="bg2"/>
          </a:solidFill>
          <a:latin typeface="+mn-lt"/>
        </a:defRPr>
      </a:lvl4pPr>
      <a:lvl5pPr marL="2057400" indent="-228600" algn="l" rtl="0" eaLnBrk="0" fontAlgn="base" hangingPunct="0">
        <a:spcBef>
          <a:spcPct val="20000"/>
        </a:spcBef>
        <a:spcAft>
          <a:spcPct val="0"/>
        </a:spcAft>
        <a:buChar char="»"/>
        <a:defRPr sz="2000">
          <a:solidFill>
            <a:schemeClr val="bg2"/>
          </a:solidFill>
          <a:latin typeface="+mn-lt"/>
        </a:defRPr>
      </a:lvl5pPr>
      <a:lvl6pPr marL="2514600" indent="-228600" algn="l" rtl="0" fontAlgn="base">
        <a:spcBef>
          <a:spcPct val="20000"/>
        </a:spcBef>
        <a:spcAft>
          <a:spcPct val="0"/>
        </a:spcAft>
        <a:buChar char="»"/>
        <a:defRPr sz="2000">
          <a:solidFill>
            <a:schemeClr val="bg2"/>
          </a:solidFill>
          <a:latin typeface="+mn-lt"/>
        </a:defRPr>
      </a:lvl6pPr>
      <a:lvl7pPr marL="2971800" indent="-228600" algn="l" rtl="0" fontAlgn="base">
        <a:spcBef>
          <a:spcPct val="20000"/>
        </a:spcBef>
        <a:spcAft>
          <a:spcPct val="0"/>
        </a:spcAft>
        <a:buChar char="»"/>
        <a:defRPr sz="2000">
          <a:solidFill>
            <a:schemeClr val="bg2"/>
          </a:solidFill>
          <a:latin typeface="+mn-lt"/>
        </a:defRPr>
      </a:lvl7pPr>
      <a:lvl8pPr marL="3429000" indent="-228600" algn="l" rtl="0" fontAlgn="base">
        <a:spcBef>
          <a:spcPct val="20000"/>
        </a:spcBef>
        <a:spcAft>
          <a:spcPct val="0"/>
        </a:spcAft>
        <a:buChar char="»"/>
        <a:defRPr sz="2000">
          <a:solidFill>
            <a:schemeClr val="bg2"/>
          </a:solidFill>
          <a:latin typeface="+mn-lt"/>
        </a:defRPr>
      </a:lvl8pPr>
      <a:lvl9pPr marL="3886200" indent="-228600" algn="l" rtl="0" fontAlgn="base">
        <a:spcBef>
          <a:spcPct val="20000"/>
        </a:spcBef>
        <a:spcAft>
          <a:spcPct val="0"/>
        </a:spcAft>
        <a:buChar char="»"/>
        <a:defRPr sz="20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Grafik 3" descr="streifen.jpg"/>
          <p:cNvPicPr>
            <a:picLocks noChangeAspect="1"/>
          </p:cNvPicPr>
          <p:nvPr/>
        </p:nvPicPr>
        <p:blipFill>
          <a:blip r:embed="rId12" cstate="print"/>
          <a:stretch>
            <a:fillRect/>
          </a:stretch>
        </p:blipFill>
        <p:spPr>
          <a:xfrm>
            <a:off x="0" y="6370320"/>
            <a:ext cx="10598912" cy="487680"/>
          </a:xfrm>
          <a:prstGeom prst="rect">
            <a:avLst/>
          </a:prstGeom>
        </p:spPr>
      </p:pic>
      <p:pic>
        <p:nvPicPr>
          <p:cNvPr id="6" name="Grafik 5" descr="ecke.jpg"/>
          <p:cNvPicPr>
            <a:picLocks noChangeAspect="1"/>
          </p:cNvPicPr>
          <p:nvPr/>
        </p:nvPicPr>
        <p:blipFill>
          <a:blip r:embed="rId13" cstate="print"/>
          <a:stretch>
            <a:fillRect/>
          </a:stretch>
        </p:blipFill>
        <p:spPr>
          <a:xfrm>
            <a:off x="480000" y="360000"/>
            <a:ext cx="609600" cy="457200"/>
          </a:xfrm>
          <a:prstGeom prst="rect">
            <a:avLst/>
          </a:prstGeom>
        </p:spPr>
      </p:pic>
      <p:pic>
        <p:nvPicPr>
          <p:cNvPr id="7" name="Grafik 6" descr="entsog_logo_4c.jpg"/>
          <p:cNvPicPr>
            <a:picLocks noChangeAspect="1"/>
          </p:cNvPicPr>
          <p:nvPr/>
        </p:nvPicPr>
        <p:blipFill>
          <a:blip r:embed="rId14" cstate="print"/>
          <a:stretch>
            <a:fillRect/>
          </a:stretch>
        </p:blipFill>
        <p:spPr>
          <a:xfrm>
            <a:off x="10080080" y="360001"/>
            <a:ext cx="1530085" cy="620727"/>
          </a:xfrm>
          <a:prstGeom prst="rect">
            <a:avLst/>
          </a:prstGeom>
        </p:spPr>
      </p:pic>
    </p:spTree>
    <p:extLst>
      <p:ext uri="{BB962C8B-B14F-4D97-AF65-F5344CB8AC3E}">
        <p14:creationId xmlns:p14="http://schemas.microsoft.com/office/powerpoint/2010/main" val="2564340807"/>
      </p:ext>
    </p:extLst>
  </p:cSld>
  <p:clrMap bg1="lt1" tx1="dk1" bg2="lt2" tx2="dk2" accent1="accent1" accent2="accent2" accent3="accent3" accent4="accent4" accent5="accent5" accent6="accent6" hlink="hlink" folHlink="folHlink"/>
  <p:sldLayoutIdLst>
    <p:sldLayoutId id="2147485036" r:id="rId1"/>
    <p:sldLayoutId id="2147485037" r:id="rId2"/>
    <p:sldLayoutId id="2147485038" r:id="rId3"/>
    <p:sldLayoutId id="2147485039" r:id="rId4"/>
    <p:sldLayoutId id="2147485040" r:id="rId5"/>
    <p:sldLayoutId id="2147485041" r:id="rId6"/>
    <p:sldLayoutId id="2147485042" r:id="rId7"/>
    <p:sldLayoutId id="2147485043" r:id="rId8"/>
    <p:sldLayoutId id="2147485044" r:id="rId9"/>
    <p:sldLayoutId id="2147485045" r:id="rId10"/>
  </p:sldLayoutIdLst>
  <p:hf hdr="0" ftr="0" dt="0"/>
  <p:txStyles>
    <p:titleStyle>
      <a:lvl1pPr algn="ctr" rtl="0" eaLnBrk="1" fontAlgn="base" hangingPunct="1">
        <a:spcBef>
          <a:spcPct val="0"/>
        </a:spcBef>
        <a:spcAft>
          <a:spcPct val="0"/>
        </a:spcAft>
        <a:defRPr sz="4400" kern="1200">
          <a:solidFill>
            <a:schemeClr val="tx1"/>
          </a:solidFill>
          <a:latin typeface="+mj-lt"/>
          <a:ea typeface="ＭＳ Ｐゴシック" charset="-128"/>
          <a:cs typeface="ＭＳ Ｐゴシック" charset="-128"/>
        </a:defRPr>
      </a:lvl1pPr>
      <a:lvl2pPr algn="ctr" rtl="0" eaLnBrk="1" fontAlgn="base" hangingPunct="1">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1" fontAlgn="base" hangingPunct="1">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1" fontAlgn="base" hangingPunct="1">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1" fontAlgn="base" hangingPunct="1">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pitchFamily="34" charset="0"/>
        <a:buChar char="•"/>
        <a:defRPr sz="3200" kern="1200">
          <a:solidFill>
            <a:schemeClr val="tx1"/>
          </a:solidFill>
          <a:latin typeface="+mn-lt"/>
          <a:ea typeface="ＭＳ Ｐゴシック" charset="-128"/>
          <a:cs typeface="ＭＳ Ｐゴシック" charset="-128"/>
        </a:defRPr>
      </a:lvl1pPr>
      <a:lvl2pPr marL="742950" indent="-285750" algn="l" rtl="0" eaLnBrk="1" fontAlgn="base" hangingPunct="1">
        <a:spcBef>
          <a:spcPct val="20000"/>
        </a:spcBef>
        <a:spcAft>
          <a:spcPct val="0"/>
        </a:spcAft>
        <a:buFont typeface="Arial" pitchFamily="34" charset="0"/>
        <a:buChar char="–"/>
        <a:defRPr sz="2800" kern="1200">
          <a:solidFill>
            <a:schemeClr val="tx1"/>
          </a:solidFill>
          <a:latin typeface="+mn-lt"/>
          <a:ea typeface="ＭＳ Ｐゴシック" pitchFamily="-111" charset="-128"/>
          <a:cs typeface="ＭＳ Ｐゴシック"/>
        </a:defRPr>
      </a:lvl2pPr>
      <a:lvl3pPr marL="1143000" indent="-228600" algn="l" rtl="0" eaLnBrk="1" fontAlgn="base" hangingPunct="1">
        <a:spcBef>
          <a:spcPct val="20000"/>
        </a:spcBef>
        <a:spcAft>
          <a:spcPct val="0"/>
        </a:spcAft>
        <a:buFont typeface="Arial" pitchFamily="34" charset="0"/>
        <a:buChar char="•"/>
        <a:defRPr sz="2400" kern="1200">
          <a:solidFill>
            <a:schemeClr val="tx1"/>
          </a:solidFill>
          <a:latin typeface="+mn-lt"/>
          <a:ea typeface="ＭＳ Ｐゴシック" pitchFamily="-111" charset="-128"/>
          <a:cs typeface="ＭＳ Ｐゴシック"/>
        </a:defRPr>
      </a:lvl3pPr>
      <a:lvl4pPr marL="16002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pitchFamily="-111" charset="-128"/>
          <a:cs typeface="ＭＳ Ｐゴシック"/>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pitchFamily="-111" charset="-128"/>
          <a:cs typeface="ＭＳ Ｐゴシック"/>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1653507"/>
      </p:ext>
    </p:extLst>
  </p:cSld>
  <p:clrMap bg1="lt1" tx1="dk1" bg2="lt2" tx2="dk2" accent1="accent1" accent2="accent2" accent3="accent3" accent4="accent4" accent5="accent5" accent6="accent6" hlink="hlink" folHlink="folHlink"/>
  <p:sldLayoutIdLst>
    <p:sldLayoutId id="2147485050" r:id="rId1"/>
    <p:sldLayoutId id="2147485051" r:id="rId2"/>
    <p:sldLayoutId id="2147485052" r:id="rId3"/>
    <p:sldLayoutId id="2147485053" r:id="rId4"/>
    <p:sldLayoutId id="2147485054" r:id="rId5"/>
    <p:sldLayoutId id="2147485055" r:id="rId6"/>
    <p:sldLayoutId id="2147485056" r:id="rId7"/>
    <p:sldLayoutId id="2147485057" r:id="rId8"/>
    <p:sldLayoutId id="2147485058" r:id="rId9"/>
    <p:sldLayoutId id="2147485059" r:id="rId10"/>
    <p:sldLayoutId id="2147485060" r:id="rId11"/>
    <p:sldLayoutId id="2147485061" r:id="rId12"/>
    <p:sldLayoutId id="2147485062" r:id="rId13"/>
    <p:sldLayoutId id="2147485063" r:id="rId14"/>
    <p:sldLayoutId id="2147485064" r:id="rId15"/>
    <p:sldLayoutId id="2147485065" r:id="rId16"/>
    <p:sldLayoutId id="2147485066" r:id="rId17"/>
    <p:sldLayoutId id="2147485067" r:id="rId18"/>
    <p:sldLayoutId id="2147485069" r:id="rId19"/>
  </p:sldLayoutIdLst>
  <p:transition/>
  <p:hf hdr="0" ftr="0" dt="0"/>
  <p:txStyles>
    <p:titleStyle>
      <a:lvl1pPr algn="ctr" rtl="0" eaLnBrk="0" fontAlgn="base" hangingPunct="0">
        <a:spcBef>
          <a:spcPct val="0"/>
        </a:spcBef>
        <a:spcAft>
          <a:spcPct val="0"/>
        </a:spcAft>
        <a:defRPr sz="4000">
          <a:solidFill>
            <a:srgbClr val="000099"/>
          </a:solidFill>
          <a:latin typeface="+mj-lt"/>
          <a:ea typeface="+mj-ea"/>
          <a:cs typeface="+mj-cs"/>
        </a:defRPr>
      </a:lvl1pPr>
      <a:lvl2pPr algn="ctr" rtl="0" eaLnBrk="0" fontAlgn="base" hangingPunct="0">
        <a:spcBef>
          <a:spcPct val="0"/>
        </a:spcBef>
        <a:spcAft>
          <a:spcPct val="0"/>
        </a:spcAft>
        <a:defRPr sz="4000">
          <a:solidFill>
            <a:srgbClr val="000099"/>
          </a:solidFill>
          <a:latin typeface="Myriad Roman" charset="0"/>
        </a:defRPr>
      </a:lvl2pPr>
      <a:lvl3pPr algn="ctr" rtl="0" eaLnBrk="0" fontAlgn="base" hangingPunct="0">
        <a:spcBef>
          <a:spcPct val="0"/>
        </a:spcBef>
        <a:spcAft>
          <a:spcPct val="0"/>
        </a:spcAft>
        <a:defRPr sz="4000">
          <a:solidFill>
            <a:srgbClr val="000099"/>
          </a:solidFill>
          <a:latin typeface="Myriad Roman" charset="0"/>
        </a:defRPr>
      </a:lvl3pPr>
      <a:lvl4pPr algn="ctr" rtl="0" eaLnBrk="0" fontAlgn="base" hangingPunct="0">
        <a:spcBef>
          <a:spcPct val="0"/>
        </a:spcBef>
        <a:spcAft>
          <a:spcPct val="0"/>
        </a:spcAft>
        <a:defRPr sz="4000">
          <a:solidFill>
            <a:srgbClr val="000099"/>
          </a:solidFill>
          <a:latin typeface="Myriad Roman" charset="0"/>
        </a:defRPr>
      </a:lvl4pPr>
      <a:lvl5pPr algn="ctr" rtl="0" eaLnBrk="0" fontAlgn="base" hangingPunct="0">
        <a:spcBef>
          <a:spcPct val="0"/>
        </a:spcBef>
        <a:spcAft>
          <a:spcPct val="0"/>
        </a:spcAft>
        <a:defRPr sz="4000">
          <a:solidFill>
            <a:srgbClr val="000099"/>
          </a:solidFill>
          <a:latin typeface="Myriad Roman" charset="0"/>
        </a:defRPr>
      </a:lvl5pPr>
      <a:lvl6pPr marL="457200" algn="ctr" rtl="0" fontAlgn="base">
        <a:spcBef>
          <a:spcPct val="0"/>
        </a:spcBef>
        <a:spcAft>
          <a:spcPct val="0"/>
        </a:spcAft>
        <a:defRPr sz="4000">
          <a:solidFill>
            <a:srgbClr val="000099"/>
          </a:solidFill>
          <a:latin typeface="Myriad Roman" charset="0"/>
        </a:defRPr>
      </a:lvl6pPr>
      <a:lvl7pPr marL="914400" algn="ctr" rtl="0" fontAlgn="base">
        <a:spcBef>
          <a:spcPct val="0"/>
        </a:spcBef>
        <a:spcAft>
          <a:spcPct val="0"/>
        </a:spcAft>
        <a:defRPr sz="4000">
          <a:solidFill>
            <a:srgbClr val="000099"/>
          </a:solidFill>
          <a:latin typeface="Myriad Roman" charset="0"/>
        </a:defRPr>
      </a:lvl7pPr>
      <a:lvl8pPr marL="1371600" algn="ctr" rtl="0" fontAlgn="base">
        <a:spcBef>
          <a:spcPct val="0"/>
        </a:spcBef>
        <a:spcAft>
          <a:spcPct val="0"/>
        </a:spcAft>
        <a:defRPr sz="4000">
          <a:solidFill>
            <a:srgbClr val="000099"/>
          </a:solidFill>
          <a:latin typeface="Myriad Roman" charset="0"/>
        </a:defRPr>
      </a:lvl8pPr>
      <a:lvl9pPr marL="1828800" algn="ctr" rtl="0" fontAlgn="base">
        <a:spcBef>
          <a:spcPct val="0"/>
        </a:spcBef>
        <a:spcAft>
          <a:spcPct val="0"/>
        </a:spcAft>
        <a:defRPr sz="4000">
          <a:solidFill>
            <a:srgbClr val="000099"/>
          </a:solidFill>
          <a:latin typeface="Myriad Roman" charset="0"/>
        </a:defRPr>
      </a:lvl9pPr>
    </p:titleStyle>
    <p:bodyStyle>
      <a:lvl1pPr marL="342900" indent="-342900" algn="l" rtl="0" eaLnBrk="0" fontAlgn="base" hangingPunct="0">
        <a:spcBef>
          <a:spcPct val="20000"/>
        </a:spcBef>
        <a:spcAft>
          <a:spcPct val="0"/>
        </a:spcAft>
        <a:buChar char="•"/>
        <a:defRPr sz="3200">
          <a:solidFill>
            <a:schemeClr val="bg2"/>
          </a:solidFill>
          <a:latin typeface="+mn-lt"/>
          <a:ea typeface="+mn-ea"/>
          <a:cs typeface="+mn-cs"/>
        </a:defRPr>
      </a:lvl1pPr>
      <a:lvl2pPr marL="742950" indent="-285750" algn="l" rtl="0" eaLnBrk="0" fontAlgn="base" hangingPunct="0">
        <a:spcBef>
          <a:spcPct val="20000"/>
        </a:spcBef>
        <a:spcAft>
          <a:spcPct val="0"/>
        </a:spcAft>
        <a:buChar char="–"/>
        <a:defRPr sz="2800">
          <a:solidFill>
            <a:schemeClr val="bg2"/>
          </a:solidFill>
          <a:latin typeface="+mn-lt"/>
        </a:defRPr>
      </a:lvl2pPr>
      <a:lvl3pPr marL="1143000" indent="-228600" algn="l" rtl="0" eaLnBrk="0" fontAlgn="base" hangingPunct="0">
        <a:spcBef>
          <a:spcPct val="20000"/>
        </a:spcBef>
        <a:spcAft>
          <a:spcPct val="0"/>
        </a:spcAft>
        <a:buChar char="•"/>
        <a:defRPr sz="2400">
          <a:solidFill>
            <a:schemeClr val="bg2"/>
          </a:solidFill>
          <a:latin typeface="+mn-lt"/>
        </a:defRPr>
      </a:lvl3pPr>
      <a:lvl4pPr marL="1600200" indent="-228600" algn="l" rtl="0" eaLnBrk="0" fontAlgn="base" hangingPunct="0">
        <a:spcBef>
          <a:spcPct val="20000"/>
        </a:spcBef>
        <a:spcAft>
          <a:spcPct val="0"/>
        </a:spcAft>
        <a:buChar char="–"/>
        <a:defRPr sz="2000">
          <a:solidFill>
            <a:schemeClr val="bg2"/>
          </a:solidFill>
          <a:latin typeface="+mn-lt"/>
        </a:defRPr>
      </a:lvl4pPr>
      <a:lvl5pPr marL="2057400" indent="-228600" algn="l" rtl="0" eaLnBrk="0" fontAlgn="base" hangingPunct="0">
        <a:spcBef>
          <a:spcPct val="20000"/>
        </a:spcBef>
        <a:spcAft>
          <a:spcPct val="0"/>
        </a:spcAft>
        <a:buChar char="»"/>
        <a:defRPr sz="2000">
          <a:solidFill>
            <a:schemeClr val="bg2"/>
          </a:solidFill>
          <a:latin typeface="+mn-lt"/>
        </a:defRPr>
      </a:lvl5pPr>
      <a:lvl6pPr marL="2514600" indent="-228600" algn="l" rtl="0" fontAlgn="base">
        <a:spcBef>
          <a:spcPct val="20000"/>
        </a:spcBef>
        <a:spcAft>
          <a:spcPct val="0"/>
        </a:spcAft>
        <a:buChar char="»"/>
        <a:defRPr sz="2000">
          <a:solidFill>
            <a:schemeClr val="bg2"/>
          </a:solidFill>
          <a:latin typeface="+mn-lt"/>
        </a:defRPr>
      </a:lvl6pPr>
      <a:lvl7pPr marL="2971800" indent="-228600" algn="l" rtl="0" fontAlgn="base">
        <a:spcBef>
          <a:spcPct val="20000"/>
        </a:spcBef>
        <a:spcAft>
          <a:spcPct val="0"/>
        </a:spcAft>
        <a:buChar char="»"/>
        <a:defRPr sz="2000">
          <a:solidFill>
            <a:schemeClr val="bg2"/>
          </a:solidFill>
          <a:latin typeface="+mn-lt"/>
        </a:defRPr>
      </a:lvl7pPr>
      <a:lvl8pPr marL="3429000" indent="-228600" algn="l" rtl="0" fontAlgn="base">
        <a:spcBef>
          <a:spcPct val="20000"/>
        </a:spcBef>
        <a:spcAft>
          <a:spcPct val="0"/>
        </a:spcAft>
        <a:buChar char="»"/>
        <a:defRPr sz="2000">
          <a:solidFill>
            <a:schemeClr val="bg2"/>
          </a:solidFill>
          <a:latin typeface="+mn-lt"/>
        </a:defRPr>
      </a:lvl8pPr>
      <a:lvl9pPr marL="3886200" indent="-228600" algn="l" rtl="0" fontAlgn="base">
        <a:spcBef>
          <a:spcPct val="20000"/>
        </a:spcBef>
        <a:spcAft>
          <a:spcPct val="0"/>
        </a:spcAft>
        <a:buChar char="»"/>
        <a:defRPr sz="20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Grafik 3" descr="streifen.jpg"/>
          <p:cNvPicPr>
            <a:picLocks noChangeAspect="1"/>
          </p:cNvPicPr>
          <p:nvPr userDrawn="1"/>
        </p:nvPicPr>
        <p:blipFill>
          <a:blip r:embed="rId12" cstate="print"/>
          <a:stretch>
            <a:fillRect/>
          </a:stretch>
        </p:blipFill>
        <p:spPr>
          <a:xfrm>
            <a:off x="0" y="6370320"/>
            <a:ext cx="10598912" cy="487680"/>
          </a:xfrm>
          <a:prstGeom prst="rect">
            <a:avLst/>
          </a:prstGeom>
        </p:spPr>
      </p:pic>
      <p:pic>
        <p:nvPicPr>
          <p:cNvPr id="6" name="Grafik 5" descr="ecke.jpg"/>
          <p:cNvPicPr>
            <a:picLocks noChangeAspect="1"/>
          </p:cNvPicPr>
          <p:nvPr userDrawn="1"/>
        </p:nvPicPr>
        <p:blipFill>
          <a:blip r:embed="rId13" cstate="print"/>
          <a:stretch>
            <a:fillRect/>
          </a:stretch>
        </p:blipFill>
        <p:spPr>
          <a:xfrm>
            <a:off x="480000" y="360000"/>
            <a:ext cx="609600" cy="457200"/>
          </a:xfrm>
          <a:prstGeom prst="rect">
            <a:avLst/>
          </a:prstGeom>
        </p:spPr>
      </p:pic>
      <p:pic>
        <p:nvPicPr>
          <p:cNvPr id="7" name="Grafik 6" descr="entsog_logo_4c.jpg"/>
          <p:cNvPicPr>
            <a:picLocks noChangeAspect="1"/>
          </p:cNvPicPr>
          <p:nvPr userDrawn="1"/>
        </p:nvPicPr>
        <p:blipFill>
          <a:blip r:embed="rId14" cstate="print"/>
          <a:stretch>
            <a:fillRect/>
          </a:stretch>
        </p:blipFill>
        <p:spPr>
          <a:xfrm>
            <a:off x="10080080" y="360001"/>
            <a:ext cx="1530085" cy="620727"/>
          </a:xfrm>
          <a:prstGeom prst="rect">
            <a:avLst/>
          </a:prstGeom>
        </p:spPr>
      </p:pic>
    </p:spTree>
    <p:extLst>
      <p:ext uri="{BB962C8B-B14F-4D97-AF65-F5344CB8AC3E}">
        <p14:creationId xmlns:p14="http://schemas.microsoft.com/office/powerpoint/2010/main" val="3030936045"/>
      </p:ext>
    </p:extLst>
  </p:cSld>
  <p:clrMap bg1="lt1" tx1="dk1" bg2="lt2" tx2="dk2" accent1="accent1" accent2="accent2" accent3="accent3" accent4="accent4" accent5="accent5" accent6="accent6" hlink="hlink" folHlink="folHlink"/>
  <p:sldLayoutIdLst>
    <p:sldLayoutId id="2147485097" r:id="rId1"/>
    <p:sldLayoutId id="2147485098" r:id="rId2"/>
    <p:sldLayoutId id="2147485099" r:id="rId3"/>
    <p:sldLayoutId id="2147485100" r:id="rId4"/>
    <p:sldLayoutId id="2147485101" r:id="rId5"/>
    <p:sldLayoutId id="2147485102" r:id="rId6"/>
    <p:sldLayoutId id="2147485103" r:id="rId7"/>
    <p:sldLayoutId id="2147485104" r:id="rId8"/>
    <p:sldLayoutId id="2147485105" r:id="rId9"/>
    <p:sldLayoutId id="2147485106" r:id="rId10"/>
  </p:sldLayoutIdLst>
  <p:hf hdr="0" ftr="0" dt="0"/>
  <p:txStyles>
    <p:titleStyle>
      <a:lvl1pPr algn="ctr" rtl="0" eaLnBrk="1" fontAlgn="base" hangingPunct="1">
        <a:spcBef>
          <a:spcPct val="0"/>
        </a:spcBef>
        <a:spcAft>
          <a:spcPct val="0"/>
        </a:spcAft>
        <a:defRPr sz="4400" kern="1200">
          <a:solidFill>
            <a:schemeClr val="tx1"/>
          </a:solidFill>
          <a:latin typeface="+mj-lt"/>
          <a:ea typeface="ＭＳ Ｐゴシック" charset="-128"/>
          <a:cs typeface="ＭＳ Ｐゴシック" charset="-128"/>
        </a:defRPr>
      </a:lvl1pPr>
      <a:lvl2pPr algn="ctr" rtl="0" eaLnBrk="1" fontAlgn="base" hangingPunct="1">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1" fontAlgn="base" hangingPunct="1">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1" fontAlgn="base" hangingPunct="1">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1" fontAlgn="base" hangingPunct="1">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pitchFamily="34" charset="0"/>
        <a:buChar char="•"/>
        <a:defRPr sz="3200" kern="1200">
          <a:solidFill>
            <a:schemeClr val="tx1"/>
          </a:solidFill>
          <a:latin typeface="+mn-lt"/>
          <a:ea typeface="ＭＳ Ｐゴシック" charset="-128"/>
          <a:cs typeface="ＭＳ Ｐゴシック" charset="-128"/>
        </a:defRPr>
      </a:lvl1pPr>
      <a:lvl2pPr marL="742950" indent="-285750" algn="l" rtl="0" eaLnBrk="1" fontAlgn="base" hangingPunct="1">
        <a:spcBef>
          <a:spcPct val="20000"/>
        </a:spcBef>
        <a:spcAft>
          <a:spcPct val="0"/>
        </a:spcAft>
        <a:buFont typeface="Arial" pitchFamily="34" charset="0"/>
        <a:buChar char="–"/>
        <a:defRPr sz="2800" kern="1200">
          <a:solidFill>
            <a:schemeClr val="tx1"/>
          </a:solidFill>
          <a:latin typeface="+mn-lt"/>
          <a:ea typeface="ＭＳ Ｐゴシック" pitchFamily="-111" charset="-128"/>
          <a:cs typeface="ＭＳ Ｐゴシック"/>
        </a:defRPr>
      </a:lvl2pPr>
      <a:lvl3pPr marL="1143000" indent="-228600" algn="l" rtl="0" eaLnBrk="1" fontAlgn="base" hangingPunct="1">
        <a:spcBef>
          <a:spcPct val="20000"/>
        </a:spcBef>
        <a:spcAft>
          <a:spcPct val="0"/>
        </a:spcAft>
        <a:buFont typeface="Arial" pitchFamily="34" charset="0"/>
        <a:buChar char="•"/>
        <a:defRPr sz="2400" kern="1200">
          <a:solidFill>
            <a:schemeClr val="tx1"/>
          </a:solidFill>
          <a:latin typeface="+mn-lt"/>
          <a:ea typeface="ＭＳ Ｐゴシック" pitchFamily="-111" charset="-128"/>
          <a:cs typeface="ＭＳ Ｐゴシック"/>
        </a:defRPr>
      </a:lvl3pPr>
      <a:lvl4pPr marL="16002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pitchFamily="-111" charset="-128"/>
          <a:cs typeface="ＭＳ Ｐゴシック"/>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pitchFamily="-111" charset="-128"/>
          <a:cs typeface="ＭＳ Ｐゴシック"/>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390880"/>
      </p:ext>
    </p:extLst>
  </p:cSld>
  <p:clrMap bg1="lt1" tx1="dk1" bg2="lt2" tx2="dk2" accent1="accent1" accent2="accent2" accent3="accent3" accent4="accent4" accent5="accent5" accent6="accent6" hlink="hlink" folHlink="folHlink"/>
  <p:sldLayoutIdLst>
    <p:sldLayoutId id="2147485108" r:id="rId1"/>
    <p:sldLayoutId id="2147485109" r:id="rId2"/>
    <p:sldLayoutId id="2147485110" r:id="rId3"/>
    <p:sldLayoutId id="2147485111" r:id="rId4"/>
    <p:sldLayoutId id="2147485112" r:id="rId5"/>
    <p:sldLayoutId id="2147485113" r:id="rId6"/>
    <p:sldLayoutId id="2147485114" r:id="rId7"/>
    <p:sldLayoutId id="2147485115" r:id="rId8"/>
    <p:sldLayoutId id="2147485116" r:id="rId9"/>
    <p:sldLayoutId id="2147485117" r:id="rId10"/>
    <p:sldLayoutId id="2147485118" r:id="rId11"/>
    <p:sldLayoutId id="2147485119" r:id="rId12"/>
    <p:sldLayoutId id="2147485120" r:id="rId13"/>
    <p:sldLayoutId id="2147485121" r:id="rId14"/>
    <p:sldLayoutId id="2147485122" r:id="rId15"/>
    <p:sldLayoutId id="2147485123" r:id="rId16"/>
    <p:sldLayoutId id="2147485124" r:id="rId17"/>
    <p:sldLayoutId id="2147485125" r:id="rId18"/>
  </p:sldLayoutIdLst>
  <p:hf hdr="0" ftr="0" dt="0"/>
  <p:txStyles>
    <p:titleStyle>
      <a:lvl1pPr algn="ctr" rtl="0" eaLnBrk="1" fontAlgn="base" hangingPunct="1">
        <a:spcBef>
          <a:spcPct val="0"/>
        </a:spcBef>
        <a:spcAft>
          <a:spcPct val="0"/>
        </a:spcAft>
        <a:defRPr sz="4400" kern="1200">
          <a:solidFill>
            <a:schemeClr val="tx1"/>
          </a:solidFill>
          <a:latin typeface="+mj-lt"/>
          <a:ea typeface="ＭＳ Ｐゴシック" charset="-128"/>
          <a:cs typeface="ＭＳ Ｐゴシック" charset="-128"/>
        </a:defRPr>
      </a:lvl1pPr>
      <a:lvl2pPr algn="ctr" rtl="0" eaLnBrk="1" fontAlgn="base" hangingPunct="1">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1" fontAlgn="base" hangingPunct="1">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1" fontAlgn="base" hangingPunct="1">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1" fontAlgn="base" hangingPunct="1">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pitchFamily="34" charset="0"/>
        <a:buChar char="•"/>
        <a:defRPr sz="3200" kern="1200">
          <a:solidFill>
            <a:schemeClr val="tx1"/>
          </a:solidFill>
          <a:latin typeface="+mn-lt"/>
          <a:ea typeface="ＭＳ Ｐゴシック" charset="-128"/>
          <a:cs typeface="ＭＳ Ｐゴシック" charset="-128"/>
        </a:defRPr>
      </a:lvl1pPr>
      <a:lvl2pPr marL="742950" indent="-285750" algn="l" rtl="0" eaLnBrk="1" fontAlgn="base" hangingPunct="1">
        <a:spcBef>
          <a:spcPct val="20000"/>
        </a:spcBef>
        <a:spcAft>
          <a:spcPct val="0"/>
        </a:spcAft>
        <a:buFont typeface="Arial" pitchFamily="34" charset="0"/>
        <a:buChar char="–"/>
        <a:defRPr sz="2800" kern="1200">
          <a:solidFill>
            <a:schemeClr val="tx1"/>
          </a:solidFill>
          <a:latin typeface="+mn-lt"/>
          <a:ea typeface="ＭＳ Ｐゴシック" pitchFamily="-111" charset="-128"/>
          <a:cs typeface="ＭＳ Ｐゴシック"/>
        </a:defRPr>
      </a:lvl2pPr>
      <a:lvl3pPr marL="1143000" indent="-228600" algn="l" rtl="0" eaLnBrk="1" fontAlgn="base" hangingPunct="1">
        <a:spcBef>
          <a:spcPct val="20000"/>
        </a:spcBef>
        <a:spcAft>
          <a:spcPct val="0"/>
        </a:spcAft>
        <a:buFont typeface="Arial" pitchFamily="34" charset="0"/>
        <a:buChar char="•"/>
        <a:defRPr sz="2400" kern="1200">
          <a:solidFill>
            <a:schemeClr val="tx1"/>
          </a:solidFill>
          <a:latin typeface="+mn-lt"/>
          <a:ea typeface="ＭＳ Ｐゴシック" pitchFamily="-111" charset="-128"/>
          <a:cs typeface="ＭＳ Ｐゴシック"/>
        </a:defRPr>
      </a:lvl3pPr>
      <a:lvl4pPr marL="16002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pitchFamily="-111" charset="-128"/>
          <a:cs typeface="ＭＳ Ｐゴシック"/>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pitchFamily="-111" charset="-128"/>
          <a:cs typeface="ＭＳ Ｐゴシック"/>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B2E4B13-D752-40B2-9710-88FF9AF33BFC}"/>
              </a:ext>
            </a:extLst>
          </p:cNvPr>
          <p:cNvGraphicFramePr>
            <a:graphicFrameLocks noChangeAspect="1"/>
          </p:cNvGraphicFramePr>
          <p:nvPr userDrawn="1">
            <p:custDataLst>
              <p:tags r:id="rId28"/>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2" name="think-cell Slide" r:id="rId30" imgW="521" imgH="520" progId="TCLayout.ActiveDocument.1">
                  <p:embed/>
                </p:oleObj>
              </mc:Choice>
              <mc:Fallback>
                <p:oleObj name="think-cell Slide" r:id="rId30" imgW="521" imgH="520" progId="TCLayout.ActiveDocument.1">
                  <p:embed/>
                  <p:pic>
                    <p:nvPicPr>
                      <p:cNvPr id="8" name="Objekt 7" hidden="1">
                        <a:extLst>
                          <a:ext uri="{FF2B5EF4-FFF2-40B4-BE49-F238E27FC236}">
                            <a16:creationId xmlns:a16="http://schemas.microsoft.com/office/drawing/2014/main" id="{AB2E4B13-D752-40B2-9710-88FF9AF33BF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A6C48A49-DE51-4DA6-AE08-E873CD21557F}"/>
              </a:ext>
            </a:extLst>
          </p:cNvPr>
          <p:cNvSpPr/>
          <p:nvPr userDrawn="1">
            <p:custDataLst>
              <p:tags r:id="rId29"/>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3000"/>
              </a:lnSpc>
              <a:spcBef>
                <a:spcPct val="0"/>
              </a:spcBef>
              <a:spcAft>
                <a:spcPct val="0"/>
              </a:spcAft>
            </a:pPr>
            <a:endParaRPr lang="en-US" sz="4000" b="0" i="0" baseline="0" noProof="0" dirty="0">
              <a:latin typeface="Calibri Light" panose="020F0302020204030204" pitchFamily="34" charset="0"/>
              <a:ea typeface="+mj-ea"/>
              <a:cs typeface="+mj-cs"/>
              <a:sym typeface="Calibri Light" panose="020F0302020204030204" pitchFamily="34" charset="0"/>
            </a:endParaRPr>
          </a:p>
        </p:txBody>
      </p:sp>
      <p:pic>
        <p:nvPicPr>
          <p:cNvPr id="24" name="Logo"/>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2" name="Title Placeholder 1"/>
          <p:cNvSpPr>
            <a:spLocks noGrp="1"/>
          </p:cNvSpPr>
          <p:nvPr>
            <p:ph type="title"/>
          </p:nvPr>
        </p:nvSpPr>
        <p:spPr>
          <a:xfrm>
            <a:off x="982663" y="1203699"/>
            <a:ext cx="10214464" cy="712414"/>
          </a:xfrm>
          <a:prstGeom prst="rect">
            <a:avLst/>
          </a:prstGeom>
        </p:spPr>
        <p:txBody>
          <a:bodyPr vert="horz" lIns="0" tIns="0" rIns="0" bIns="0" rtlCol="0" anchor="b" anchorCtr="0">
            <a:noAutofit/>
          </a:bodyPr>
          <a:lstStyle/>
          <a:p>
            <a:r>
              <a:rPr lang="en-US"/>
              <a:t>Klik for at redigere i masteren</a:t>
            </a:r>
            <a:endParaRPr lang="en-US" dirty="0"/>
          </a:p>
        </p:txBody>
      </p:sp>
      <p:sp>
        <p:nvSpPr>
          <p:cNvPr id="3" name="Text Placeholder 2"/>
          <p:cNvSpPr>
            <a:spLocks noGrp="1"/>
          </p:cNvSpPr>
          <p:nvPr>
            <p:ph type="body" idx="1"/>
          </p:nvPr>
        </p:nvSpPr>
        <p:spPr>
          <a:xfrm>
            <a:off x="982663" y="2852738"/>
            <a:ext cx="10226675" cy="3303587"/>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endParaRPr lang="en-US" noProof="0" dirty="0"/>
          </a:p>
        </p:txBody>
      </p:sp>
      <p:sp>
        <p:nvSpPr>
          <p:cNvPr id="4" name="Date_DateCustomA"/>
          <p:cNvSpPr>
            <a:spLocks noGrp="1"/>
          </p:cNvSpPr>
          <p:nvPr>
            <p:ph type="dt" sz="half" idx="2"/>
          </p:nvPr>
        </p:nvSpPr>
        <p:spPr>
          <a:xfrm>
            <a:off x="8707583" y="6525816"/>
            <a:ext cx="2489544" cy="180000"/>
          </a:xfrm>
          <a:prstGeom prst="rect">
            <a:avLst/>
          </a:prstGeom>
        </p:spPr>
        <p:txBody>
          <a:bodyPr vert="horz" lIns="0" tIns="0" rIns="0" bIns="0" rtlCol="0" anchor="b" anchorCtr="0"/>
          <a:lstStyle>
            <a:lvl1pPr algn="r">
              <a:defRPr sz="1050">
                <a:solidFill>
                  <a:schemeClr val="tx2"/>
                </a:solidFill>
              </a:defRPr>
            </a:lvl1pPr>
          </a:lstStyle>
          <a:p>
            <a:r>
              <a:rPr lang="da-DK"/>
              <a:t>May 2019</a:t>
            </a:r>
            <a:endParaRPr lang="en-US" dirty="0"/>
          </a:p>
        </p:txBody>
      </p:sp>
      <p:sp>
        <p:nvSpPr>
          <p:cNvPr id="5" name="FLD_PresentationTitle"/>
          <p:cNvSpPr>
            <a:spLocks noGrp="1"/>
          </p:cNvSpPr>
          <p:nvPr>
            <p:ph type="ftr" sz="quarter" idx="3"/>
          </p:nvPr>
        </p:nvSpPr>
        <p:spPr>
          <a:xfrm>
            <a:off x="368559" y="6525816"/>
            <a:ext cx="8182359" cy="180000"/>
          </a:xfrm>
          <a:prstGeom prst="rect">
            <a:avLst/>
          </a:prstGeom>
        </p:spPr>
        <p:txBody>
          <a:bodyPr vert="horz" lIns="0" tIns="0" rIns="0" bIns="0" rtlCol="0" anchor="b" anchorCtr="0"/>
          <a:lstStyle>
            <a:lvl1pPr algn="l">
              <a:defRPr sz="1050">
                <a:solidFill>
                  <a:schemeClr val="tx2"/>
                </a:solidFill>
              </a:defRPr>
            </a:lvl1pPr>
          </a:lstStyle>
          <a:p>
            <a:r>
              <a:rPr lang="en-US"/>
              <a:t>GIE meeting</a:t>
            </a:r>
            <a:endParaRPr lang="en-US" dirty="0"/>
          </a:p>
        </p:txBody>
      </p:sp>
      <p:sp>
        <p:nvSpPr>
          <p:cNvPr id="6" name="Slide Number Placeholder 5"/>
          <p:cNvSpPr>
            <a:spLocks noGrp="1"/>
          </p:cNvSpPr>
          <p:nvPr>
            <p:ph type="sldNum" sz="quarter" idx="4"/>
          </p:nvPr>
        </p:nvSpPr>
        <p:spPr>
          <a:xfrm>
            <a:off x="11209338" y="6525816"/>
            <a:ext cx="610451" cy="180000"/>
          </a:xfrm>
          <a:prstGeom prst="rect">
            <a:avLst/>
          </a:prstGeom>
        </p:spPr>
        <p:txBody>
          <a:bodyPr vert="horz" lIns="0" tIns="0" rIns="0" bIns="0" rtlCol="0" anchor="b" anchorCtr="0"/>
          <a:lstStyle>
            <a:lvl1pPr algn="r">
              <a:defRPr sz="1050">
                <a:solidFill>
                  <a:schemeClr val="tx2"/>
                </a:solid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3838764786"/>
      </p:ext>
    </p:extLst>
  </p:cSld>
  <p:clrMap bg1="lt1" tx1="dk1" bg2="lt2" tx2="dk2" accent1="accent1" accent2="accent2" accent3="accent3" accent4="accent4" accent5="accent5" accent6="accent6" hlink="hlink" folHlink="folHlink"/>
  <p:sldLayoutIdLst>
    <p:sldLayoutId id="2147485131" r:id="rId1"/>
    <p:sldLayoutId id="2147485132" r:id="rId2"/>
    <p:sldLayoutId id="2147485133" r:id="rId3"/>
    <p:sldLayoutId id="2147485134" r:id="rId4"/>
    <p:sldLayoutId id="2147485135" r:id="rId5"/>
    <p:sldLayoutId id="2147485136" r:id="rId6"/>
    <p:sldLayoutId id="2147485137" r:id="rId7"/>
    <p:sldLayoutId id="2147485138" r:id="rId8"/>
    <p:sldLayoutId id="2147485139" r:id="rId9"/>
    <p:sldLayoutId id="2147485140" r:id="rId10"/>
    <p:sldLayoutId id="2147485141" r:id="rId11"/>
    <p:sldLayoutId id="2147485142" r:id="rId12"/>
    <p:sldLayoutId id="2147485143" r:id="rId13"/>
    <p:sldLayoutId id="2147485144" r:id="rId14"/>
    <p:sldLayoutId id="2147485145" r:id="rId15"/>
    <p:sldLayoutId id="2147485146" r:id="rId16"/>
    <p:sldLayoutId id="2147485147" r:id="rId17"/>
    <p:sldLayoutId id="2147485148" r:id="rId18"/>
    <p:sldLayoutId id="2147485149" r:id="rId19"/>
    <p:sldLayoutId id="2147485150" r:id="rId20"/>
    <p:sldLayoutId id="2147485151" r:id="rId21"/>
    <p:sldLayoutId id="2147485152" r:id="rId22"/>
    <p:sldLayoutId id="2147485153" r:id="rId23"/>
    <p:sldLayoutId id="2147485154" r:id="rId24"/>
    <p:sldLayoutId id="2147485156" r:id="rId25"/>
  </p:sldLayoutIdLst>
  <p:hf hdr="0"/>
  <p:txStyles>
    <p:titleStyle>
      <a:lvl1pPr algn="l" defTabSz="914400" rtl="0" eaLnBrk="1" latinLnBrk="0" hangingPunct="1">
        <a:lnSpc>
          <a:spcPct val="83000"/>
        </a:lnSpc>
        <a:spcBef>
          <a:spcPct val="0"/>
        </a:spcBef>
        <a:buNone/>
        <a:defRPr sz="4000" kern="1200" cap="all" baseline="0">
          <a:solidFill>
            <a:schemeClr val="accent1"/>
          </a:solidFill>
          <a:latin typeface="Calibri Light" panose="020F0302020204030204" pitchFamily="34" charset="0"/>
          <a:ea typeface="+mj-ea"/>
          <a:cs typeface="+mj-cs"/>
        </a:defRPr>
      </a:lvl1pPr>
    </p:titleStyle>
    <p:bodyStyle>
      <a:lvl1pPr marL="0" indent="0" algn="l" defTabSz="914400" rtl="0" eaLnBrk="1" latinLnBrk="0" hangingPunct="1">
        <a:lnSpc>
          <a:spcPct val="90000"/>
        </a:lnSpc>
        <a:spcBef>
          <a:spcPts val="750"/>
        </a:spcBef>
        <a:buFont typeface="Arial" panose="020B0604020202020204" pitchFamily="34" charset="0"/>
        <a:buNone/>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90000"/>
        </a:lnSpc>
        <a:spcBef>
          <a:spcPts val="750"/>
        </a:spcBef>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750"/>
        </a:spcBef>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750"/>
        </a:spcBef>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750"/>
        </a:spcBef>
        <a:buFont typeface="Arial" panose="020B060402020202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619">
          <p15:clr>
            <a:srgbClr val="F26B43"/>
          </p15:clr>
        </p15:guide>
        <p15:guide id="2" pos="7061">
          <p15:clr>
            <a:srgbClr val="F26B43"/>
          </p15:clr>
        </p15:guide>
        <p15:guide id="3" orient="horz" pos="1797">
          <p15:clr>
            <a:srgbClr val="F26B43"/>
          </p15:clr>
        </p15:guide>
        <p15:guide id="4" orient="horz" pos="3878">
          <p15:clr>
            <a:srgbClr val="F26B43"/>
          </p15:clr>
        </p15:guide>
        <p15:guide id="5" orient="horz" pos="1207">
          <p15:clr>
            <a:srgbClr val="F26B43"/>
          </p15:clr>
        </p15:guide>
        <p15:guide id="6" orient="horz" pos="1729">
          <p15:clr>
            <a:srgbClr val="F26B43"/>
          </p15:clr>
        </p15:guide>
        <p15:guide id="7" orient="horz" pos="754">
          <p15:clr>
            <a:srgbClr val="F26B43"/>
          </p15:clr>
        </p15:guide>
        <p15:guide id="8" orient="horz" pos="127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60000" y="365126"/>
            <a:ext cx="10872000" cy="936000"/>
          </a:xfrm>
          <a:prstGeom prst="rect">
            <a:avLst/>
          </a:prstGeom>
        </p:spPr>
        <p:txBody>
          <a:bodyPr vert="horz" lIns="91440" tIns="45720" rIns="91440" bIns="45720" rtlCol="0" anchor="ctr">
            <a:normAutofit/>
          </a:bodyPr>
          <a:lstStyle/>
          <a:p>
            <a:r>
              <a:rPr lang="en-US"/>
              <a:t>Click to edit Master title style</a:t>
            </a:r>
            <a:endParaRPr lang="en-IE" dirty="0"/>
          </a:p>
        </p:txBody>
      </p:sp>
      <p:sp>
        <p:nvSpPr>
          <p:cNvPr id="3" name="Text Placeholder 2"/>
          <p:cNvSpPr>
            <a:spLocks noGrp="1"/>
          </p:cNvSpPr>
          <p:nvPr>
            <p:ph type="body" idx="1"/>
          </p:nvPr>
        </p:nvSpPr>
        <p:spPr>
          <a:xfrm>
            <a:off x="660000" y="1589127"/>
            <a:ext cx="10872000" cy="41208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5" name="Footer Placeholder 4"/>
          <p:cNvSpPr>
            <a:spLocks noGrp="1"/>
          </p:cNvSpPr>
          <p:nvPr>
            <p:ph type="ftr" sz="quarter" idx="3"/>
          </p:nvPr>
        </p:nvSpPr>
        <p:spPr>
          <a:xfrm>
            <a:off x="1532400" y="6080083"/>
            <a:ext cx="8498864" cy="365125"/>
          </a:xfrm>
          <a:prstGeom prst="rect">
            <a:avLst/>
          </a:prstGeom>
        </p:spPr>
        <p:txBody>
          <a:bodyPr vert="horz" lIns="91440" tIns="45720" rIns="91440" bIns="45720" rtlCol="0" anchor="ctr"/>
          <a:lstStyle>
            <a:lvl1pPr algn="l">
              <a:defRPr sz="1200">
                <a:solidFill>
                  <a:schemeClr val="accent5"/>
                </a:solidFill>
              </a:defRPr>
            </a:lvl1pPr>
          </a:lstStyle>
          <a:p>
            <a:endParaRPr lang="en-IE" dirty="0">
              <a:solidFill>
                <a:srgbClr val="B2B4B2"/>
              </a:solidFill>
            </a:endParaRPr>
          </a:p>
        </p:txBody>
      </p:sp>
      <p:sp>
        <p:nvSpPr>
          <p:cNvPr id="6" name="Slide Number Placeholder 5"/>
          <p:cNvSpPr>
            <a:spLocks noGrp="1"/>
          </p:cNvSpPr>
          <p:nvPr>
            <p:ph type="sldNum" sz="quarter" idx="4"/>
          </p:nvPr>
        </p:nvSpPr>
        <p:spPr>
          <a:xfrm>
            <a:off x="660000" y="6080083"/>
            <a:ext cx="720000" cy="365125"/>
          </a:xfrm>
          <a:prstGeom prst="rect">
            <a:avLst/>
          </a:prstGeom>
        </p:spPr>
        <p:txBody>
          <a:bodyPr vert="horz" lIns="91440" tIns="45720" rIns="91440" bIns="45720" rtlCol="0" anchor="ctr"/>
          <a:lstStyle>
            <a:lvl1pPr algn="l">
              <a:defRPr sz="1200">
                <a:solidFill>
                  <a:schemeClr val="accent1"/>
                </a:solidFill>
              </a:defRPr>
            </a:lvl1pPr>
          </a:lstStyle>
          <a:p>
            <a:fld id="{BDD9C4D5-18C8-4FD5-8DD3-707473F66EE9}" type="slidenum">
              <a:rPr lang="en-IE" smtClean="0">
                <a:solidFill>
                  <a:srgbClr val="06038D"/>
                </a:solidFill>
              </a:rPr>
              <a:pPr/>
              <a:t>‹#›</a:t>
            </a:fld>
            <a:endParaRPr lang="en-IE" dirty="0">
              <a:solidFill>
                <a:srgbClr val="06038D"/>
              </a:solidFill>
            </a:endParaRPr>
          </a:p>
        </p:txBody>
      </p:sp>
      <p:cxnSp>
        <p:nvCxnSpPr>
          <p:cNvPr id="13" name="Straight Connector 12"/>
          <p:cNvCxnSpPr/>
          <p:nvPr/>
        </p:nvCxnSpPr>
        <p:spPr>
          <a:xfrm>
            <a:off x="660000" y="1295999"/>
            <a:ext cx="10872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660000" y="1295999"/>
            <a:ext cx="10872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162597" y="6014314"/>
            <a:ext cx="1396060" cy="508244"/>
          </a:xfrm>
          <a:prstGeom prst="rect">
            <a:avLst/>
          </a:prstGeom>
        </p:spPr>
      </p:pic>
    </p:spTree>
    <p:extLst>
      <p:ext uri="{BB962C8B-B14F-4D97-AF65-F5344CB8AC3E}">
        <p14:creationId xmlns:p14="http://schemas.microsoft.com/office/powerpoint/2010/main" val="3157667805"/>
      </p:ext>
    </p:extLst>
  </p:cSld>
  <p:clrMap bg1="lt1" tx1="dk1" bg2="lt2" tx2="dk2" accent1="accent1" accent2="accent2" accent3="accent3" accent4="accent4" accent5="accent5" accent6="accent6" hlink="hlink" folHlink="folHlink"/>
  <p:sldLayoutIdLst>
    <p:sldLayoutId id="2147485158" r:id="rId1"/>
    <p:sldLayoutId id="2147485159" r:id="rId2"/>
    <p:sldLayoutId id="2147485160" r:id="rId3"/>
    <p:sldLayoutId id="2147485161" r:id="rId4"/>
    <p:sldLayoutId id="2147485162" r:id="rId5"/>
    <p:sldLayoutId id="2147485163" r:id="rId6"/>
    <p:sldLayoutId id="2147485164" r:id="rId7"/>
    <p:sldLayoutId id="2147485165" r:id="rId8"/>
    <p:sldLayoutId id="2147485166" r:id="rId9"/>
    <p:sldLayoutId id="2147485167" r:id="rId10"/>
    <p:sldLayoutId id="2147485168" r:id="rId11"/>
    <p:sldLayoutId id="2147485169" r:id="rId12"/>
    <p:sldLayoutId id="2147485170" r:id="rId13"/>
    <p:sldLayoutId id="2147485171" r:id="rId14"/>
    <p:sldLayoutId id="2147485172" r:id="rId15"/>
    <p:sldLayoutId id="2147485173" r:id="rId16"/>
    <p:sldLayoutId id="2147485174" r:id="rId17"/>
    <p:sldLayoutId id="2147485175" r:id="rId18"/>
    <p:sldLayoutId id="2147485176"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600" kern="1200">
          <a:solidFill>
            <a:schemeClr val="tx2"/>
          </a:solidFill>
          <a:latin typeface="+mj-lt"/>
          <a:ea typeface="+mj-ea"/>
          <a:cs typeface="+mj-cs"/>
        </a:defRPr>
      </a:lvl1pPr>
    </p:titleStyle>
    <p:bodyStyle>
      <a:lvl1pPr marL="266700" indent="-266700" algn="l" defTabSz="914400" rtl="0" eaLnBrk="1" latinLnBrk="0" hangingPunct="1">
        <a:lnSpc>
          <a:spcPct val="100000"/>
        </a:lnSpc>
        <a:spcBef>
          <a:spcPts val="1000"/>
        </a:spcBef>
        <a:buClr>
          <a:schemeClr val="accent2"/>
        </a:buClr>
        <a:buFont typeface="Arial" panose="020B0604020202020204" pitchFamily="34" charset="0"/>
        <a:buChar char="•"/>
        <a:defRPr sz="2200" kern="1200">
          <a:solidFill>
            <a:schemeClr val="tx1"/>
          </a:solidFill>
          <a:latin typeface="+mn-lt"/>
          <a:ea typeface="+mn-ea"/>
          <a:cs typeface="+mn-cs"/>
        </a:defRPr>
      </a:lvl1pPr>
      <a:lvl2pPr marL="719138" indent="-274638" algn="l" defTabSz="914400" rtl="0" eaLnBrk="1" latinLnBrk="0" hangingPunct="1">
        <a:lnSpc>
          <a:spcPct val="100000"/>
        </a:lnSpc>
        <a:spcBef>
          <a:spcPts val="500"/>
        </a:spcBef>
        <a:buClr>
          <a:schemeClr val="accent3"/>
        </a:buClr>
        <a:buFont typeface="Arial" panose="020B0604020202020204" pitchFamily="34" charset="0"/>
        <a:buChar char="‒"/>
        <a:defRPr sz="2000" kern="1200">
          <a:solidFill>
            <a:schemeClr val="tx1"/>
          </a:solidFill>
          <a:latin typeface="+mn-lt"/>
          <a:ea typeface="+mn-ea"/>
          <a:cs typeface="+mn-cs"/>
        </a:defRPr>
      </a:lvl2pPr>
      <a:lvl3pPr marL="1163638" indent="-266700" algn="l" defTabSz="914400" rtl="0" eaLnBrk="1" latinLnBrk="0" hangingPunct="1">
        <a:lnSpc>
          <a:spcPct val="100000"/>
        </a:lnSpc>
        <a:spcBef>
          <a:spcPts val="500"/>
        </a:spcBef>
        <a:buClr>
          <a:schemeClr val="accent4"/>
        </a:buClr>
        <a:buFont typeface="Wingdings" panose="05000000000000000000" pitchFamily="2" charset="2"/>
        <a:buChar char="§"/>
        <a:defRPr sz="1800" kern="1200">
          <a:solidFill>
            <a:schemeClr val="tx1"/>
          </a:solidFill>
          <a:latin typeface="+mn-lt"/>
          <a:ea typeface="+mn-ea"/>
          <a:cs typeface="+mn-cs"/>
        </a:defRPr>
      </a:lvl3pPr>
      <a:lvl4pPr marL="1616075" indent="-276225" algn="l" defTabSz="914400" rtl="0" eaLnBrk="1" latinLnBrk="0" hangingPunct="1">
        <a:lnSpc>
          <a:spcPct val="100000"/>
        </a:lnSpc>
        <a:spcBef>
          <a:spcPts val="500"/>
        </a:spcBef>
        <a:buClr>
          <a:schemeClr val="accent5"/>
        </a:buClr>
        <a:buFont typeface="Wingdings" panose="05000000000000000000" pitchFamily="2" charset="2"/>
        <a:buChar char="Ø"/>
        <a:defRPr sz="1600" kern="1200">
          <a:solidFill>
            <a:schemeClr val="tx1"/>
          </a:solidFill>
          <a:latin typeface="+mn-lt"/>
          <a:ea typeface="+mn-ea"/>
          <a:cs typeface="+mn-cs"/>
        </a:defRPr>
      </a:lvl4pPr>
      <a:lvl5pPr marL="2058988" indent="-265113" algn="l" defTabSz="914400" rtl="0" eaLnBrk="1" latinLnBrk="0" hangingPunct="1">
        <a:lnSpc>
          <a:spcPct val="100000"/>
        </a:lnSpc>
        <a:spcBef>
          <a:spcPts val="500"/>
        </a:spcBef>
        <a:buClr>
          <a:schemeClr val="accent6"/>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1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1.xml"/><Relationship Id="rId1" Type="http://schemas.openxmlformats.org/officeDocument/2006/relationships/slideLayout" Target="../slideLayouts/slideLayout121.xml"/><Relationship Id="rId5" Type="http://schemas.openxmlformats.org/officeDocument/2006/relationships/image" Target="../media/image84.png"/><Relationship Id="rId4" Type="http://schemas.openxmlformats.org/officeDocument/2006/relationships/image" Target="../media/image83.png"/></Relationships>
</file>

<file path=ppt/slides/_rels/slide1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9.png"/><Relationship Id="rId2" Type="http://schemas.openxmlformats.org/officeDocument/2006/relationships/notesSlide" Target="../notesSlides/notesSlide13.xml"/><Relationship Id="rId1" Type="http://schemas.openxmlformats.org/officeDocument/2006/relationships/slideLayout" Target="../slideLayouts/slideLayout18.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1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91.png"/></Relationships>
</file>

<file path=ppt/slides/_rels/slide1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20.xml"/><Relationship Id="rId5" Type="http://schemas.openxmlformats.org/officeDocument/2006/relationships/image" Target="../media/image93.png"/><Relationship Id="rId4" Type="http://schemas.openxmlformats.org/officeDocument/2006/relationships/image" Target="../media/image92.png"/></Relationships>
</file>

<file path=ppt/slides/_rels/slide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58.png"/><Relationship Id="rId4" Type="http://schemas.openxmlformats.org/officeDocument/2006/relationships/image" Target="../media/image57.png"/></Relationships>
</file>

<file path=ppt/slides/_rels/slide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jpe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7.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8.png"/><Relationship Id="rId7" Type="http://schemas.openxmlformats.org/officeDocument/2006/relationships/image" Target="../media/image71.jpe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70.jpeg"/><Relationship Id="rId5" Type="http://schemas.openxmlformats.org/officeDocument/2006/relationships/chart" Target="../charts/chart1.xml"/><Relationship Id="rId4" Type="http://schemas.openxmlformats.org/officeDocument/2006/relationships/image" Target="../media/image69.png"/></Relationships>
</file>

<file path=ppt/slides/_rels/slide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74.png"/></Relationships>
</file>

<file path=ppt/slides/_rels/slide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E4B2D3-C02B-46D4-8DB6-C85E6254C372}"/>
              </a:ext>
            </a:extLst>
          </p:cNvPr>
          <p:cNvSpPr/>
          <p:nvPr/>
        </p:nvSpPr>
        <p:spPr>
          <a:xfrm>
            <a:off x="2461249" y="2892426"/>
            <a:ext cx="7062638" cy="2923877"/>
          </a:xfrm>
          <a:prstGeom prst="rect">
            <a:avLst/>
          </a:prstGeom>
        </p:spPr>
        <p:txBody>
          <a:bodyPr wrap="none" anchor="t">
            <a:spAutoFit/>
          </a:bodyPr>
          <a:lstStyle/>
          <a:p>
            <a:pPr algn="ctr"/>
            <a:r>
              <a:rPr lang="en-US" sz="2800" b="1" dirty="0">
                <a:solidFill>
                  <a:srgbClr val="0051A0"/>
                </a:solidFill>
              </a:rPr>
              <a:t>Energy Ireland Conference 2019</a:t>
            </a:r>
          </a:p>
          <a:p>
            <a:pPr algn="ctr"/>
            <a:r>
              <a:rPr lang="en-US" sz="2800" b="1" dirty="0">
                <a:solidFill>
                  <a:srgbClr val="0051A0"/>
                </a:solidFill>
              </a:rPr>
              <a:t>Dublin, 20 June 2019</a:t>
            </a:r>
          </a:p>
          <a:p>
            <a:pPr algn="ctr"/>
            <a:endParaRPr lang="en-US" sz="2800" b="1" dirty="0">
              <a:solidFill>
                <a:srgbClr val="0051A0"/>
              </a:solidFill>
            </a:endParaRPr>
          </a:p>
          <a:p>
            <a:pPr algn="ctr"/>
            <a:r>
              <a:rPr lang="en-US" sz="2800" b="1" dirty="0">
                <a:solidFill>
                  <a:srgbClr val="0051A0"/>
                </a:solidFill>
              </a:rPr>
              <a:t>THE FUTURE ROLE OF GAS </a:t>
            </a:r>
          </a:p>
          <a:p>
            <a:pPr algn="ctr"/>
            <a:r>
              <a:rPr lang="en-US" sz="2800" b="1" dirty="0">
                <a:solidFill>
                  <a:srgbClr val="0051A0"/>
                </a:solidFill>
              </a:rPr>
              <a:t>Developing Europe’s Gas Infrastructure </a:t>
            </a:r>
            <a:endParaRPr lang="en-US" sz="900" dirty="0">
              <a:solidFill>
                <a:srgbClr val="0051A0"/>
              </a:solidFill>
              <a:cs typeface="Arial"/>
            </a:endParaRPr>
          </a:p>
          <a:p>
            <a:pPr algn="ctr"/>
            <a:endParaRPr lang="en-US" sz="2000" b="1" dirty="0">
              <a:solidFill>
                <a:srgbClr val="0051A0"/>
              </a:solidFill>
              <a:cs typeface="Arial"/>
            </a:endParaRPr>
          </a:p>
          <a:p>
            <a:pPr algn="ctr"/>
            <a:r>
              <a:rPr lang="en-US" sz="2400" b="1" dirty="0">
                <a:solidFill>
                  <a:srgbClr val="0051A0"/>
                </a:solidFill>
                <a:cs typeface="Arial"/>
              </a:rPr>
              <a:t>Boyana Achovski, Secretary General, GIE</a:t>
            </a:r>
          </a:p>
        </p:txBody>
      </p:sp>
      <p:pic>
        <p:nvPicPr>
          <p:cNvPr id="3" name="Picture 2">
            <a:extLst>
              <a:ext uri="{FF2B5EF4-FFF2-40B4-BE49-F238E27FC236}">
                <a16:creationId xmlns:a16="http://schemas.microsoft.com/office/drawing/2014/main" id="{BE09EB09-E12F-4921-8AC5-95D927BDBC1A}"/>
              </a:ext>
            </a:extLst>
          </p:cNvPr>
          <p:cNvPicPr>
            <a:picLocks noChangeAspect="1"/>
          </p:cNvPicPr>
          <p:nvPr/>
        </p:nvPicPr>
        <p:blipFill>
          <a:blip r:embed="rId3"/>
          <a:stretch>
            <a:fillRect/>
          </a:stretch>
        </p:blipFill>
        <p:spPr>
          <a:xfrm>
            <a:off x="4055381" y="430335"/>
            <a:ext cx="3874377" cy="1950190"/>
          </a:xfrm>
          <a:prstGeom prst="rect">
            <a:avLst/>
          </a:prstGeom>
        </p:spPr>
      </p:pic>
    </p:spTree>
    <p:extLst>
      <p:ext uri="{BB962C8B-B14F-4D97-AF65-F5344CB8AC3E}">
        <p14:creationId xmlns:p14="http://schemas.microsoft.com/office/powerpoint/2010/main" val="332101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9">
            <a:extLst>
              <a:ext uri="{FF2B5EF4-FFF2-40B4-BE49-F238E27FC236}">
                <a16:creationId xmlns:a16="http://schemas.microsoft.com/office/drawing/2014/main" id="{3F4BB4E7-ED8D-4051-B4FB-71E61A8E476F}"/>
              </a:ext>
            </a:extLst>
          </p:cNvPr>
          <p:cNvSpPr/>
          <p:nvPr/>
        </p:nvSpPr>
        <p:spPr>
          <a:xfrm>
            <a:off x="5641297" y="2207728"/>
            <a:ext cx="5933246" cy="1570583"/>
          </a:xfrm>
          <a:prstGeom prst="rect">
            <a:avLst/>
          </a:prstGeom>
          <a:solidFill>
            <a:schemeClr val="bg1"/>
          </a:solidFill>
          <a:ln w="12700">
            <a:solidFill>
              <a:schemeClr val="bg1">
                <a:lumMod val="65000"/>
              </a:schemeClr>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a:ln>
                <a:noFill/>
              </a:ln>
              <a:solidFill>
                <a:srgbClr val="4472C4"/>
              </a:solidFill>
              <a:effectLst/>
              <a:uLnTx/>
              <a:uFillTx/>
              <a:latin typeface="Arial" panose="020B0604020202020204"/>
              <a:ea typeface="+mn-ea"/>
              <a:cs typeface="+mn-cs"/>
            </a:endParaRPr>
          </a:p>
        </p:txBody>
      </p:sp>
      <p:cxnSp>
        <p:nvCxnSpPr>
          <p:cNvPr id="15" name="Gewinkelter Verbinder 10">
            <a:extLst>
              <a:ext uri="{FF2B5EF4-FFF2-40B4-BE49-F238E27FC236}">
                <a16:creationId xmlns:a16="http://schemas.microsoft.com/office/drawing/2014/main" id="{8F939686-F462-41B6-9C9F-7EA121DF5CA0}"/>
              </a:ext>
            </a:extLst>
          </p:cNvPr>
          <p:cNvCxnSpPr>
            <a:cxnSpLocks/>
          </p:cNvCxnSpPr>
          <p:nvPr/>
        </p:nvCxnSpPr>
        <p:spPr>
          <a:xfrm flipH="1">
            <a:off x="4225065" y="3022013"/>
            <a:ext cx="1419225" cy="954852"/>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Gewinkelter Verbinder 14">
            <a:extLst>
              <a:ext uri="{FF2B5EF4-FFF2-40B4-BE49-F238E27FC236}">
                <a16:creationId xmlns:a16="http://schemas.microsoft.com/office/drawing/2014/main" id="{F3772A1A-A35E-4B31-92E3-D57F936DEB62}"/>
              </a:ext>
            </a:extLst>
          </p:cNvPr>
          <p:cNvCxnSpPr>
            <a:cxnSpLocks/>
          </p:cNvCxnSpPr>
          <p:nvPr/>
        </p:nvCxnSpPr>
        <p:spPr>
          <a:xfrm flipH="1" flipV="1">
            <a:off x="4215657" y="3967459"/>
            <a:ext cx="1438040" cy="850313"/>
          </a:xfrm>
          <a:prstGeom prst="bentConnector3">
            <a:avLst>
              <a:gd name="adj1" fmla="val 50000"/>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Rechteck 21">
            <a:extLst>
              <a:ext uri="{FF2B5EF4-FFF2-40B4-BE49-F238E27FC236}">
                <a16:creationId xmlns:a16="http://schemas.microsoft.com/office/drawing/2014/main" id="{4A7DDB65-46B9-467E-B126-9ACDC1C59672}"/>
              </a:ext>
            </a:extLst>
          </p:cNvPr>
          <p:cNvSpPr/>
          <p:nvPr/>
        </p:nvSpPr>
        <p:spPr>
          <a:xfrm>
            <a:off x="5641298" y="3957688"/>
            <a:ext cx="5933245" cy="1600079"/>
          </a:xfrm>
          <a:prstGeom prst="rect">
            <a:avLst/>
          </a:prstGeom>
          <a:solidFill>
            <a:schemeClr val="bg1"/>
          </a:solidFill>
          <a:ln w="12700">
            <a:solidFill>
              <a:schemeClr val="bg1">
                <a:lumMod val="65000"/>
              </a:schemeClr>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a:ln>
                <a:noFill/>
              </a:ln>
              <a:solidFill>
                <a:srgbClr val="4472C4"/>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5DCE21DF-E2EF-49AB-9D7B-8D71A0170E33}"/>
              </a:ext>
            </a:extLst>
          </p:cNvPr>
          <p:cNvSpPr/>
          <p:nvPr/>
        </p:nvSpPr>
        <p:spPr>
          <a:xfrm>
            <a:off x="5744780" y="4346138"/>
            <a:ext cx="3257550" cy="815558"/>
          </a:xfrm>
          <a:prstGeom prst="rect">
            <a:avLst/>
          </a:prstGeom>
          <a:solidFill>
            <a:srgbClr val="D7ED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rPr>
              <a:t>Enables sector coupling/integration and renewable energy</a:t>
            </a:r>
            <a:r>
              <a:rPr kumimoji="0" lang="en-US" sz="1600" b="1" i="0" u="none" strike="noStrike" kern="1200" cap="none" spc="0" normalizeH="0" baseline="0" noProof="0" dirty="0">
                <a:ln>
                  <a:noFill/>
                </a:ln>
                <a:solidFill>
                  <a:prstClr val="black">
                    <a:lumMod val="65000"/>
                    <a:lumOff val="35000"/>
                  </a:prstClr>
                </a:solidFill>
                <a:effectLst/>
                <a:uLnTx/>
                <a:uFillTx/>
                <a:latin typeface="Arial" panose="020B0604020202020204"/>
                <a:ea typeface="+mn-lt"/>
                <a:cs typeface="Arial" panose="020B0604020202020204"/>
              </a:rPr>
              <a:t> storage</a:t>
            </a:r>
          </a:p>
        </p:txBody>
      </p:sp>
      <p:sp>
        <p:nvSpPr>
          <p:cNvPr id="20" name="Rectangle 19">
            <a:extLst>
              <a:ext uri="{FF2B5EF4-FFF2-40B4-BE49-F238E27FC236}">
                <a16:creationId xmlns:a16="http://schemas.microsoft.com/office/drawing/2014/main" id="{BD16CE0E-6B55-4DC6-8796-F008CB67979D}"/>
              </a:ext>
            </a:extLst>
          </p:cNvPr>
          <p:cNvSpPr/>
          <p:nvPr/>
        </p:nvSpPr>
        <p:spPr>
          <a:xfrm>
            <a:off x="5744778" y="2612246"/>
            <a:ext cx="3257550" cy="815558"/>
          </a:xfrm>
          <a:prstGeom prst="rect">
            <a:avLst/>
          </a:prstGeom>
          <a:solidFill>
            <a:srgbClr val="D7ED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rPr>
              <a:t>Facilitates a</a:t>
            </a:r>
            <a:r>
              <a:rPr kumimoji="0" lang="en-US" sz="1600" b="1" i="0"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Arial"/>
              </a:rPr>
              <a:t> developed EU</a:t>
            </a:r>
            <a:br>
              <a:rPr kumimoji="0" lang="en-US" sz="1600" b="1" i="0"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Arial"/>
              </a:rPr>
            </a:br>
            <a:r>
              <a:rPr kumimoji="0" lang="en-US" sz="1600" b="1" i="0"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Arial"/>
              </a:rPr>
              <a:t>energy market</a:t>
            </a:r>
            <a:endParaRPr kumimoji="0" lang="en-US" sz="1600" b="0" i="0"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0286233C-288E-4F4D-BC3D-E048F4EFA469}"/>
              </a:ext>
            </a:extLst>
          </p:cNvPr>
          <p:cNvSpPr/>
          <p:nvPr/>
        </p:nvSpPr>
        <p:spPr>
          <a:xfrm>
            <a:off x="965757" y="3568108"/>
            <a:ext cx="3257550" cy="815558"/>
          </a:xfrm>
          <a:prstGeom prst="rect">
            <a:avLst/>
          </a:prstGeom>
          <a:solidFill>
            <a:srgbClr val="C6DB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panose="020B0604020202020204"/>
                <a:ea typeface="+mn-ea"/>
                <a:cs typeface="+mn-cs"/>
              </a:rPr>
              <a:t>integration</a:t>
            </a:r>
            <a:endParaRPr kumimoji="0" lang="nl-BE" sz="2800" b="1"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22" name="Grafik 20" descr="A picture containing indoor&#10;&#10;Description generated with high confidence">
            <a:extLst>
              <a:ext uri="{FF2B5EF4-FFF2-40B4-BE49-F238E27FC236}">
                <a16:creationId xmlns:a16="http://schemas.microsoft.com/office/drawing/2014/main" id="{6DC3B634-F9C6-4969-8582-956DB4F4D48A}"/>
              </a:ext>
            </a:extLst>
          </p:cNvPr>
          <p:cNvPicPr>
            <a:picLocks noChangeAspect="1"/>
          </p:cNvPicPr>
          <p:nvPr/>
        </p:nvPicPr>
        <p:blipFill>
          <a:blip r:embed="rId3"/>
          <a:stretch>
            <a:fillRect/>
          </a:stretch>
        </p:blipFill>
        <p:spPr>
          <a:xfrm>
            <a:off x="8995298" y="3956309"/>
            <a:ext cx="2567154" cy="1602676"/>
          </a:xfrm>
          <a:prstGeom prst="rect">
            <a:avLst/>
          </a:prstGeom>
          <a:ln>
            <a:solidFill>
              <a:schemeClr val="bg1"/>
            </a:solidFill>
          </a:ln>
        </p:spPr>
      </p:pic>
      <p:pic>
        <p:nvPicPr>
          <p:cNvPr id="23" name="Picture 22" descr="A picture containing grass, table, mirror&#10;&#10;Description generated with high confidence">
            <a:extLst>
              <a:ext uri="{FF2B5EF4-FFF2-40B4-BE49-F238E27FC236}">
                <a16:creationId xmlns:a16="http://schemas.microsoft.com/office/drawing/2014/main" id="{2AD8C5DC-1E51-4CCD-A088-EDE28980E634}"/>
              </a:ext>
            </a:extLst>
          </p:cNvPr>
          <p:cNvPicPr>
            <a:picLocks noChangeAspect="1"/>
          </p:cNvPicPr>
          <p:nvPr/>
        </p:nvPicPr>
        <p:blipFill>
          <a:blip r:embed="rId4"/>
          <a:stretch>
            <a:fillRect/>
          </a:stretch>
        </p:blipFill>
        <p:spPr>
          <a:xfrm>
            <a:off x="2024551" y="4542804"/>
            <a:ext cx="1226908" cy="1199504"/>
          </a:xfrm>
          <a:prstGeom prst="rect">
            <a:avLst/>
          </a:prstGeom>
        </p:spPr>
      </p:pic>
      <p:pic>
        <p:nvPicPr>
          <p:cNvPr id="24" name="Picture 23">
            <a:extLst>
              <a:ext uri="{FF2B5EF4-FFF2-40B4-BE49-F238E27FC236}">
                <a16:creationId xmlns:a16="http://schemas.microsoft.com/office/drawing/2014/main" id="{3244DB18-46AF-4A7F-9EC6-B7491536AA43}"/>
              </a:ext>
            </a:extLst>
          </p:cNvPr>
          <p:cNvPicPr>
            <a:picLocks noChangeAspect="1"/>
          </p:cNvPicPr>
          <p:nvPr/>
        </p:nvPicPr>
        <p:blipFill>
          <a:blip r:embed="rId5"/>
          <a:stretch>
            <a:fillRect/>
          </a:stretch>
        </p:blipFill>
        <p:spPr>
          <a:xfrm>
            <a:off x="3212909" y="4529731"/>
            <a:ext cx="1226908" cy="1199504"/>
          </a:xfrm>
          <a:prstGeom prst="rect">
            <a:avLst/>
          </a:prstGeom>
        </p:spPr>
      </p:pic>
      <p:pic>
        <p:nvPicPr>
          <p:cNvPr id="25" name="Picture 24" descr="A picture containing transport&#10;&#10;Description generated with high confidence">
            <a:extLst>
              <a:ext uri="{FF2B5EF4-FFF2-40B4-BE49-F238E27FC236}">
                <a16:creationId xmlns:a16="http://schemas.microsoft.com/office/drawing/2014/main" id="{8EE77406-F296-4681-A216-F89830FD2B3B}"/>
              </a:ext>
            </a:extLst>
          </p:cNvPr>
          <p:cNvPicPr>
            <a:picLocks noChangeAspect="1"/>
          </p:cNvPicPr>
          <p:nvPr/>
        </p:nvPicPr>
        <p:blipFill>
          <a:blip r:embed="rId6"/>
          <a:stretch>
            <a:fillRect/>
          </a:stretch>
        </p:blipFill>
        <p:spPr>
          <a:xfrm>
            <a:off x="821522" y="4548211"/>
            <a:ext cx="1241578" cy="1213847"/>
          </a:xfrm>
          <a:prstGeom prst="rect">
            <a:avLst/>
          </a:prstGeom>
        </p:spPr>
      </p:pic>
      <p:grpSp>
        <p:nvGrpSpPr>
          <p:cNvPr id="26" name="Grupo 5">
            <a:extLst>
              <a:ext uri="{FF2B5EF4-FFF2-40B4-BE49-F238E27FC236}">
                <a16:creationId xmlns:a16="http://schemas.microsoft.com/office/drawing/2014/main" id="{80A702A4-8634-4AAF-8E7E-3D7576400D41}"/>
              </a:ext>
            </a:extLst>
          </p:cNvPr>
          <p:cNvGrpSpPr/>
          <p:nvPr/>
        </p:nvGrpSpPr>
        <p:grpSpPr>
          <a:xfrm>
            <a:off x="9008229" y="2212886"/>
            <a:ext cx="2559368" cy="1579486"/>
            <a:chOff x="7744312" y="658283"/>
            <a:chExt cx="3194622" cy="3420533"/>
          </a:xfrm>
        </p:grpSpPr>
        <p:pic>
          <p:nvPicPr>
            <p:cNvPr id="29" name="Imagen 4">
              <a:extLst>
                <a:ext uri="{FF2B5EF4-FFF2-40B4-BE49-F238E27FC236}">
                  <a16:creationId xmlns:a16="http://schemas.microsoft.com/office/drawing/2014/main" id="{DC736399-500A-4DEC-863A-93384615AC8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1439" t="21142" r="27301"/>
            <a:stretch/>
          </p:blipFill>
          <p:spPr>
            <a:xfrm>
              <a:off x="7744312" y="658283"/>
              <a:ext cx="3194622" cy="3420533"/>
            </a:xfrm>
            <a:prstGeom prst="rect">
              <a:avLst/>
            </a:prstGeom>
            <a:ln>
              <a:noFill/>
            </a:ln>
          </p:spPr>
        </p:pic>
        <p:sp>
          <p:nvSpPr>
            <p:cNvPr id="32" name="Elipse 8">
              <a:extLst>
                <a:ext uri="{FF2B5EF4-FFF2-40B4-BE49-F238E27FC236}">
                  <a16:creationId xmlns:a16="http://schemas.microsoft.com/office/drawing/2014/main" id="{FBE6A913-9720-4E4E-A182-B467E374D82E}"/>
                </a:ext>
              </a:extLst>
            </p:cNvPr>
            <p:cNvSpPr/>
            <p:nvPr/>
          </p:nvSpPr>
          <p:spPr>
            <a:xfrm>
              <a:off x="8286750" y="3409498"/>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3" name="Elipse 10">
              <a:extLst>
                <a:ext uri="{FF2B5EF4-FFF2-40B4-BE49-F238E27FC236}">
                  <a16:creationId xmlns:a16="http://schemas.microsoft.com/office/drawing/2014/main" id="{EEC4BF8C-C1AE-4FF0-B154-6FB6B3157432}"/>
                </a:ext>
              </a:extLst>
            </p:cNvPr>
            <p:cNvSpPr/>
            <p:nvPr/>
          </p:nvSpPr>
          <p:spPr>
            <a:xfrm>
              <a:off x="7861543" y="3481387"/>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4" name="Elipse 11">
              <a:extLst>
                <a:ext uri="{FF2B5EF4-FFF2-40B4-BE49-F238E27FC236}">
                  <a16:creationId xmlns:a16="http://schemas.microsoft.com/office/drawing/2014/main" id="{A0F8E98B-3331-4F44-B5E5-3CAE59282F8B}"/>
                </a:ext>
              </a:extLst>
            </p:cNvPr>
            <p:cNvSpPr/>
            <p:nvPr/>
          </p:nvSpPr>
          <p:spPr>
            <a:xfrm>
              <a:off x="8846794" y="2649533"/>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5" name="Elipse 12">
              <a:extLst>
                <a:ext uri="{FF2B5EF4-FFF2-40B4-BE49-F238E27FC236}">
                  <a16:creationId xmlns:a16="http://schemas.microsoft.com/office/drawing/2014/main" id="{C3DD2852-C1A4-4D47-A86A-9780338BC8AA}"/>
                </a:ext>
              </a:extLst>
            </p:cNvPr>
            <p:cNvSpPr/>
            <p:nvPr/>
          </p:nvSpPr>
          <p:spPr>
            <a:xfrm>
              <a:off x="8961094" y="2419350"/>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6" name="Elipse 13">
              <a:extLst>
                <a:ext uri="{FF2B5EF4-FFF2-40B4-BE49-F238E27FC236}">
                  <a16:creationId xmlns:a16="http://schemas.microsoft.com/office/drawing/2014/main" id="{9CE6ED39-E5AF-49B7-BF1A-6FC6F5219723}"/>
                </a:ext>
              </a:extLst>
            </p:cNvPr>
            <p:cNvSpPr/>
            <p:nvPr/>
          </p:nvSpPr>
          <p:spPr>
            <a:xfrm>
              <a:off x="9109075" y="2271711"/>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7" name="Elipse 14">
              <a:extLst>
                <a:ext uri="{FF2B5EF4-FFF2-40B4-BE49-F238E27FC236}">
                  <a16:creationId xmlns:a16="http://schemas.microsoft.com/office/drawing/2014/main" id="{45ABC35F-08D9-426A-A9C8-ABA53C1AE930}"/>
                </a:ext>
              </a:extLst>
            </p:cNvPr>
            <p:cNvSpPr/>
            <p:nvPr/>
          </p:nvSpPr>
          <p:spPr>
            <a:xfrm>
              <a:off x="8683628" y="2271711"/>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8" name="Elipse 15">
              <a:extLst>
                <a:ext uri="{FF2B5EF4-FFF2-40B4-BE49-F238E27FC236}">
                  <a16:creationId xmlns:a16="http://schemas.microsoft.com/office/drawing/2014/main" id="{32C63553-95CC-4A47-A783-AB43D8C153B2}"/>
                </a:ext>
              </a:extLst>
            </p:cNvPr>
            <p:cNvSpPr/>
            <p:nvPr/>
          </p:nvSpPr>
          <p:spPr>
            <a:xfrm>
              <a:off x="8343900" y="2081211"/>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9" name="Elipse 16">
              <a:extLst>
                <a:ext uri="{FF2B5EF4-FFF2-40B4-BE49-F238E27FC236}">
                  <a16:creationId xmlns:a16="http://schemas.microsoft.com/office/drawing/2014/main" id="{BE3BF676-B5FF-442B-972B-7391719416D7}"/>
                </a:ext>
              </a:extLst>
            </p:cNvPr>
            <p:cNvSpPr/>
            <p:nvPr/>
          </p:nvSpPr>
          <p:spPr>
            <a:xfrm>
              <a:off x="9516979" y="2540185"/>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0" name="Elipse 17">
              <a:extLst>
                <a:ext uri="{FF2B5EF4-FFF2-40B4-BE49-F238E27FC236}">
                  <a16:creationId xmlns:a16="http://schemas.microsoft.com/office/drawing/2014/main" id="{DFB55A03-8AFD-4E97-A327-D3A98297559B}"/>
                </a:ext>
              </a:extLst>
            </p:cNvPr>
            <p:cNvSpPr/>
            <p:nvPr/>
          </p:nvSpPr>
          <p:spPr>
            <a:xfrm>
              <a:off x="9623177" y="3309487"/>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1" name="Elipse 18">
              <a:extLst>
                <a:ext uri="{FF2B5EF4-FFF2-40B4-BE49-F238E27FC236}">
                  <a16:creationId xmlns:a16="http://schemas.microsoft.com/office/drawing/2014/main" id="{63E39DEB-6B5F-4515-A9F8-52E3983023DE}"/>
                </a:ext>
              </a:extLst>
            </p:cNvPr>
            <p:cNvSpPr/>
            <p:nvPr/>
          </p:nvSpPr>
          <p:spPr>
            <a:xfrm>
              <a:off x="9109075" y="2860936"/>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2" name="Elipse 19">
              <a:extLst>
                <a:ext uri="{FF2B5EF4-FFF2-40B4-BE49-F238E27FC236}">
                  <a16:creationId xmlns:a16="http://schemas.microsoft.com/office/drawing/2014/main" id="{03C308AF-0EF5-4922-91FA-C24C98218746}"/>
                </a:ext>
              </a:extLst>
            </p:cNvPr>
            <p:cNvSpPr/>
            <p:nvPr/>
          </p:nvSpPr>
          <p:spPr>
            <a:xfrm>
              <a:off x="9493995" y="2333623"/>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3" name="Elipse 20">
              <a:extLst>
                <a:ext uri="{FF2B5EF4-FFF2-40B4-BE49-F238E27FC236}">
                  <a16:creationId xmlns:a16="http://schemas.microsoft.com/office/drawing/2014/main" id="{570219C1-F4A5-4711-B378-2A6DA185BAC7}"/>
                </a:ext>
              </a:extLst>
            </p:cNvPr>
            <p:cNvSpPr/>
            <p:nvPr/>
          </p:nvSpPr>
          <p:spPr>
            <a:xfrm>
              <a:off x="9919442" y="2252661"/>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4" name="Elipse 21">
              <a:extLst>
                <a:ext uri="{FF2B5EF4-FFF2-40B4-BE49-F238E27FC236}">
                  <a16:creationId xmlns:a16="http://schemas.microsoft.com/office/drawing/2014/main" id="{9FB30BAC-106E-4AD1-9759-A3054CD9F855}"/>
                </a:ext>
              </a:extLst>
            </p:cNvPr>
            <p:cNvSpPr/>
            <p:nvPr/>
          </p:nvSpPr>
          <p:spPr>
            <a:xfrm>
              <a:off x="10126318" y="1703386"/>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5" name="Elipse 22">
              <a:extLst>
                <a:ext uri="{FF2B5EF4-FFF2-40B4-BE49-F238E27FC236}">
                  <a16:creationId xmlns:a16="http://schemas.microsoft.com/office/drawing/2014/main" id="{6833E527-541C-45F0-81B0-658A27155C4A}"/>
                </a:ext>
              </a:extLst>
            </p:cNvPr>
            <p:cNvSpPr/>
            <p:nvPr/>
          </p:nvSpPr>
          <p:spPr>
            <a:xfrm>
              <a:off x="10238409" y="1897590"/>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6" name="Elipse 23">
              <a:extLst>
                <a:ext uri="{FF2B5EF4-FFF2-40B4-BE49-F238E27FC236}">
                  <a16:creationId xmlns:a16="http://schemas.microsoft.com/office/drawing/2014/main" id="{3B037049-94C1-465D-93A3-C5F34BFD5655}"/>
                </a:ext>
              </a:extLst>
            </p:cNvPr>
            <p:cNvSpPr/>
            <p:nvPr/>
          </p:nvSpPr>
          <p:spPr>
            <a:xfrm>
              <a:off x="10144649" y="1482459"/>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9" name="Elipse 24">
              <a:extLst>
                <a:ext uri="{FF2B5EF4-FFF2-40B4-BE49-F238E27FC236}">
                  <a16:creationId xmlns:a16="http://schemas.microsoft.com/office/drawing/2014/main" id="{5BC4F378-10C8-4C4B-BEF8-6424C9FA6E3C}"/>
                </a:ext>
              </a:extLst>
            </p:cNvPr>
            <p:cNvSpPr/>
            <p:nvPr/>
          </p:nvSpPr>
          <p:spPr>
            <a:xfrm>
              <a:off x="10069168" y="1323444"/>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2" name="Elipse 25">
              <a:extLst>
                <a:ext uri="{FF2B5EF4-FFF2-40B4-BE49-F238E27FC236}">
                  <a16:creationId xmlns:a16="http://schemas.microsoft.com/office/drawing/2014/main" id="{7B2D3F43-9CC6-4922-A501-E5EA739A4F4B}"/>
                </a:ext>
              </a:extLst>
            </p:cNvPr>
            <p:cNvSpPr/>
            <p:nvPr/>
          </p:nvSpPr>
          <p:spPr>
            <a:xfrm>
              <a:off x="9783441" y="1538021"/>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3" name="Elipse 26">
              <a:extLst>
                <a:ext uri="{FF2B5EF4-FFF2-40B4-BE49-F238E27FC236}">
                  <a16:creationId xmlns:a16="http://schemas.microsoft.com/office/drawing/2014/main" id="{1A3C48C6-C399-4913-B81D-DCF133B0B54B}"/>
                </a:ext>
              </a:extLst>
            </p:cNvPr>
            <p:cNvSpPr/>
            <p:nvPr/>
          </p:nvSpPr>
          <p:spPr>
            <a:xfrm>
              <a:off x="9366994" y="1959502"/>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4" name="Elipse 27">
              <a:extLst>
                <a:ext uri="{FF2B5EF4-FFF2-40B4-BE49-F238E27FC236}">
                  <a16:creationId xmlns:a16="http://schemas.microsoft.com/office/drawing/2014/main" id="{D4D93727-FE9C-4F22-ACD4-BCCC7EAD2258}"/>
                </a:ext>
              </a:extLst>
            </p:cNvPr>
            <p:cNvSpPr/>
            <p:nvPr/>
          </p:nvSpPr>
          <p:spPr>
            <a:xfrm>
              <a:off x="9649113" y="2688383"/>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5" name="Elipse 28">
              <a:extLst>
                <a:ext uri="{FF2B5EF4-FFF2-40B4-BE49-F238E27FC236}">
                  <a16:creationId xmlns:a16="http://schemas.microsoft.com/office/drawing/2014/main" id="{654D3472-C3C9-459E-86FA-FFDA7485574F}"/>
                </a:ext>
              </a:extLst>
            </p:cNvPr>
            <p:cNvSpPr/>
            <p:nvPr/>
          </p:nvSpPr>
          <p:spPr>
            <a:xfrm>
              <a:off x="9802296" y="2664783"/>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6" name="Elipse 29">
              <a:extLst>
                <a:ext uri="{FF2B5EF4-FFF2-40B4-BE49-F238E27FC236}">
                  <a16:creationId xmlns:a16="http://schemas.microsoft.com/office/drawing/2014/main" id="{1990434E-AA90-4710-81D3-89A119F45B4A}"/>
                </a:ext>
              </a:extLst>
            </p:cNvPr>
            <p:cNvSpPr/>
            <p:nvPr/>
          </p:nvSpPr>
          <p:spPr>
            <a:xfrm>
              <a:off x="9922688" y="2778252"/>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8" name="Elipse 30">
              <a:extLst>
                <a:ext uri="{FF2B5EF4-FFF2-40B4-BE49-F238E27FC236}">
                  <a16:creationId xmlns:a16="http://schemas.microsoft.com/office/drawing/2014/main" id="{B6E7B5B3-8F95-4358-AEC2-7A440DF61605}"/>
                </a:ext>
              </a:extLst>
            </p:cNvPr>
            <p:cNvSpPr/>
            <p:nvPr/>
          </p:nvSpPr>
          <p:spPr>
            <a:xfrm>
              <a:off x="10534891" y="3008888"/>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9" name="Elipse 31">
              <a:extLst>
                <a:ext uri="{FF2B5EF4-FFF2-40B4-BE49-F238E27FC236}">
                  <a16:creationId xmlns:a16="http://schemas.microsoft.com/office/drawing/2014/main" id="{C654C852-AC11-47B8-866E-FBDFE7B25490}"/>
                </a:ext>
              </a:extLst>
            </p:cNvPr>
            <p:cNvSpPr/>
            <p:nvPr/>
          </p:nvSpPr>
          <p:spPr>
            <a:xfrm>
              <a:off x="10420591" y="3203092"/>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0" name="Elipse 32">
              <a:extLst>
                <a:ext uri="{FF2B5EF4-FFF2-40B4-BE49-F238E27FC236}">
                  <a16:creationId xmlns:a16="http://schemas.microsoft.com/office/drawing/2014/main" id="{D024178A-4409-4646-A12F-1F2FAE39FADA}"/>
                </a:ext>
              </a:extLst>
            </p:cNvPr>
            <p:cNvSpPr/>
            <p:nvPr/>
          </p:nvSpPr>
          <p:spPr>
            <a:xfrm>
              <a:off x="10363441" y="3613725"/>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61" name="Conector recto 35">
              <a:extLst>
                <a:ext uri="{FF2B5EF4-FFF2-40B4-BE49-F238E27FC236}">
                  <a16:creationId xmlns:a16="http://schemas.microsoft.com/office/drawing/2014/main" id="{CFA9A1A3-6AA2-4648-AEDF-907E7DCB8EA1}"/>
                </a:ext>
              </a:extLst>
            </p:cNvPr>
            <p:cNvCxnSpPr>
              <a:stCxn id="34" idx="2"/>
              <a:endCxn id="33" idx="2"/>
            </p:cNvCxnSpPr>
            <p:nvPr/>
          </p:nvCxnSpPr>
          <p:spPr>
            <a:xfrm flipV="1">
              <a:off x="7861543" y="3471411"/>
              <a:ext cx="425207" cy="71889"/>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Conector recto 39">
              <a:extLst>
                <a:ext uri="{FF2B5EF4-FFF2-40B4-BE49-F238E27FC236}">
                  <a16:creationId xmlns:a16="http://schemas.microsoft.com/office/drawing/2014/main" id="{D25C65B0-1F52-4609-B95F-D4A1664362C5}"/>
                </a:ext>
              </a:extLst>
            </p:cNvPr>
            <p:cNvCxnSpPr>
              <a:stCxn id="33" idx="7"/>
            </p:cNvCxnSpPr>
            <p:nvPr/>
          </p:nvCxnSpPr>
          <p:spPr>
            <a:xfrm flipV="1">
              <a:off x="8384311" y="2716833"/>
              <a:ext cx="518312" cy="710799"/>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Conector recto 46">
              <a:extLst>
                <a:ext uri="{FF2B5EF4-FFF2-40B4-BE49-F238E27FC236}">
                  <a16:creationId xmlns:a16="http://schemas.microsoft.com/office/drawing/2014/main" id="{5C55F686-0FC1-424D-9DFD-AE26AB7326E3}"/>
                </a:ext>
              </a:extLst>
            </p:cNvPr>
            <p:cNvCxnSpPr>
              <a:endCxn id="42" idx="1"/>
            </p:cNvCxnSpPr>
            <p:nvPr/>
          </p:nvCxnSpPr>
          <p:spPr>
            <a:xfrm>
              <a:off x="8903944" y="2725968"/>
              <a:ext cx="221870" cy="153102"/>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Conector recto 50">
              <a:extLst>
                <a:ext uri="{FF2B5EF4-FFF2-40B4-BE49-F238E27FC236}">
                  <a16:creationId xmlns:a16="http://schemas.microsoft.com/office/drawing/2014/main" id="{70946746-20EE-4F18-8FCB-4915B70BA26F}"/>
                </a:ext>
              </a:extLst>
            </p:cNvPr>
            <p:cNvCxnSpPr>
              <a:endCxn id="36" idx="7"/>
            </p:cNvCxnSpPr>
            <p:nvPr/>
          </p:nvCxnSpPr>
          <p:spPr>
            <a:xfrm flipV="1">
              <a:off x="8875369" y="2437484"/>
              <a:ext cx="183286" cy="259207"/>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Conector recto 52">
              <a:extLst>
                <a:ext uri="{FF2B5EF4-FFF2-40B4-BE49-F238E27FC236}">
                  <a16:creationId xmlns:a16="http://schemas.microsoft.com/office/drawing/2014/main" id="{57218AF5-0E47-4837-9B11-3A8C71D0BF01}"/>
                </a:ext>
              </a:extLst>
            </p:cNvPr>
            <p:cNvCxnSpPr>
              <a:endCxn id="37" idx="7"/>
            </p:cNvCxnSpPr>
            <p:nvPr/>
          </p:nvCxnSpPr>
          <p:spPr>
            <a:xfrm flipV="1">
              <a:off x="8995587" y="2289845"/>
              <a:ext cx="211049" cy="210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Conector recto 54">
              <a:extLst>
                <a:ext uri="{FF2B5EF4-FFF2-40B4-BE49-F238E27FC236}">
                  <a16:creationId xmlns:a16="http://schemas.microsoft.com/office/drawing/2014/main" id="{ED8E2290-BE65-4676-B102-033CBBC6557F}"/>
                </a:ext>
              </a:extLst>
            </p:cNvPr>
            <p:cNvCxnSpPr>
              <a:endCxn id="15" idx="2"/>
            </p:cNvCxnSpPr>
            <p:nvPr/>
          </p:nvCxnSpPr>
          <p:spPr>
            <a:xfrm>
              <a:off x="9164938" y="2365564"/>
              <a:ext cx="329057" cy="29972"/>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Conector recto 56">
              <a:extLst>
                <a:ext uri="{FF2B5EF4-FFF2-40B4-BE49-F238E27FC236}">
                  <a16:creationId xmlns:a16="http://schemas.microsoft.com/office/drawing/2014/main" id="{87DCFCE0-5475-4574-BCF8-9A1DAD6864AD}"/>
                </a:ext>
              </a:extLst>
            </p:cNvPr>
            <p:cNvCxnSpPr>
              <a:endCxn id="15" idx="2"/>
            </p:cNvCxnSpPr>
            <p:nvPr/>
          </p:nvCxnSpPr>
          <p:spPr>
            <a:xfrm flipV="1">
              <a:off x="9008779" y="2395536"/>
              <a:ext cx="485216" cy="93853"/>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Conector recto 58">
              <a:extLst>
                <a:ext uri="{FF2B5EF4-FFF2-40B4-BE49-F238E27FC236}">
                  <a16:creationId xmlns:a16="http://schemas.microsoft.com/office/drawing/2014/main" id="{A893D73E-DB66-4830-81AE-A56E6128E538}"/>
                </a:ext>
              </a:extLst>
            </p:cNvPr>
            <p:cNvCxnSpPr>
              <a:endCxn id="15" idx="3"/>
            </p:cNvCxnSpPr>
            <p:nvPr/>
          </p:nvCxnSpPr>
          <p:spPr>
            <a:xfrm flipV="1">
              <a:off x="8941686" y="2439314"/>
              <a:ext cx="569048" cy="269007"/>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Conector recto 60">
              <a:extLst>
                <a:ext uri="{FF2B5EF4-FFF2-40B4-BE49-F238E27FC236}">
                  <a16:creationId xmlns:a16="http://schemas.microsoft.com/office/drawing/2014/main" id="{EA3E226E-1097-472E-8D4A-422B61801D24}"/>
                </a:ext>
              </a:extLst>
            </p:cNvPr>
            <p:cNvCxnSpPr>
              <a:stCxn id="15" idx="1"/>
              <a:endCxn id="40" idx="5"/>
            </p:cNvCxnSpPr>
            <p:nvPr/>
          </p:nvCxnSpPr>
          <p:spPr>
            <a:xfrm>
              <a:off x="9510734" y="2351757"/>
              <a:ext cx="103806" cy="294119"/>
            </a:xfrm>
            <a:prstGeom prst="line">
              <a:avLst/>
            </a:prstGeom>
          </p:spPr>
          <p:style>
            <a:lnRef idx="1">
              <a:schemeClr val="accent1"/>
            </a:lnRef>
            <a:fillRef idx="0">
              <a:schemeClr val="accent1"/>
            </a:fillRef>
            <a:effectRef idx="0">
              <a:schemeClr val="accent1"/>
            </a:effectRef>
            <a:fontRef idx="minor">
              <a:schemeClr val="tx1"/>
            </a:fontRef>
          </p:style>
        </p:cxnSp>
        <p:cxnSp>
          <p:nvCxnSpPr>
            <p:cNvPr id="70" name="Conector recto 63">
              <a:extLst>
                <a:ext uri="{FF2B5EF4-FFF2-40B4-BE49-F238E27FC236}">
                  <a16:creationId xmlns:a16="http://schemas.microsoft.com/office/drawing/2014/main" id="{89476FC8-136F-48C2-8A03-D9D7B8037B4B}"/>
                </a:ext>
              </a:extLst>
            </p:cNvPr>
            <p:cNvCxnSpPr>
              <a:endCxn id="41" idx="1"/>
            </p:cNvCxnSpPr>
            <p:nvPr/>
          </p:nvCxnSpPr>
          <p:spPr>
            <a:xfrm>
              <a:off x="9155791" y="2896909"/>
              <a:ext cx="484125" cy="430712"/>
            </a:xfrm>
            <a:prstGeom prst="line">
              <a:avLst/>
            </a:prstGeom>
          </p:spPr>
          <p:style>
            <a:lnRef idx="1">
              <a:schemeClr val="accent1"/>
            </a:lnRef>
            <a:fillRef idx="0">
              <a:schemeClr val="accent1"/>
            </a:fillRef>
            <a:effectRef idx="0">
              <a:schemeClr val="accent1"/>
            </a:effectRef>
            <a:fontRef idx="minor">
              <a:schemeClr val="tx1"/>
            </a:fontRef>
          </p:style>
        </p:cxnSp>
        <p:cxnSp>
          <p:nvCxnSpPr>
            <p:cNvPr id="71" name="Conector recto 65">
              <a:extLst>
                <a:ext uri="{FF2B5EF4-FFF2-40B4-BE49-F238E27FC236}">
                  <a16:creationId xmlns:a16="http://schemas.microsoft.com/office/drawing/2014/main" id="{D0A2E18C-161B-4807-99D9-5EC3E5277B2B}"/>
                </a:ext>
              </a:extLst>
            </p:cNvPr>
            <p:cNvCxnSpPr/>
            <p:nvPr/>
          </p:nvCxnSpPr>
          <p:spPr>
            <a:xfrm flipH="1">
              <a:off x="9676100" y="2972628"/>
              <a:ext cx="61377" cy="390966"/>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Conector recto 74">
              <a:extLst>
                <a:ext uri="{FF2B5EF4-FFF2-40B4-BE49-F238E27FC236}">
                  <a16:creationId xmlns:a16="http://schemas.microsoft.com/office/drawing/2014/main" id="{1CC18DA1-509B-4914-92A7-F93440369C47}"/>
                </a:ext>
              </a:extLst>
            </p:cNvPr>
            <p:cNvCxnSpPr>
              <a:stCxn id="53" idx="4"/>
            </p:cNvCxnSpPr>
            <p:nvPr/>
          </p:nvCxnSpPr>
          <p:spPr>
            <a:xfrm flipH="1">
              <a:off x="9702918" y="2812208"/>
              <a:ext cx="3345" cy="39969"/>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Conector recto 76">
              <a:extLst>
                <a:ext uri="{FF2B5EF4-FFF2-40B4-BE49-F238E27FC236}">
                  <a16:creationId xmlns:a16="http://schemas.microsoft.com/office/drawing/2014/main" id="{4F212A98-55EA-4369-989F-112709F78C18}"/>
                </a:ext>
              </a:extLst>
            </p:cNvPr>
            <p:cNvCxnSpPr>
              <a:stCxn id="55" idx="2"/>
            </p:cNvCxnSpPr>
            <p:nvPr/>
          </p:nvCxnSpPr>
          <p:spPr>
            <a:xfrm flipH="1">
              <a:off x="9653499" y="2840165"/>
              <a:ext cx="269189" cy="110581"/>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Conector recto 78">
              <a:extLst>
                <a:ext uri="{FF2B5EF4-FFF2-40B4-BE49-F238E27FC236}">
                  <a16:creationId xmlns:a16="http://schemas.microsoft.com/office/drawing/2014/main" id="{3DCD72C3-163E-4F83-A8FB-421D395BAAEA}"/>
                </a:ext>
              </a:extLst>
            </p:cNvPr>
            <p:cNvCxnSpPr>
              <a:stCxn id="54" idx="5"/>
              <a:endCxn id="55" idx="1"/>
            </p:cNvCxnSpPr>
            <p:nvPr/>
          </p:nvCxnSpPr>
          <p:spPr>
            <a:xfrm>
              <a:off x="9899857" y="2770474"/>
              <a:ext cx="39570" cy="25912"/>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Conector recto 84">
              <a:extLst>
                <a:ext uri="{FF2B5EF4-FFF2-40B4-BE49-F238E27FC236}">
                  <a16:creationId xmlns:a16="http://schemas.microsoft.com/office/drawing/2014/main" id="{2DA0E547-1548-4801-B1D4-7151A92B5D9E}"/>
                </a:ext>
              </a:extLst>
            </p:cNvPr>
            <p:cNvCxnSpPr>
              <a:stCxn id="54" idx="2"/>
            </p:cNvCxnSpPr>
            <p:nvPr/>
          </p:nvCxnSpPr>
          <p:spPr>
            <a:xfrm flipH="1">
              <a:off x="9687399" y="2726696"/>
              <a:ext cx="114897" cy="36827"/>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Conector recto 86">
              <a:extLst>
                <a:ext uri="{FF2B5EF4-FFF2-40B4-BE49-F238E27FC236}">
                  <a16:creationId xmlns:a16="http://schemas.microsoft.com/office/drawing/2014/main" id="{C0A13BCA-1236-4ED8-9DA0-7F77F5908B23}"/>
                </a:ext>
              </a:extLst>
            </p:cNvPr>
            <p:cNvCxnSpPr/>
            <p:nvPr/>
          </p:nvCxnSpPr>
          <p:spPr>
            <a:xfrm flipH="1">
              <a:off x="9888311" y="2349935"/>
              <a:ext cx="89159" cy="323157"/>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Conector recto 88">
              <a:extLst>
                <a:ext uri="{FF2B5EF4-FFF2-40B4-BE49-F238E27FC236}">
                  <a16:creationId xmlns:a16="http://schemas.microsoft.com/office/drawing/2014/main" id="{51CB8599-3ED9-42B3-B6B7-BEFF475F79C1}"/>
                </a:ext>
              </a:extLst>
            </p:cNvPr>
            <p:cNvCxnSpPr>
              <a:stCxn id="43" idx="3"/>
            </p:cNvCxnSpPr>
            <p:nvPr/>
          </p:nvCxnSpPr>
          <p:spPr>
            <a:xfrm flipH="1">
              <a:off x="9601723" y="2358352"/>
              <a:ext cx="334458" cy="260674"/>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Conector recto 90">
              <a:extLst>
                <a:ext uri="{FF2B5EF4-FFF2-40B4-BE49-F238E27FC236}">
                  <a16:creationId xmlns:a16="http://schemas.microsoft.com/office/drawing/2014/main" id="{8024CB11-1D3C-42CF-86F5-F01C8B480EA5}"/>
                </a:ext>
              </a:extLst>
            </p:cNvPr>
            <p:cNvCxnSpPr>
              <a:stCxn id="43" idx="2"/>
            </p:cNvCxnSpPr>
            <p:nvPr/>
          </p:nvCxnSpPr>
          <p:spPr>
            <a:xfrm flipH="1">
              <a:off x="9534522" y="2314574"/>
              <a:ext cx="384920" cy="86266"/>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Conector recto 92">
              <a:extLst>
                <a:ext uri="{FF2B5EF4-FFF2-40B4-BE49-F238E27FC236}">
                  <a16:creationId xmlns:a16="http://schemas.microsoft.com/office/drawing/2014/main" id="{0C7953DF-FFAF-4C53-8A91-C919BCF07601}"/>
                </a:ext>
              </a:extLst>
            </p:cNvPr>
            <p:cNvCxnSpPr>
              <a:stCxn id="17" idx="3"/>
            </p:cNvCxnSpPr>
            <p:nvPr/>
          </p:nvCxnSpPr>
          <p:spPr>
            <a:xfrm flipH="1">
              <a:off x="9959969" y="2003281"/>
              <a:ext cx="295179" cy="316765"/>
            </a:xfrm>
            <a:prstGeom prst="line">
              <a:avLst/>
            </a:prstGeom>
          </p:spPr>
          <p:style>
            <a:lnRef idx="1">
              <a:schemeClr val="accent1"/>
            </a:lnRef>
            <a:fillRef idx="0">
              <a:schemeClr val="accent1"/>
            </a:fillRef>
            <a:effectRef idx="0">
              <a:schemeClr val="accent1"/>
            </a:effectRef>
            <a:fontRef idx="minor">
              <a:schemeClr val="tx1"/>
            </a:fontRef>
          </p:style>
        </p:cxnSp>
        <p:cxnSp>
          <p:nvCxnSpPr>
            <p:cNvPr id="80" name="Conector recto 95">
              <a:extLst>
                <a:ext uri="{FF2B5EF4-FFF2-40B4-BE49-F238E27FC236}">
                  <a16:creationId xmlns:a16="http://schemas.microsoft.com/office/drawing/2014/main" id="{BB6BF24D-E5D5-4F87-AC24-8D81B7947B01}"/>
                </a:ext>
              </a:extLst>
            </p:cNvPr>
            <p:cNvCxnSpPr>
              <a:endCxn id="16" idx="0"/>
            </p:cNvCxnSpPr>
            <p:nvPr/>
          </p:nvCxnSpPr>
          <p:spPr>
            <a:xfrm flipH="1">
              <a:off x="10183468" y="1536559"/>
              <a:ext cx="18332" cy="166827"/>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Conector recto 97">
              <a:extLst>
                <a:ext uri="{FF2B5EF4-FFF2-40B4-BE49-F238E27FC236}">
                  <a16:creationId xmlns:a16="http://schemas.microsoft.com/office/drawing/2014/main" id="{A04D1A2D-95F5-48A9-93AA-C8094552F1CA}"/>
                </a:ext>
              </a:extLst>
            </p:cNvPr>
            <p:cNvCxnSpPr>
              <a:stCxn id="16" idx="5"/>
            </p:cNvCxnSpPr>
            <p:nvPr/>
          </p:nvCxnSpPr>
          <p:spPr>
            <a:xfrm>
              <a:off x="10223879" y="1809077"/>
              <a:ext cx="62514" cy="152999"/>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Conector recto 99">
              <a:extLst>
                <a:ext uri="{FF2B5EF4-FFF2-40B4-BE49-F238E27FC236}">
                  <a16:creationId xmlns:a16="http://schemas.microsoft.com/office/drawing/2014/main" id="{B9D435B8-4BEB-406C-A899-673FE1A30066}"/>
                </a:ext>
              </a:extLst>
            </p:cNvPr>
            <p:cNvCxnSpPr/>
            <p:nvPr/>
          </p:nvCxnSpPr>
          <p:spPr>
            <a:xfrm>
              <a:off x="10123576" y="1366658"/>
              <a:ext cx="62514" cy="152999"/>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Conector recto 100">
              <a:extLst>
                <a:ext uri="{FF2B5EF4-FFF2-40B4-BE49-F238E27FC236}">
                  <a16:creationId xmlns:a16="http://schemas.microsoft.com/office/drawing/2014/main" id="{E184C5DA-4252-43CB-AB1C-A90B222BE6A3}"/>
                </a:ext>
              </a:extLst>
            </p:cNvPr>
            <p:cNvCxnSpPr>
              <a:endCxn id="52" idx="7"/>
            </p:cNvCxnSpPr>
            <p:nvPr/>
          </p:nvCxnSpPr>
          <p:spPr>
            <a:xfrm flipH="1">
              <a:off x="9464555" y="1575697"/>
              <a:ext cx="348591" cy="401939"/>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Conector recto 102">
              <a:extLst>
                <a:ext uri="{FF2B5EF4-FFF2-40B4-BE49-F238E27FC236}">
                  <a16:creationId xmlns:a16="http://schemas.microsoft.com/office/drawing/2014/main" id="{B1529CCD-3740-48BB-80DA-0D3107DF108E}"/>
                </a:ext>
              </a:extLst>
            </p:cNvPr>
            <p:cNvCxnSpPr>
              <a:stCxn id="52" idx="4"/>
              <a:endCxn id="15" idx="1"/>
            </p:cNvCxnSpPr>
            <p:nvPr/>
          </p:nvCxnSpPr>
          <p:spPr>
            <a:xfrm>
              <a:off x="9424144" y="2083327"/>
              <a:ext cx="86590" cy="268430"/>
            </a:xfrm>
            <a:prstGeom prst="line">
              <a:avLst/>
            </a:prstGeom>
          </p:spPr>
          <p:style>
            <a:lnRef idx="1">
              <a:schemeClr val="accent1"/>
            </a:lnRef>
            <a:fillRef idx="0">
              <a:schemeClr val="accent1"/>
            </a:fillRef>
            <a:effectRef idx="0">
              <a:schemeClr val="accent1"/>
            </a:effectRef>
            <a:fontRef idx="minor">
              <a:schemeClr val="tx1"/>
            </a:fontRef>
          </p:style>
        </p:cxnSp>
        <p:sp>
          <p:nvSpPr>
            <p:cNvPr id="85" name="Elipse 105">
              <a:extLst>
                <a:ext uri="{FF2B5EF4-FFF2-40B4-BE49-F238E27FC236}">
                  <a16:creationId xmlns:a16="http://schemas.microsoft.com/office/drawing/2014/main" id="{0A527302-1804-4F55-B301-0EFE06F94CBB}"/>
                </a:ext>
              </a:extLst>
            </p:cNvPr>
            <p:cNvSpPr/>
            <p:nvPr/>
          </p:nvSpPr>
          <p:spPr>
            <a:xfrm>
              <a:off x="9382633" y="1490544"/>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86" name="Conector recto 106">
              <a:extLst>
                <a:ext uri="{FF2B5EF4-FFF2-40B4-BE49-F238E27FC236}">
                  <a16:creationId xmlns:a16="http://schemas.microsoft.com/office/drawing/2014/main" id="{E832AA9A-04FC-4F9B-80B8-5E3AF043DD21}"/>
                </a:ext>
              </a:extLst>
            </p:cNvPr>
            <p:cNvCxnSpPr>
              <a:stCxn id="81" idx="3"/>
            </p:cNvCxnSpPr>
            <p:nvPr/>
          </p:nvCxnSpPr>
          <p:spPr>
            <a:xfrm flipH="1">
              <a:off x="8744215" y="1596235"/>
              <a:ext cx="655157" cy="709786"/>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Conector recto 108">
              <a:extLst>
                <a:ext uri="{FF2B5EF4-FFF2-40B4-BE49-F238E27FC236}">
                  <a16:creationId xmlns:a16="http://schemas.microsoft.com/office/drawing/2014/main" id="{8C88A337-92E4-4C88-AA9C-F58E24091A92}"/>
                </a:ext>
              </a:extLst>
            </p:cNvPr>
            <p:cNvCxnSpPr>
              <a:stCxn id="81" idx="4"/>
              <a:endCxn id="35" idx="0"/>
            </p:cNvCxnSpPr>
            <p:nvPr/>
          </p:nvCxnSpPr>
          <p:spPr>
            <a:xfrm flipH="1">
              <a:off x="8903944" y="1614369"/>
              <a:ext cx="535839" cy="1035164"/>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Conector recto 111">
              <a:extLst>
                <a:ext uri="{FF2B5EF4-FFF2-40B4-BE49-F238E27FC236}">
                  <a16:creationId xmlns:a16="http://schemas.microsoft.com/office/drawing/2014/main" id="{A2D21D27-7095-4412-A28D-6F6CA7A8F951}"/>
                </a:ext>
              </a:extLst>
            </p:cNvPr>
            <p:cNvCxnSpPr>
              <a:stCxn id="81" idx="4"/>
            </p:cNvCxnSpPr>
            <p:nvPr/>
          </p:nvCxnSpPr>
          <p:spPr>
            <a:xfrm flipH="1">
              <a:off x="9026009" y="1614369"/>
              <a:ext cx="413774" cy="851363"/>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Conector recto 113">
              <a:extLst>
                <a:ext uri="{FF2B5EF4-FFF2-40B4-BE49-F238E27FC236}">
                  <a16:creationId xmlns:a16="http://schemas.microsoft.com/office/drawing/2014/main" id="{3B262FE4-E395-44C5-9BEF-A8A784134610}"/>
                </a:ext>
              </a:extLst>
            </p:cNvPr>
            <p:cNvCxnSpPr>
              <a:endCxn id="81" idx="4"/>
            </p:cNvCxnSpPr>
            <p:nvPr/>
          </p:nvCxnSpPr>
          <p:spPr>
            <a:xfrm flipH="1" flipV="1">
              <a:off x="9439783" y="1614369"/>
              <a:ext cx="107656" cy="779012"/>
            </a:xfrm>
            <a:prstGeom prst="line">
              <a:avLst/>
            </a:prstGeom>
          </p:spPr>
          <p:style>
            <a:lnRef idx="1">
              <a:schemeClr val="accent1"/>
            </a:lnRef>
            <a:fillRef idx="0">
              <a:schemeClr val="accent1"/>
            </a:fillRef>
            <a:effectRef idx="0">
              <a:schemeClr val="accent1"/>
            </a:effectRef>
            <a:fontRef idx="minor">
              <a:schemeClr val="tx1"/>
            </a:fontRef>
          </p:style>
        </p:cxnSp>
        <p:cxnSp>
          <p:nvCxnSpPr>
            <p:cNvPr id="90" name="Conector recto 116">
              <a:extLst>
                <a:ext uri="{FF2B5EF4-FFF2-40B4-BE49-F238E27FC236}">
                  <a16:creationId xmlns:a16="http://schemas.microsoft.com/office/drawing/2014/main" id="{0783BE24-041E-4478-BCE1-180771D37DC8}"/>
                </a:ext>
              </a:extLst>
            </p:cNvPr>
            <p:cNvCxnSpPr>
              <a:stCxn id="81" idx="4"/>
            </p:cNvCxnSpPr>
            <p:nvPr/>
          </p:nvCxnSpPr>
          <p:spPr>
            <a:xfrm flipH="1">
              <a:off x="9406079" y="1614369"/>
              <a:ext cx="33704" cy="394634"/>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Conector recto 121">
              <a:extLst>
                <a:ext uri="{FF2B5EF4-FFF2-40B4-BE49-F238E27FC236}">
                  <a16:creationId xmlns:a16="http://schemas.microsoft.com/office/drawing/2014/main" id="{189E08E8-F9F1-47A0-BA22-95D29BB8A465}"/>
                </a:ext>
              </a:extLst>
            </p:cNvPr>
            <p:cNvCxnSpPr>
              <a:stCxn id="40" idx="5"/>
              <a:endCxn id="53" idx="1"/>
            </p:cNvCxnSpPr>
            <p:nvPr/>
          </p:nvCxnSpPr>
          <p:spPr>
            <a:xfrm>
              <a:off x="9614540" y="2645876"/>
              <a:ext cx="51312" cy="60641"/>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Conector recto 124">
              <a:extLst>
                <a:ext uri="{FF2B5EF4-FFF2-40B4-BE49-F238E27FC236}">
                  <a16:creationId xmlns:a16="http://schemas.microsoft.com/office/drawing/2014/main" id="{7CD41F51-7140-41C5-A724-50FCE766FF7E}"/>
                </a:ext>
              </a:extLst>
            </p:cNvPr>
            <p:cNvCxnSpPr>
              <a:stCxn id="39" idx="5"/>
              <a:endCxn id="38" idx="1"/>
            </p:cNvCxnSpPr>
            <p:nvPr/>
          </p:nvCxnSpPr>
          <p:spPr>
            <a:xfrm>
              <a:off x="8441461" y="2186902"/>
              <a:ext cx="258906" cy="102943"/>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Conector recto 127">
              <a:extLst>
                <a:ext uri="{FF2B5EF4-FFF2-40B4-BE49-F238E27FC236}">
                  <a16:creationId xmlns:a16="http://schemas.microsoft.com/office/drawing/2014/main" id="{F724D627-8C0C-4B9A-B0F6-CF154EC25C01}"/>
                </a:ext>
              </a:extLst>
            </p:cNvPr>
            <p:cNvCxnSpPr>
              <a:stCxn id="55" idx="6"/>
              <a:endCxn id="56" idx="1"/>
            </p:cNvCxnSpPr>
            <p:nvPr/>
          </p:nvCxnSpPr>
          <p:spPr>
            <a:xfrm>
              <a:off x="10036988" y="2840165"/>
              <a:ext cx="514642" cy="186857"/>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Conector recto 129">
              <a:extLst>
                <a:ext uri="{FF2B5EF4-FFF2-40B4-BE49-F238E27FC236}">
                  <a16:creationId xmlns:a16="http://schemas.microsoft.com/office/drawing/2014/main" id="{4004537B-0B99-4809-AA67-7BDEFA452076}"/>
                </a:ext>
              </a:extLst>
            </p:cNvPr>
            <p:cNvCxnSpPr>
              <a:stCxn id="58" idx="3"/>
              <a:endCxn id="56" idx="3"/>
            </p:cNvCxnSpPr>
            <p:nvPr/>
          </p:nvCxnSpPr>
          <p:spPr>
            <a:xfrm flipV="1">
              <a:off x="10437330" y="3114579"/>
              <a:ext cx="114300" cy="194204"/>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Conector recto 134">
              <a:extLst>
                <a:ext uri="{FF2B5EF4-FFF2-40B4-BE49-F238E27FC236}">
                  <a16:creationId xmlns:a16="http://schemas.microsoft.com/office/drawing/2014/main" id="{D17A1EDE-D3B4-4A11-96BD-14B1296FC202}"/>
                </a:ext>
              </a:extLst>
            </p:cNvPr>
            <p:cNvCxnSpPr>
              <a:stCxn id="59" idx="0"/>
            </p:cNvCxnSpPr>
            <p:nvPr/>
          </p:nvCxnSpPr>
          <p:spPr>
            <a:xfrm flipV="1">
              <a:off x="10420591" y="3299238"/>
              <a:ext cx="55080" cy="3144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Conector recto 141">
              <a:extLst>
                <a:ext uri="{FF2B5EF4-FFF2-40B4-BE49-F238E27FC236}">
                  <a16:creationId xmlns:a16="http://schemas.microsoft.com/office/drawing/2014/main" id="{4F875816-E851-4884-92B6-AFDD09C7D968}"/>
                </a:ext>
              </a:extLst>
            </p:cNvPr>
            <p:cNvCxnSpPr>
              <a:endCxn id="37" idx="2"/>
            </p:cNvCxnSpPr>
            <p:nvPr/>
          </p:nvCxnSpPr>
          <p:spPr>
            <a:xfrm>
              <a:off x="8755192" y="2330591"/>
              <a:ext cx="353883" cy="3033"/>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Conector recto 143">
              <a:extLst>
                <a:ext uri="{FF2B5EF4-FFF2-40B4-BE49-F238E27FC236}">
                  <a16:creationId xmlns:a16="http://schemas.microsoft.com/office/drawing/2014/main" id="{328B4D0B-9331-44C5-B22E-1FE01B3CA16A}"/>
                </a:ext>
              </a:extLst>
            </p:cNvPr>
            <p:cNvCxnSpPr>
              <a:endCxn id="36" idx="5"/>
            </p:cNvCxnSpPr>
            <p:nvPr/>
          </p:nvCxnSpPr>
          <p:spPr>
            <a:xfrm>
              <a:off x="8786478" y="2333623"/>
              <a:ext cx="272177" cy="191418"/>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Conector recto 146">
              <a:extLst>
                <a:ext uri="{FF2B5EF4-FFF2-40B4-BE49-F238E27FC236}">
                  <a16:creationId xmlns:a16="http://schemas.microsoft.com/office/drawing/2014/main" id="{B55DB772-CCDB-4DA8-86C3-B548FEE5186A}"/>
                </a:ext>
              </a:extLst>
            </p:cNvPr>
            <p:cNvCxnSpPr>
              <a:endCxn id="15" idx="3"/>
            </p:cNvCxnSpPr>
            <p:nvPr/>
          </p:nvCxnSpPr>
          <p:spPr>
            <a:xfrm flipV="1">
              <a:off x="9138514" y="2439314"/>
              <a:ext cx="372220" cy="520963"/>
            </a:xfrm>
            <a:prstGeom prst="line">
              <a:avLst/>
            </a:prstGeom>
          </p:spPr>
          <p:style>
            <a:lnRef idx="1">
              <a:schemeClr val="accent1"/>
            </a:lnRef>
            <a:fillRef idx="0">
              <a:schemeClr val="accent1"/>
            </a:fillRef>
            <a:effectRef idx="0">
              <a:schemeClr val="accent1"/>
            </a:effectRef>
            <a:fontRef idx="minor">
              <a:schemeClr val="tx1"/>
            </a:fontRef>
          </p:style>
        </p:cxnSp>
        <p:cxnSp>
          <p:nvCxnSpPr>
            <p:cNvPr id="99" name="Conector recto 1046">
              <a:extLst>
                <a:ext uri="{FF2B5EF4-FFF2-40B4-BE49-F238E27FC236}">
                  <a16:creationId xmlns:a16="http://schemas.microsoft.com/office/drawing/2014/main" id="{E203790D-6281-40D4-A3B4-72A66CD3CD6C}"/>
                </a:ext>
              </a:extLst>
            </p:cNvPr>
            <p:cNvCxnSpPr>
              <a:stCxn id="53" idx="1"/>
              <a:endCxn id="15" idx="5"/>
            </p:cNvCxnSpPr>
            <p:nvPr/>
          </p:nvCxnSpPr>
          <p:spPr>
            <a:xfrm flipH="1" flipV="1">
              <a:off x="9591556" y="2439314"/>
              <a:ext cx="74296" cy="26720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0" name="Conector recto 168">
              <a:extLst>
                <a:ext uri="{FF2B5EF4-FFF2-40B4-BE49-F238E27FC236}">
                  <a16:creationId xmlns:a16="http://schemas.microsoft.com/office/drawing/2014/main" id="{9E58C248-B1A8-4933-A9F3-0B86AA59BE7C}"/>
                </a:ext>
              </a:extLst>
            </p:cNvPr>
            <p:cNvCxnSpPr>
              <a:stCxn id="55" idx="2"/>
            </p:cNvCxnSpPr>
            <p:nvPr/>
          </p:nvCxnSpPr>
          <p:spPr>
            <a:xfrm flipH="1" flipV="1">
              <a:off x="9738835" y="2782737"/>
              <a:ext cx="183853" cy="57428"/>
            </a:xfrm>
            <a:prstGeom prst="line">
              <a:avLst/>
            </a:prstGeom>
          </p:spPr>
          <p:style>
            <a:lnRef idx="1">
              <a:schemeClr val="accent1"/>
            </a:lnRef>
            <a:fillRef idx="0">
              <a:schemeClr val="accent1"/>
            </a:fillRef>
            <a:effectRef idx="0">
              <a:schemeClr val="accent1"/>
            </a:effectRef>
            <a:fontRef idx="minor">
              <a:schemeClr val="tx1"/>
            </a:fontRef>
          </p:style>
        </p:cxnSp>
        <p:sp>
          <p:nvSpPr>
            <p:cNvPr id="101" name="Elipse 175">
              <a:extLst>
                <a:ext uri="{FF2B5EF4-FFF2-40B4-BE49-F238E27FC236}">
                  <a16:creationId xmlns:a16="http://schemas.microsoft.com/office/drawing/2014/main" id="{CB8B2CCE-FB63-45A6-8F35-507BDF311EAD}"/>
                </a:ext>
              </a:extLst>
            </p:cNvPr>
            <p:cNvSpPr/>
            <p:nvPr/>
          </p:nvSpPr>
          <p:spPr>
            <a:xfrm>
              <a:off x="9646508" y="2864499"/>
              <a:ext cx="114300" cy="1238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02" name="Conector recto 77">
              <a:extLst>
                <a:ext uri="{FF2B5EF4-FFF2-40B4-BE49-F238E27FC236}">
                  <a16:creationId xmlns:a16="http://schemas.microsoft.com/office/drawing/2014/main" id="{92449D1C-1C99-4B10-9394-A74CDCA82F9E}"/>
                </a:ext>
              </a:extLst>
            </p:cNvPr>
            <p:cNvCxnSpPr>
              <a:endCxn id="59" idx="2"/>
            </p:cNvCxnSpPr>
            <p:nvPr/>
          </p:nvCxnSpPr>
          <p:spPr>
            <a:xfrm>
              <a:off x="9689376" y="3371399"/>
              <a:ext cx="674065" cy="304239"/>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10050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
            <a:extLst>
              <a:ext uri="{FF2B5EF4-FFF2-40B4-BE49-F238E27FC236}">
                <a16:creationId xmlns:a16="http://schemas.microsoft.com/office/drawing/2014/main" id="{055EFB25-B0CD-401F-B6CF-91FFE7495EBD}"/>
              </a:ext>
            </a:extLst>
          </p:cNvPr>
          <p:cNvSpPr txBox="1"/>
          <p:nvPr/>
        </p:nvSpPr>
        <p:spPr>
          <a:xfrm>
            <a:off x="213573" y="251810"/>
            <a:ext cx="9681989" cy="696198"/>
          </a:xfrm>
          <a:prstGeom prst="rect">
            <a:avLst/>
          </a:prstGeom>
        </p:spPr>
        <p:txBody>
          <a:bodyPr/>
          <a:lstStyle>
            <a:defPPr>
              <a:defRPr lang="en-US"/>
            </a:defPPr>
            <a:lvl1pPr marL="0" indent="0" eaLnBrk="0" hangingPunct="0">
              <a:spcBef>
                <a:spcPct val="20000"/>
              </a:spcBef>
              <a:buNone/>
              <a:defRPr sz="3200" b="1">
                <a:solidFill>
                  <a:schemeClr val="bg1"/>
                </a:solidFill>
                <a:latin typeface="Gill Sans MT" panose="020B0502020104020203" pitchFamily="34" charset="0"/>
              </a:defRPr>
            </a:lvl1pPr>
            <a:lvl2pPr marL="742950" indent="-285750" eaLnBrk="0" hangingPunct="0">
              <a:spcBef>
                <a:spcPct val="20000"/>
              </a:spcBef>
              <a:buChar char="–"/>
              <a:defRPr sz="2800">
                <a:solidFill>
                  <a:schemeClr val="bg2"/>
                </a:solidFill>
                <a:latin typeface="+mn-lt"/>
              </a:defRPr>
            </a:lvl2pPr>
            <a:lvl3pPr marL="1143000" indent="-228600" eaLnBrk="0" hangingPunct="0">
              <a:spcBef>
                <a:spcPct val="20000"/>
              </a:spcBef>
              <a:buChar char="•"/>
              <a:defRPr sz="2400">
                <a:solidFill>
                  <a:schemeClr val="bg2"/>
                </a:solidFill>
                <a:latin typeface="+mn-lt"/>
              </a:defRPr>
            </a:lvl3pPr>
            <a:lvl4pPr marL="1600200" indent="-228600" eaLnBrk="0" hangingPunct="0">
              <a:spcBef>
                <a:spcPct val="20000"/>
              </a:spcBef>
              <a:buChar char="–"/>
              <a:defRPr sz="2000">
                <a:solidFill>
                  <a:schemeClr val="bg2"/>
                </a:solidFill>
                <a:latin typeface="+mn-lt"/>
              </a:defRPr>
            </a:lvl4pPr>
            <a:lvl5pPr marL="2057400" indent="-228600" eaLnBrk="0" hangingPunct="0">
              <a:spcBef>
                <a:spcPct val="20000"/>
              </a:spcBef>
              <a:buChar char="»"/>
              <a:defRPr sz="2000">
                <a:solidFill>
                  <a:schemeClr val="bg2"/>
                </a:solidFill>
                <a:latin typeface="+mn-lt"/>
              </a:defRPr>
            </a:lvl5pPr>
            <a:lvl6pPr marL="2514600" indent="-228600" fontAlgn="base">
              <a:spcBef>
                <a:spcPct val="20000"/>
              </a:spcBef>
              <a:spcAft>
                <a:spcPct val="0"/>
              </a:spcAft>
              <a:buChar char="»"/>
              <a:defRPr sz="2000">
                <a:solidFill>
                  <a:schemeClr val="bg2"/>
                </a:solidFill>
                <a:latin typeface="+mn-lt"/>
              </a:defRPr>
            </a:lvl6pPr>
            <a:lvl7pPr marL="2971800" indent="-228600" fontAlgn="base">
              <a:spcBef>
                <a:spcPct val="20000"/>
              </a:spcBef>
              <a:spcAft>
                <a:spcPct val="0"/>
              </a:spcAft>
              <a:buChar char="»"/>
              <a:defRPr sz="2000">
                <a:solidFill>
                  <a:schemeClr val="bg2"/>
                </a:solidFill>
                <a:latin typeface="+mn-lt"/>
              </a:defRPr>
            </a:lvl7pPr>
            <a:lvl8pPr marL="3429000" indent="-228600" fontAlgn="base">
              <a:spcBef>
                <a:spcPct val="20000"/>
              </a:spcBef>
              <a:spcAft>
                <a:spcPct val="0"/>
              </a:spcAft>
              <a:buChar char="»"/>
              <a:defRPr sz="2000">
                <a:solidFill>
                  <a:schemeClr val="bg2"/>
                </a:solidFill>
                <a:latin typeface="+mn-lt"/>
              </a:defRPr>
            </a:lvl8pPr>
            <a:lvl9pPr marL="3886200" indent="-228600" fontAlgn="base">
              <a:spcBef>
                <a:spcPct val="20000"/>
              </a:spcBef>
              <a:spcAft>
                <a:spcPct val="0"/>
              </a:spcAft>
              <a:buChar char="»"/>
              <a:defRPr sz="2000">
                <a:solidFill>
                  <a:schemeClr val="bg2"/>
                </a:solidFill>
                <a:latin typeface="+mn-lt"/>
              </a:defRPr>
            </a:lvl9pPr>
          </a:lstStyle>
          <a:p>
            <a:r>
              <a:rPr lang="en-US" sz="2800" i="1" dirty="0"/>
              <a:t>Gas For Climate study March 2019</a:t>
            </a:r>
            <a:r>
              <a:rPr lang="en-US" sz="2800" dirty="0"/>
              <a:t>: energy system can become fully renewable</a:t>
            </a:r>
          </a:p>
          <a:p>
            <a:endParaRPr lang="en-US" sz="2800" dirty="0"/>
          </a:p>
        </p:txBody>
      </p:sp>
      <p:sp>
        <p:nvSpPr>
          <p:cNvPr id="3" name="Rectangle: Rounded Corners 2">
            <a:extLst>
              <a:ext uri="{FF2B5EF4-FFF2-40B4-BE49-F238E27FC236}">
                <a16:creationId xmlns:a16="http://schemas.microsoft.com/office/drawing/2014/main" id="{4E4A3047-60BD-47F4-8780-FB29C9A0FF6C}"/>
              </a:ext>
            </a:extLst>
          </p:cNvPr>
          <p:cNvSpPr/>
          <p:nvPr/>
        </p:nvSpPr>
        <p:spPr>
          <a:xfrm>
            <a:off x="111973" y="2264644"/>
            <a:ext cx="6583467" cy="3814793"/>
          </a:xfrm>
          <a:prstGeom prst="roundRect">
            <a:avLst/>
          </a:prstGeom>
          <a:solidFill>
            <a:srgbClr val="CADDE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GB" sz="2000" b="1" dirty="0">
                <a:solidFill>
                  <a:schemeClr val="tx1"/>
                </a:solidFill>
              </a:rPr>
              <a:t>Battery seasonal storage is unrealistic </a:t>
            </a:r>
            <a:r>
              <a:rPr lang="en-GB" sz="2000" dirty="0">
                <a:solidFill>
                  <a:schemeClr val="tx1"/>
                </a:solidFill>
              </a:rPr>
              <a:t>even at strongly reduced costs.</a:t>
            </a:r>
          </a:p>
          <a:p>
            <a:pPr marL="342900" indent="-342900">
              <a:buFont typeface="Arial" panose="020B0604020202020204" pitchFamily="34" charset="0"/>
              <a:buChar char="•"/>
            </a:pPr>
            <a:r>
              <a:rPr lang="en-GB" sz="2000" dirty="0">
                <a:solidFill>
                  <a:schemeClr val="tx1"/>
                </a:solidFill>
              </a:rPr>
              <a:t>Full decarbonisation of high temp industrial heat </a:t>
            </a:r>
            <a:r>
              <a:rPr lang="en-GB" sz="2000" b="1" dirty="0">
                <a:solidFill>
                  <a:schemeClr val="tx1"/>
                </a:solidFill>
              </a:rPr>
              <a:t>requires gas</a:t>
            </a:r>
            <a:r>
              <a:rPr lang="en-GB" sz="2000" dirty="0">
                <a:solidFill>
                  <a:schemeClr val="tx1"/>
                </a:solidFill>
              </a:rPr>
              <a:t>. </a:t>
            </a:r>
          </a:p>
          <a:p>
            <a:pPr marL="342900" indent="-342900">
              <a:buFont typeface="Arial" panose="020B0604020202020204" pitchFamily="34" charset="0"/>
              <a:buChar char="•"/>
            </a:pPr>
            <a:r>
              <a:rPr lang="en-GB" sz="2000" dirty="0">
                <a:solidFill>
                  <a:schemeClr val="tx1"/>
                </a:solidFill>
              </a:rPr>
              <a:t>Possible to </a:t>
            </a:r>
            <a:r>
              <a:rPr lang="en-GB" sz="2000" b="1" dirty="0">
                <a:solidFill>
                  <a:schemeClr val="tx1"/>
                </a:solidFill>
              </a:rPr>
              <a:t>sustainably scale-up renewable gas </a:t>
            </a:r>
            <a:r>
              <a:rPr lang="en-GB" sz="2000" dirty="0">
                <a:solidFill>
                  <a:schemeClr val="tx1"/>
                </a:solidFill>
              </a:rPr>
              <a:t>at strongly reduced production costs.</a:t>
            </a:r>
          </a:p>
          <a:p>
            <a:pPr marL="342900" indent="-342900">
              <a:buFont typeface="Arial" panose="020B0604020202020204" pitchFamily="34" charset="0"/>
              <a:buChar char="•"/>
            </a:pPr>
            <a:r>
              <a:rPr lang="en-GB" sz="2000" dirty="0">
                <a:solidFill>
                  <a:schemeClr val="tx1"/>
                </a:solidFill>
              </a:rPr>
              <a:t>Blue hydrogen from natural gas with </a:t>
            </a:r>
            <a:r>
              <a:rPr lang="en-GB" sz="2000" b="1" dirty="0">
                <a:solidFill>
                  <a:schemeClr val="tx1"/>
                </a:solidFill>
              </a:rPr>
              <a:t>CCSU</a:t>
            </a:r>
            <a:r>
              <a:rPr lang="en-GB" sz="2000" dirty="0">
                <a:solidFill>
                  <a:schemeClr val="tx1"/>
                </a:solidFill>
              </a:rPr>
              <a:t> can be a scalable and </a:t>
            </a:r>
            <a:r>
              <a:rPr lang="en-GB" sz="2000" b="1" dirty="0">
                <a:solidFill>
                  <a:schemeClr val="tx1"/>
                </a:solidFill>
              </a:rPr>
              <a:t>cost-effective option</a:t>
            </a:r>
            <a:r>
              <a:rPr lang="en-GB" sz="2000" dirty="0">
                <a:solidFill>
                  <a:schemeClr val="tx1"/>
                </a:solidFill>
              </a:rPr>
              <a:t>.  </a:t>
            </a:r>
          </a:p>
          <a:p>
            <a:pPr marL="342900" indent="-342900">
              <a:buFont typeface="Arial" panose="020B0604020202020204" pitchFamily="34" charset="0"/>
              <a:buChar char="•"/>
            </a:pPr>
            <a:r>
              <a:rPr lang="en-US" sz="2000" dirty="0">
                <a:solidFill>
                  <a:schemeClr val="tx1"/>
                </a:solidFill>
              </a:rPr>
              <a:t>Potential for renewable hydrogen and biomethane to meet </a:t>
            </a:r>
            <a:r>
              <a:rPr lang="en-US" sz="2000" b="1" dirty="0">
                <a:solidFill>
                  <a:schemeClr val="tx1"/>
                </a:solidFill>
              </a:rPr>
              <a:t>80% demand </a:t>
            </a:r>
            <a:r>
              <a:rPr lang="en-US" sz="2000" dirty="0">
                <a:solidFill>
                  <a:schemeClr val="tx1"/>
                </a:solidFill>
              </a:rPr>
              <a:t>(270 </a:t>
            </a:r>
            <a:r>
              <a:rPr lang="en-US" sz="2000" dirty="0" err="1">
                <a:solidFill>
                  <a:schemeClr val="tx1"/>
                </a:solidFill>
              </a:rPr>
              <a:t>bcm</a:t>
            </a:r>
            <a:r>
              <a:rPr lang="en-US" sz="2000" dirty="0">
                <a:solidFill>
                  <a:schemeClr val="tx1"/>
                </a:solidFill>
              </a:rPr>
              <a:t>).</a:t>
            </a:r>
            <a:endParaRPr lang="en-GB" sz="2000" dirty="0">
              <a:solidFill>
                <a:schemeClr val="tx1"/>
              </a:solidFill>
            </a:endParaRPr>
          </a:p>
          <a:p>
            <a:endParaRPr lang="en-GB" sz="2000" dirty="0">
              <a:solidFill>
                <a:schemeClr val="tx1"/>
              </a:solidFill>
            </a:endParaRPr>
          </a:p>
        </p:txBody>
      </p:sp>
      <p:pic>
        <p:nvPicPr>
          <p:cNvPr id="4" name="Picture 3">
            <a:extLst>
              <a:ext uri="{FF2B5EF4-FFF2-40B4-BE49-F238E27FC236}">
                <a16:creationId xmlns:a16="http://schemas.microsoft.com/office/drawing/2014/main" id="{42F977A9-1EFE-493C-9482-9230495EAE58}"/>
              </a:ext>
            </a:extLst>
          </p:cNvPr>
          <p:cNvPicPr>
            <a:picLocks noChangeAspect="1"/>
          </p:cNvPicPr>
          <p:nvPr/>
        </p:nvPicPr>
        <p:blipFill rotWithShape="1">
          <a:blip r:embed="rId3"/>
          <a:srcRect l="22418" t="18296" r="26794" b="13188"/>
          <a:stretch/>
        </p:blipFill>
        <p:spPr>
          <a:xfrm>
            <a:off x="6992168" y="2146360"/>
            <a:ext cx="5027112" cy="4051359"/>
          </a:xfrm>
          <a:prstGeom prst="rect">
            <a:avLst/>
          </a:prstGeom>
          <a:ln w="9525">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34795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2" name="Rectangle 361"/>
          <p:cNvSpPr/>
          <p:nvPr/>
        </p:nvSpPr>
        <p:spPr>
          <a:xfrm>
            <a:off x="0" y="36505"/>
            <a:ext cx="6167797" cy="67764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675"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86" name="object 3"/>
          <p:cNvSpPr/>
          <p:nvPr/>
        </p:nvSpPr>
        <p:spPr>
          <a:xfrm>
            <a:off x="5987036" y="25619"/>
            <a:ext cx="6225023" cy="6000750"/>
          </a:xfrm>
          <a:custGeom>
            <a:avLst/>
            <a:gdLst/>
            <a:ahLst/>
            <a:cxnLst/>
            <a:rect l="l" t="t" r="r" b="b"/>
            <a:pathLst>
              <a:path w="12179935" h="6858000">
                <a:moveTo>
                  <a:pt x="12179877" y="0"/>
                </a:moveTo>
                <a:lnTo>
                  <a:pt x="0" y="0"/>
                </a:lnTo>
                <a:lnTo>
                  <a:pt x="0" y="6857998"/>
                </a:lnTo>
                <a:lnTo>
                  <a:pt x="12179877" y="6857998"/>
                </a:lnTo>
                <a:lnTo>
                  <a:pt x="12179877" y="0"/>
                </a:lnTo>
                <a:close/>
              </a:path>
            </a:pathLst>
          </a:custGeom>
          <a:solidFill>
            <a:sysClr val="window" lastClr="FFFFFF">
              <a:lumMod val="75000"/>
            </a:sys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0" cap="none" spc="0" normalizeH="0" baseline="0" noProof="0">
              <a:ln>
                <a:noFill/>
              </a:ln>
              <a:solidFill>
                <a:srgbClr val="000000"/>
              </a:solidFill>
              <a:effectLst/>
              <a:uLnTx/>
              <a:uFillTx/>
              <a:latin typeface="Arial"/>
              <a:ea typeface="+mn-ea"/>
              <a:cs typeface="+mn-cs"/>
            </a:endParaRPr>
          </a:p>
        </p:txBody>
      </p:sp>
      <p:sp>
        <p:nvSpPr>
          <p:cNvPr id="192" name="TextBox 191"/>
          <p:cNvSpPr txBox="1"/>
          <p:nvPr/>
        </p:nvSpPr>
        <p:spPr>
          <a:xfrm>
            <a:off x="5533584" y="822839"/>
            <a:ext cx="1890538" cy="431046"/>
          </a:xfrm>
          <a:prstGeom prst="rect">
            <a:avLst/>
          </a:prstGeom>
          <a:noFill/>
        </p:spPr>
        <p:txBody>
          <a:bodyPr wrap="square" lIns="40958" tIns="40958" rIns="40958" bIns="40958" rtlCol="0">
            <a:noAutofit/>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IE" sz="1800" b="1" i="0" u="none" strike="noStrike" kern="0" cap="none" spc="0" normalizeH="0" baseline="0" noProof="0" dirty="0">
                <a:ln>
                  <a:noFill/>
                </a:ln>
                <a:solidFill>
                  <a:prstClr val="white"/>
                </a:solidFill>
                <a:effectLst/>
                <a:uLnTx/>
                <a:uFillTx/>
                <a:latin typeface="Arial"/>
                <a:ea typeface="+mn-ea"/>
                <a:cs typeface="+mn-cs"/>
              </a:rPr>
              <a:t>11 </a:t>
            </a:r>
            <a:r>
              <a:rPr kumimoji="0" lang="en-IE" sz="1800" b="1" i="0" u="none" strike="noStrike" kern="0" cap="none" spc="0" normalizeH="0" baseline="0" noProof="0" dirty="0" err="1">
                <a:ln>
                  <a:noFill/>
                </a:ln>
                <a:solidFill>
                  <a:prstClr val="white"/>
                </a:solidFill>
                <a:effectLst/>
                <a:uLnTx/>
                <a:uFillTx/>
                <a:latin typeface="Arial"/>
                <a:ea typeface="+mn-ea"/>
                <a:cs typeface="+mn-cs"/>
              </a:rPr>
              <a:t>TWh</a:t>
            </a:r>
            <a:endParaRPr kumimoji="0" lang="en-IE" sz="1800" b="1" i="0" u="none" strike="noStrike" kern="0" cap="none" spc="0" normalizeH="0" baseline="0" noProof="0" dirty="0">
              <a:ln>
                <a:noFill/>
              </a:ln>
              <a:solidFill>
                <a:prstClr val="white"/>
              </a:solidFill>
              <a:effectLst/>
              <a:uLnTx/>
              <a:uFillTx/>
              <a:latin typeface="Arial"/>
              <a:ea typeface="+mn-ea"/>
              <a:cs typeface="+mn-cs"/>
            </a:endParaRPr>
          </a:p>
        </p:txBody>
      </p:sp>
      <p:sp>
        <p:nvSpPr>
          <p:cNvPr id="193" name="TextBox 192"/>
          <p:cNvSpPr txBox="1"/>
          <p:nvPr/>
        </p:nvSpPr>
        <p:spPr>
          <a:xfrm>
            <a:off x="5842514" y="1567892"/>
            <a:ext cx="1046423" cy="434961"/>
          </a:xfrm>
          <a:prstGeom prst="rect">
            <a:avLst/>
          </a:prstGeom>
          <a:noFill/>
        </p:spPr>
        <p:txBody>
          <a:bodyPr wrap="square" lIns="40958" tIns="40958" rIns="40958" bIns="40958" rtlCol="0">
            <a:noAutofit/>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IE" sz="2100" b="1" i="0" u="none" strike="noStrike" kern="0" cap="none" spc="0" normalizeH="0" baseline="0" noProof="0" dirty="0">
                <a:ln>
                  <a:noFill/>
                </a:ln>
                <a:solidFill>
                  <a:prstClr val="white"/>
                </a:solidFill>
                <a:effectLst/>
                <a:uLnTx/>
                <a:uFillTx/>
                <a:latin typeface="Arial"/>
                <a:ea typeface="+mn-ea"/>
                <a:cs typeface="+mn-cs"/>
              </a:rPr>
              <a:t>20%</a:t>
            </a:r>
          </a:p>
        </p:txBody>
      </p:sp>
      <p:sp>
        <p:nvSpPr>
          <p:cNvPr id="194" name="TextBox 193"/>
          <p:cNvSpPr txBox="1"/>
          <p:nvPr/>
        </p:nvSpPr>
        <p:spPr>
          <a:xfrm>
            <a:off x="5801141" y="2902222"/>
            <a:ext cx="1104257" cy="388736"/>
          </a:xfrm>
          <a:prstGeom prst="rect">
            <a:avLst/>
          </a:prstGeom>
          <a:noFill/>
          <a:ln>
            <a:noFill/>
          </a:ln>
        </p:spPr>
        <p:txBody>
          <a:bodyPr wrap="square" lIns="40958" tIns="40958" rIns="40958" bIns="40958" rtlCol="0">
            <a:noAutofit/>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IE" sz="1800" b="1" i="0" u="none" strike="noStrike" kern="0" cap="none" spc="0" normalizeH="0" baseline="0" noProof="0" dirty="0">
                <a:ln>
                  <a:noFill/>
                </a:ln>
                <a:solidFill>
                  <a:prstClr val="white"/>
                </a:solidFill>
                <a:effectLst/>
                <a:uLnTx/>
                <a:uFillTx/>
                <a:latin typeface="Arial"/>
                <a:ea typeface="+mn-ea"/>
                <a:cs typeface="+mn-cs"/>
              </a:rPr>
              <a:t>375</a:t>
            </a:r>
          </a:p>
        </p:txBody>
      </p:sp>
      <p:sp>
        <p:nvSpPr>
          <p:cNvPr id="195" name="TextBox 194"/>
          <p:cNvSpPr txBox="1"/>
          <p:nvPr/>
        </p:nvSpPr>
        <p:spPr>
          <a:xfrm>
            <a:off x="5953585" y="3327037"/>
            <a:ext cx="1348249" cy="469090"/>
          </a:xfrm>
          <a:prstGeom prst="rect">
            <a:avLst/>
          </a:prstGeom>
          <a:noFill/>
        </p:spPr>
        <p:txBody>
          <a:bodyPr wrap="square" lIns="40958" tIns="40958" rIns="40958" bIns="40958" rtlCol="0">
            <a:noAutofit/>
          </a:bodyPr>
          <a:lstStyle/>
          <a:p>
            <a:pPr marL="0" marR="0" lvl="0" indent="0" algn="r" defTabSz="914400" rtl="0" eaLnBrk="1" fontAlgn="auto" latinLnBrk="0" hangingPunct="1">
              <a:lnSpc>
                <a:spcPct val="100000"/>
              </a:lnSpc>
              <a:spcBef>
                <a:spcPts val="0"/>
              </a:spcBef>
              <a:spcAft>
                <a:spcPts val="450"/>
              </a:spcAft>
              <a:buClrTx/>
              <a:buSzTx/>
              <a:buFontTx/>
              <a:buNone/>
              <a:tabLst/>
              <a:defRPr/>
            </a:pPr>
            <a:r>
              <a:rPr kumimoji="0" lang="en-IE" sz="1100" b="0" i="0" u="none" strike="noStrike" kern="0" cap="none" spc="0" normalizeH="0" baseline="0" noProof="0" dirty="0">
                <a:ln>
                  <a:noFill/>
                </a:ln>
                <a:solidFill>
                  <a:prstClr val="white"/>
                </a:solidFill>
                <a:effectLst/>
                <a:uLnTx/>
                <a:uFillTx/>
                <a:latin typeface="Arial"/>
                <a:ea typeface="+mn-ea"/>
                <a:cs typeface="+mn-cs"/>
              </a:rPr>
              <a:t>AGRI AD PLANTS </a:t>
            </a:r>
            <a:r>
              <a:rPr kumimoji="0" lang="en-IE" sz="1100" b="1" i="0" u="none" strike="noStrike" kern="0" cap="none" spc="0" normalizeH="0" baseline="0" noProof="0" dirty="0">
                <a:ln>
                  <a:noFill/>
                </a:ln>
                <a:solidFill>
                  <a:prstClr val="white"/>
                </a:solidFill>
                <a:effectLst/>
                <a:uLnTx/>
                <a:uFillTx/>
                <a:latin typeface="Arial"/>
                <a:ea typeface="+mn-ea"/>
                <a:cs typeface="+mn-cs"/>
              </a:rPr>
              <a:t>ACROSS IRELAND</a:t>
            </a:r>
            <a:endParaRPr kumimoji="0" lang="en-IE" sz="1100" b="0" i="0" u="none" strike="noStrike" kern="0" cap="none" spc="0" normalizeH="0" baseline="0" noProof="0" dirty="0">
              <a:ln>
                <a:noFill/>
              </a:ln>
              <a:solidFill>
                <a:prstClr val="white"/>
              </a:solidFill>
              <a:effectLst/>
              <a:uLnTx/>
              <a:uFillTx/>
              <a:latin typeface="Arial"/>
              <a:ea typeface="+mn-ea"/>
              <a:cs typeface="+mn-cs"/>
            </a:endParaRPr>
          </a:p>
        </p:txBody>
      </p:sp>
      <p:sp>
        <p:nvSpPr>
          <p:cNvPr id="196" name="TextBox 195"/>
          <p:cNvSpPr txBox="1"/>
          <p:nvPr/>
        </p:nvSpPr>
        <p:spPr>
          <a:xfrm>
            <a:off x="7995973" y="703243"/>
            <a:ext cx="2999616" cy="309969"/>
          </a:xfrm>
          <a:prstGeom prst="rect">
            <a:avLst/>
          </a:prstGeom>
          <a:noFill/>
        </p:spPr>
        <p:txBody>
          <a:bodyPr wrap="square" lIns="40958" tIns="40958" rIns="40958" bIns="40958" rtlCol="0">
            <a:noAutofit/>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IE" sz="1350" b="1" i="0" u="none" strike="noStrike" kern="0" cap="none" spc="0" normalizeH="0" baseline="0" noProof="0" dirty="0">
                <a:ln>
                  <a:noFill/>
                </a:ln>
                <a:solidFill>
                  <a:prstClr val="white"/>
                </a:solidFill>
                <a:effectLst/>
                <a:uLnTx/>
                <a:uFillTx/>
                <a:latin typeface="Arial"/>
                <a:ea typeface="+mn-ea"/>
                <a:cs typeface="+mn-cs"/>
              </a:rPr>
              <a:t>RENEWABLE THERMAL &amp; TRANSPORT ENERGY</a:t>
            </a:r>
            <a:endParaRPr kumimoji="0" lang="en-IE" sz="1350" b="0" i="0" u="none" strike="noStrike" kern="0" cap="none" spc="0" normalizeH="0" baseline="0" noProof="0" dirty="0">
              <a:ln>
                <a:noFill/>
              </a:ln>
              <a:solidFill>
                <a:prstClr val="white"/>
              </a:solidFill>
              <a:effectLst/>
              <a:uLnTx/>
              <a:uFillTx/>
              <a:latin typeface="Arial"/>
              <a:ea typeface="+mn-ea"/>
              <a:cs typeface="+mn-cs"/>
            </a:endParaRPr>
          </a:p>
        </p:txBody>
      </p:sp>
      <p:cxnSp>
        <p:nvCxnSpPr>
          <p:cNvPr id="197" name="Straight Connector 196"/>
          <p:cNvCxnSpPr>
            <a:cxnSpLocks/>
          </p:cNvCxnSpPr>
          <p:nvPr/>
        </p:nvCxnSpPr>
        <p:spPr>
          <a:xfrm>
            <a:off x="6044196" y="1397522"/>
            <a:ext cx="4666806" cy="0"/>
          </a:xfrm>
          <a:prstGeom prst="line">
            <a:avLst/>
          </a:prstGeom>
          <a:noFill/>
          <a:ln w="19050" cap="flat" cmpd="sng" algn="ctr">
            <a:solidFill>
              <a:sysClr val="window" lastClr="FFFFFF"/>
            </a:solidFill>
            <a:prstDash val="solid"/>
            <a:miter lim="800000"/>
          </a:ln>
          <a:effectLst/>
        </p:spPr>
      </p:cxnSp>
      <p:sp>
        <p:nvSpPr>
          <p:cNvPr id="198" name="Rectangle 197"/>
          <p:cNvSpPr/>
          <p:nvPr/>
        </p:nvSpPr>
        <p:spPr>
          <a:xfrm>
            <a:off x="6649357" y="1559441"/>
            <a:ext cx="987335"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100" b="1" i="0" u="none" strike="noStrike" kern="0" cap="none" spc="0" normalizeH="0" baseline="0" noProof="0" dirty="0">
                <a:ln>
                  <a:noFill/>
                </a:ln>
                <a:solidFill>
                  <a:prstClr val="white"/>
                </a:solidFill>
                <a:effectLst/>
                <a:uLnTx/>
                <a:uFillTx/>
                <a:latin typeface="Arial"/>
                <a:ea typeface="+mn-ea"/>
                <a:cs typeface="+mn-cs"/>
              </a:rPr>
              <a:t>NATURAL GAS </a:t>
            </a:r>
            <a:r>
              <a:rPr kumimoji="0" lang="en-IE" sz="1100" b="0" i="0" u="none" strike="noStrike" kern="0" cap="none" spc="0" normalizeH="0" baseline="0" noProof="0" dirty="0">
                <a:ln>
                  <a:noFill/>
                </a:ln>
                <a:solidFill>
                  <a:prstClr val="white"/>
                </a:solidFill>
                <a:effectLst/>
                <a:uLnTx/>
                <a:uFillTx/>
                <a:latin typeface="Arial"/>
                <a:ea typeface="+mn-ea"/>
                <a:cs typeface="+mn-cs"/>
              </a:rPr>
              <a:t>DISPLACED</a:t>
            </a:r>
          </a:p>
        </p:txBody>
      </p:sp>
      <p:grpSp>
        <p:nvGrpSpPr>
          <p:cNvPr id="199" name="Group 198"/>
          <p:cNvGrpSpPr/>
          <p:nvPr/>
        </p:nvGrpSpPr>
        <p:grpSpPr>
          <a:xfrm>
            <a:off x="6223828" y="2089136"/>
            <a:ext cx="376345" cy="354945"/>
            <a:chOff x="3252788" y="3313844"/>
            <a:chExt cx="311151" cy="322263"/>
          </a:xfrm>
          <a:solidFill>
            <a:sysClr val="window" lastClr="FFFFFF"/>
          </a:solidFill>
        </p:grpSpPr>
        <p:sp>
          <p:nvSpPr>
            <p:cNvPr id="200" name="Freeform 2076"/>
            <p:cNvSpPr>
              <a:spLocks/>
            </p:cNvSpPr>
            <p:nvPr/>
          </p:nvSpPr>
          <p:spPr bwMode="auto">
            <a:xfrm>
              <a:off x="3252788" y="3313844"/>
              <a:ext cx="184150" cy="244475"/>
            </a:xfrm>
            <a:custGeom>
              <a:avLst/>
              <a:gdLst>
                <a:gd name="T0" fmla="*/ 21 w 49"/>
                <a:gd name="T1" fmla="*/ 34 h 65"/>
                <a:gd name="T2" fmla="*/ 32 w 49"/>
                <a:gd name="T3" fmla="*/ 42 h 65"/>
                <a:gd name="T4" fmla="*/ 40 w 49"/>
                <a:gd name="T5" fmla="*/ 59 h 65"/>
                <a:gd name="T6" fmla="*/ 45 w 49"/>
                <a:gd name="T7" fmla="*/ 33 h 65"/>
                <a:gd name="T8" fmla="*/ 19 w 49"/>
                <a:gd name="T9" fmla="*/ 5 h 65"/>
                <a:gd name="T10" fmla="*/ 19 w 49"/>
                <a:gd name="T11" fmla="*/ 23 h 65"/>
                <a:gd name="T12" fmla="*/ 5 w 49"/>
                <a:gd name="T13" fmla="*/ 0 h 65"/>
                <a:gd name="T14" fmla="*/ 5 w 49"/>
                <a:gd name="T15" fmla="*/ 28 h 65"/>
                <a:gd name="T16" fmla="*/ 2 w 49"/>
                <a:gd name="T17" fmla="*/ 48 h 65"/>
                <a:gd name="T18" fmla="*/ 22 w 49"/>
                <a:gd name="T19" fmla="*/ 65 h 65"/>
                <a:gd name="T20" fmla="*/ 20 w 49"/>
                <a:gd name="T21" fmla="*/ 48 h 65"/>
                <a:gd name="T22" fmla="*/ 21 w 49"/>
                <a:gd name="T23" fmla="*/ 3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65">
                  <a:moveTo>
                    <a:pt x="21" y="34"/>
                  </a:moveTo>
                  <a:cubicBezTo>
                    <a:pt x="22" y="34"/>
                    <a:pt x="27" y="40"/>
                    <a:pt x="32" y="42"/>
                  </a:cubicBezTo>
                  <a:cubicBezTo>
                    <a:pt x="39" y="44"/>
                    <a:pt x="41" y="51"/>
                    <a:pt x="40" y="59"/>
                  </a:cubicBezTo>
                  <a:cubicBezTo>
                    <a:pt x="40" y="59"/>
                    <a:pt x="49" y="45"/>
                    <a:pt x="45" y="33"/>
                  </a:cubicBezTo>
                  <a:cubicBezTo>
                    <a:pt x="38" y="14"/>
                    <a:pt x="29" y="16"/>
                    <a:pt x="19" y="5"/>
                  </a:cubicBezTo>
                  <a:cubicBezTo>
                    <a:pt x="19" y="5"/>
                    <a:pt x="24" y="16"/>
                    <a:pt x="19" y="23"/>
                  </a:cubicBezTo>
                  <a:cubicBezTo>
                    <a:pt x="19" y="23"/>
                    <a:pt x="13" y="5"/>
                    <a:pt x="5" y="0"/>
                  </a:cubicBezTo>
                  <a:cubicBezTo>
                    <a:pt x="5" y="0"/>
                    <a:pt x="10" y="14"/>
                    <a:pt x="5" y="28"/>
                  </a:cubicBezTo>
                  <a:cubicBezTo>
                    <a:pt x="0" y="38"/>
                    <a:pt x="0" y="43"/>
                    <a:pt x="2" y="48"/>
                  </a:cubicBezTo>
                  <a:cubicBezTo>
                    <a:pt x="4" y="53"/>
                    <a:pt x="9" y="63"/>
                    <a:pt x="22" y="65"/>
                  </a:cubicBezTo>
                  <a:cubicBezTo>
                    <a:pt x="22" y="65"/>
                    <a:pt x="15" y="59"/>
                    <a:pt x="20" y="48"/>
                  </a:cubicBezTo>
                  <a:cubicBezTo>
                    <a:pt x="25" y="38"/>
                    <a:pt x="22" y="34"/>
                    <a:pt x="21" y="34"/>
                  </a:cubicBez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01" name="Freeform 2077"/>
            <p:cNvSpPr>
              <a:spLocks/>
            </p:cNvSpPr>
            <p:nvPr/>
          </p:nvSpPr>
          <p:spPr bwMode="auto">
            <a:xfrm>
              <a:off x="3349626" y="3517044"/>
              <a:ext cx="214313" cy="119063"/>
            </a:xfrm>
            <a:custGeom>
              <a:avLst/>
              <a:gdLst>
                <a:gd name="T0" fmla="*/ 57 w 57"/>
                <a:gd name="T1" fmla="*/ 28 h 32"/>
                <a:gd name="T2" fmla="*/ 10 w 57"/>
                <a:gd name="T3" fmla="*/ 5 h 32"/>
                <a:gd name="T4" fmla="*/ 7 w 57"/>
                <a:gd name="T5" fmla="*/ 1 h 32"/>
                <a:gd name="T6" fmla="*/ 1 w 57"/>
                <a:gd name="T7" fmla="*/ 2 h 32"/>
                <a:gd name="T8" fmla="*/ 3 w 57"/>
                <a:gd name="T9" fmla="*/ 7 h 32"/>
                <a:gd name="T10" fmla="*/ 7 w 57"/>
                <a:gd name="T11" fmla="*/ 8 h 32"/>
                <a:gd name="T12" fmla="*/ 55 w 57"/>
                <a:gd name="T13" fmla="*/ 32 h 32"/>
                <a:gd name="T14" fmla="*/ 57 w 57"/>
                <a:gd name="T15" fmla="*/ 28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32">
                  <a:moveTo>
                    <a:pt x="57" y="28"/>
                  </a:moveTo>
                  <a:cubicBezTo>
                    <a:pt x="10" y="5"/>
                    <a:pt x="10" y="5"/>
                    <a:pt x="10" y="5"/>
                  </a:cubicBezTo>
                  <a:cubicBezTo>
                    <a:pt x="9" y="3"/>
                    <a:pt x="9" y="2"/>
                    <a:pt x="7" y="1"/>
                  </a:cubicBezTo>
                  <a:cubicBezTo>
                    <a:pt x="5" y="0"/>
                    <a:pt x="2" y="0"/>
                    <a:pt x="1" y="2"/>
                  </a:cubicBezTo>
                  <a:cubicBezTo>
                    <a:pt x="0" y="3"/>
                    <a:pt x="1" y="6"/>
                    <a:pt x="3" y="7"/>
                  </a:cubicBezTo>
                  <a:cubicBezTo>
                    <a:pt x="5" y="8"/>
                    <a:pt x="6" y="9"/>
                    <a:pt x="7" y="8"/>
                  </a:cubicBezTo>
                  <a:cubicBezTo>
                    <a:pt x="55" y="32"/>
                    <a:pt x="55" y="32"/>
                    <a:pt x="55" y="32"/>
                  </a:cubicBezTo>
                  <a:lnTo>
                    <a:pt x="57" y="28"/>
                  </a:ln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grpSp>
      <p:cxnSp>
        <p:nvCxnSpPr>
          <p:cNvPr id="202" name="Straight Connector 201"/>
          <p:cNvCxnSpPr>
            <a:cxnSpLocks/>
          </p:cNvCxnSpPr>
          <p:nvPr/>
        </p:nvCxnSpPr>
        <p:spPr>
          <a:xfrm>
            <a:off x="7683376" y="1559441"/>
            <a:ext cx="8911" cy="1161661"/>
          </a:xfrm>
          <a:prstGeom prst="line">
            <a:avLst/>
          </a:prstGeom>
          <a:noFill/>
          <a:ln w="19050" cap="flat" cmpd="sng" algn="ctr">
            <a:solidFill>
              <a:sysClr val="window" lastClr="FFFFFF"/>
            </a:solidFill>
            <a:prstDash val="solid"/>
            <a:miter lim="800000"/>
          </a:ln>
          <a:effectLst/>
        </p:spPr>
      </p:cxnSp>
      <p:sp>
        <p:nvSpPr>
          <p:cNvPr id="203" name="TextBox 202"/>
          <p:cNvSpPr txBox="1"/>
          <p:nvPr/>
        </p:nvSpPr>
        <p:spPr>
          <a:xfrm>
            <a:off x="7742164" y="1519627"/>
            <a:ext cx="2534599" cy="991389"/>
          </a:xfrm>
          <a:prstGeom prst="rect">
            <a:avLst/>
          </a:prstGeom>
          <a:noFill/>
        </p:spPr>
        <p:txBody>
          <a:bodyPr wrap="square" lIns="40958" tIns="40958" rIns="40958" bIns="40958" rtlCol="0">
            <a:noAutofit/>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IE" sz="2800" b="1" i="0" u="none" strike="noStrike" kern="0" cap="none" spc="0" normalizeH="0" baseline="0" noProof="0" dirty="0">
                <a:ln>
                  <a:noFill/>
                </a:ln>
                <a:solidFill>
                  <a:prstClr val="white"/>
                </a:solidFill>
                <a:effectLst/>
                <a:uLnTx/>
                <a:uFillTx/>
                <a:latin typeface="Arial"/>
                <a:ea typeface="+mn-ea"/>
                <a:cs typeface="+mn-cs"/>
              </a:rPr>
              <a:t>5.5m </a:t>
            </a:r>
          </a:p>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IE" sz="1200" b="1" i="0" u="none" strike="noStrike" kern="0" cap="none" spc="0" normalizeH="0" baseline="0" noProof="0" dirty="0">
                <a:ln>
                  <a:noFill/>
                </a:ln>
                <a:solidFill>
                  <a:prstClr val="white"/>
                </a:solidFill>
                <a:effectLst/>
                <a:uLnTx/>
                <a:uFillTx/>
                <a:latin typeface="Arial"/>
                <a:ea typeface="+mn-ea"/>
                <a:cs typeface="+mn-cs"/>
              </a:rPr>
              <a:t>3.2m Energy + 2.3m Non-Energy</a:t>
            </a:r>
            <a:endParaRPr kumimoji="0" lang="en-IE" sz="100" b="1" i="0" u="none" strike="noStrike" kern="0" cap="none" spc="0" normalizeH="0" baseline="0" noProof="0" dirty="0">
              <a:ln>
                <a:noFill/>
              </a:ln>
              <a:solidFill>
                <a:prstClr val="white"/>
              </a:solidFill>
              <a:effectLst/>
              <a:uLnTx/>
              <a:uFillTx/>
              <a:latin typeface="Arial"/>
              <a:ea typeface="+mn-ea"/>
              <a:cs typeface="+mn-cs"/>
            </a:endParaRPr>
          </a:p>
        </p:txBody>
      </p:sp>
      <p:sp>
        <p:nvSpPr>
          <p:cNvPr id="204" name="TextBox 203"/>
          <p:cNvSpPr txBox="1"/>
          <p:nvPr/>
        </p:nvSpPr>
        <p:spPr>
          <a:xfrm>
            <a:off x="8711274" y="1591325"/>
            <a:ext cx="2220895" cy="624259"/>
          </a:xfrm>
          <a:prstGeom prst="rect">
            <a:avLst/>
          </a:prstGeom>
          <a:noFill/>
        </p:spPr>
        <p:txBody>
          <a:bodyPr wrap="square" lIns="40958" tIns="40958" rIns="40958" bIns="4095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200" b="1" i="0" u="none" strike="noStrike" kern="0" cap="none" spc="0" normalizeH="0" baseline="0" noProof="0" dirty="0">
                <a:ln>
                  <a:noFill/>
                </a:ln>
                <a:solidFill>
                  <a:prstClr val="white"/>
                </a:solidFill>
                <a:effectLst/>
                <a:uLnTx/>
                <a:uFillTx/>
                <a:latin typeface="Arial"/>
                <a:ea typeface="+mn-ea"/>
                <a:cs typeface="+mn-cs"/>
              </a:rPr>
              <a:t>TONNES CO2 SAVINGS </a:t>
            </a:r>
            <a:r>
              <a:rPr kumimoji="0" lang="en-IE" sz="1200" b="0" i="0" u="none" strike="noStrike" kern="0" cap="none" spc="0" normalizeH="0" baseline="0" noProof="0" dirty="0">
                <a:ln>
                  <a:noFill/>
                </a:ln>
                <a:solidFill>
                  <a:prstClr val="white"/>
                </a:solidFill>
                <a:effectLst/>
                <a:uLnTx/>
                <a:uFillTx/>
                <a:latin typeface="Arial"/>
                <a:ea typeface="+mn-ea"/>
                <a:cs typeface="+mn-cs"/>
              </a:rPr>
              <a:t>ANNUALLY</a:t>
            </a:r>
          </a:p>
        </p:txBody>
      </p:sp>
      <p:cxnSp>
        <p:nvCxnSpPr>
          <p:cNvPr id="205" name="Straight Connector 204"/>
          <p:cNvCxnSpPr>
            <a:cxnSpLocks/>
          </p:cNvCxnSpPr>
          <p:nvPr/>
        </p:nvCxnSpPr>
        <p:spPr>
          <a:xfrm>
            <a:off x="5962219" y="2721102"/>
            <a:ext cx="4737452" cy="0"/>
          </a:xfrm>
          <a:prstGeom prst="line">
            <a:avLst/>
          </a:prstGeom>
          <a:noFill/>
          <a:ln w="19050" cap="flat" cmpd="sng" algn="ctr">
            <a:solidFill>
              <a:sysClr val="window" lastClr="FFFFFF"/>
            </a:solidFill>
            <a:prstDash val="solid"/>
            <a:miter lim="800000"/>
          </a:ln>
          <a:effectLst/>
        </p:spPr>
      </p:cxnSp>
      <p:cxnSp>
        <p:nvCxnSpPr>
          <p:cNvPr id="206" name="Straight Connector 205"/>
          <p:cNvCxnSpPr>
            <a:cxnSpLocks/>
          </p:cNvCxnSpPr>
          <p:nvPr/>
        </p:nvCxnSpPr>
        <p:spPr>
          <a:xfrm>
            <a:off x="5960279" y="3841901"/>
            <a:ext cx="4704654" cy="0"/>
          </a:xfrm>
          <a:prstGeom prst="line">
            <a:avLst/>
          </a:prstGeom>
          <a:noFill/>
          <a:ln w="19050" cap="flat" cmpd="sng" algn="ctr">
            <a:solidFill>
              <a:sysClr val="window" lastClr="FFFFFF"/>
            </a:solidFill>
            <a:prstDash val="solid"/>
            <a:miter lim="800000"/>
          </a:ln>
          <a:effectLst/>
        </p:spPr>
      </p:cxnSp>
      <p:cxnSp>
        <p:nvCxnSpPr>
          <p:cNvPr id="207" name="Straight Connector 206"/>
          <p:cNvCxnSpPr>
            <a:cxnSpLocks/>
          </p:cNvCxnSpPr>
          <p:nvPr/>
        </p:nvCxnSpPr>
        <p:spPr>
          <a:xfrm flipH="1">
            <a:off x="7335107" y="2711924"/>
            <a:ext cx="23193" cy="1101254"/>
          </a:xfrm>
          <a:prstGeom prst="line">
            <a:avLst/>
          </a:prstGeom>
          <a:noFill/>
          <a:ln w="19050" cap="flat" cmpd="sng" algn="ctr">
            <a:solidFill>
              <a:sysClr val="window" lastClr="FFFFFF"/>
            </a:solidFill>
            <a:prstDash val="solid"/>
            <a:miter lim="800000"/>
          </a:ln>
          <a:effectLst/>
        </p:spPr>
      </p:cxnSp>
      <p:sp>
        <p:nvSpPr>
          <p:cNvPr id="208" name="TextBox 207"/>
          <p:cNvSpPr txBox="1"/>
          <p:nvPr/>
        </p:nvSpPr>
        <p:spPr>
          <a:xfrm>
            <a:off x="8256321" y="2806919"/>
            <a:ext cx="636230" cy="290189"/>
          </a:xfrm>
          <a:prstGeom prst="rect">
            <a:avLst/>
          </a:prstGeom>
          <a:noFill/>
        </p:spPr>
        <p:txBody>
          <a:bodyPr wrap="square" lIns="40958" tIns="40958" rIns="40958" bIns="40958" rtlCol="0">
            <a:noAutofit/>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IE" sz="1350" b="1" i="0" u="none" strike="noStrike" kern="0" cap="none" spc="0" normalizeH="0" baseline="0" noProof="0" dirty="0">
                <a:ln>
                  <a:noFill/>
                </a:ln>
                <a:solidFill>
                  <a:prstClr val="white"/>
                </a:solidFill>
                <a:effectLst/>
                <a:uLnTx/>
                <a:uFillTx/>
                <a:latin typeface="Arial"/>
                <a:ea typeface="+mn-ea"/>
                <a:cs typeface="+mn-cs"/>
              </a:rPr>
              <a:t>11m</a:t>
            </a:r>
          </a:p>
        </p:txBody>
      </p:sp>
      <p:sp>
        <p:nvSpPr>
          <p:cNvPr id="209" name="TextBox 208"/>
          <p:cNvSpPr txBox="1"/>
          <p:nvPr/>
        </p:nvSpPr>
        <p:spPr>
          <a:xfrm>
            <a:off x="8369837" y="3051561"/>
            <a:ext cx="666021" cy="191093"/>
          </a:xfrm>
          <a:prstGeom prst="rect">
            <a:avLst/>
          </a:prstGeom>
          <a:noFill/>
        </p:spPr>
        <p:txBody>
          <a:bodyPr wrap="square" lIns="40958" tIns="40958" rIns="40958" bIns="40958" rtlCol="0">
            <a:noAutofit/>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IE" sz="675" b="1" i="0" u="none" strike="noStrike" kern="0" cap="none" spc="0" normalizeH="0" baseline="0" noProof="0" dirty="0">
                <a:ln>
                  <a:noFill/>
                </a:ln>
                <a:solidFill>
                  <a:prstClr val="white"/>
                </a:solidFill>
                <a:effectLst/>
                <a:uLnTx/>
                <a:uFillTx/>
                <a:latin typeface="Arial"/>
                <a:ea typeface="+mn-ea"/>
                <a:cs typeface="+mn-cs"/>
              </a:rPr>
              <a:t>TONNES ANNUALLY</a:t>
            </a:r>
          </a:p>
          <a:p>
            <a:pPr marL="0" marR="0" lvl="0" indent="0" algn="r" defTabSz="914400" rtl="0" eaLnBrk="1" fontAlgn="auto" latinLnBrk="0" hangingPunct="1">
              <a:lnSpc>
                <a:spcPct val="100000"/>
              </a:lnSpc>
              <a:spcBef>
                <a:spcPts val="0"/>
              </a:spcBef>
              <a:spcAft>
                <a:spcPts val="450"/>
              </a:spcAft>
              <a:buClrTx/>
              <a:buSzTx/>
              <a:buFontTx/>
              <a:buNone/>
              <a:tabLst/>
              <a:defRPr/>
            </a:pPr>
            <a:endParaRPr kumimoji="0" lang="en-IE" sz="750" b="0" i="0" u="none" strike="noStrike" kern="0" cap="none" spc="0" normalizeH="0" baseline="0" noProof="0" dirty="0">
              <a:ln>
                <a:noFill/>
              </a:ln>
              <a:solidFill>
                <a:prstClr val="white"/>
              </a:solidFill>
              <a:effectLst/>
              <a:uLnTx/>
              <a:uFillTx/>
              <a:latin typeface="Arial"/>
              <a:ea typeface="+mn-ea"/>
              <a:cs typeface="+mn-cs"/>
            </a:endParaRPr>
          </a:p>
        </p:txBody>
      </p:sp>
      <p:sp>
        <p:nvSpPr>
          <p:cNvPr id="210" name="TextBox 209"/>
          <p:cNvSpPr txBox="1"/>
          <p:nvPr/>
        </p:nvSpPr>
        <p:spPr>
          <a:xfrm>
            <a:off x="7537557" y="3336381"/>
            <a:ext cx="1720154" cy="264723"/>
          </a:xfrm>
          <a:prstGeom prst="rect">
            <a:avLst/>
          </a:prstGeom>
          <a:noFill/>
        </p:spPr>
        <p:txBody>
          <a:bodyPr wrap="square" lIns="40958" tIns="40958" rIns="40958" bIns="4095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1" i="0" u="none" strike="noStrike" kern="0" cap="none" spc="0" normalizeH="0" baseline="0" noProof="0" dirty="0">
                <a:ln>
                  <a:noFill/>
                </a:ln>
                <a:solidFill>
                  <a:prstClr val="white"/>
                </a:solidFill>
                <a:effectLst/>
                <a:uLnTx/>
                <a:uFillTx/>
                <a:latin typeface="Arial"/>
                <a:ea typeface="+mn-ea"/>
                <a:cs typeface="+mn-cs"/>
              </a:rPr>
              <a:t>SILAGE</a:t>
            </a:r>
            <a:r>
              <a:rPr kumimoji="0" lang="en-IE" sz="1050" b="0" i="0" u="none" strike="noStrike" kern="0" cap="none" spc="0" normalizeH="0" baseline="0" noProof="0" dirty="0">
                <a:ln>
                  <a:noFill/>
                </a:ln>
                <a:solidFill>
                  <a:prstClr val="white"/>
                </a:solidFill>
                <a:effectLst/>
                <a:uLnTx/>
                <a:uFillTx/>
                <a:latin typeface="Arial"/>
                <a:ea typeface="+mn-ea"/>
                <a:cs typeface="+mn-cs"/>
              </a:rPr>
              <a:t> REQUIR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0" u="none" strike="noStrike" kern="0" cap="none" spc="0" normalizeH="0" baseline="0" noProof="0" dirty="0">
                <a:ln>
                  <a:noFill/>
                </a:ln>
                <a:solidFill>
                  <a:prstClr val="white"/>
                </a:solidFill>
                <a:effectLst/>
                <a:uLnTx/>
                <a:uFillTx/>
                <a:latin typeface="Arial"/>
                <a:ea typeface="+mn-ea"/>
                <a:cs typeface="+mn-cs"/>
              </a:rPr>
              <a:t>(or equivalent)</a:t>
            </a:r>
          </a:p>
        </p:txBody>
      </p:sp>
      <p:cxnSp>
        <p:nvCxnSpPr>
          <p:cNvPr id="211" name="Straight Connector 210"/>
          <p:cNvCxnSpPr>
            <a:cxnSpLocks/>
          </p:cNvCxnSpPr>
          <p:nvPr/>
        </p:nvCxnSpPr>
        <p:spPr>
          <a:xfrm flipH="1">
            <a:off x="9335316" y="2677120"/>
            <a:ext cx="18452" cy="1097664"/>
          </a:xfrm>
          <a:prstGeom prst="line">
            <a:avLst/>
          </a:prstGeom>
          <a:noFill/>
          <a:ln w="19050" cap="flat" cmpd="sng" algn="ctr">
            <a:solidFill>
              <a:sysClr val="window" lastClr="FFFFFF"/>
            </a:solidFill>
            <a:prstDash val="solid"/>
            <a:miter lim="800000"/>
          </a:ln>
          <a:effectLst/>
        </p:spPr>
      </p:cxnSp>
      <p:sp>
        <p:nvSpPr>
          <p:cNvPr id="212" name="TextBox 211"/>
          <p:cNvSpPr txBox="1"/>
          <p:nvPr/>
        </p:nvSpPr>
        <p:spPr>
          <a:xfrm>
            <a:off x="10370631" y="2851525"/>
            <a:ext cx="636230" cy="290189"/>
          </a:xfrm>
          <a:prstGeom prst="rect">
            <a:avLst/>
          </a:prstGeom>
          <a:noFill/>
        </p:spPr>
        <p:txBody>
          <a:bodyPr wrap="square" lIns="40958" tIns="40958" rIns="40958" bIns="40958" rtlCol="0">
            <a:noAutofit/>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IE" sz="1600" b="1" i="0" u="none" strike="noStrike" kern="0" cap="none" spc="0" normalizeH="0" baseline="0" noProof="0" dirty="0">
                <a:ln>
                  <a:noFill/>
                </a:ln>
                <a:solidFill>
                  <a:prstClr val="white"/>
                </a:solidFill>
                <a:effectLst/>
                <a:uLnTx/>
                <a:uFillTx/>
                <a:latin typeface="Arial"/>
                <a:ea typeface="+mn-ea"/>
                <a:cs typeface="+mn-cs"/>
              </a:rPr>
              <a:t>8m</a:t>
            </a:r>
          </a:p>
        </p:txBody>
      </p:sp>
      <p:cxnSp>
        <p:nvCxnSpPr>
          <p:cNvPr id="213" name="Straight Connector 212"/>
          <p:cNvCxnSpPr>
            <a:cxnSpLocks/>
          </p:cNvCxnSpPr>
          <p:nvPr/>
        </p:nvCxnSpPr>
        <p:spPr>
          <a:xfrm>
            <a:off x="5974579" y="4837548"/>
            <a:ext cx="4689551" cy="0"/>
          </a:xfrm>
          <a:prstGeom prst="line">
            <a:avLst/>
          </a:prstGeom>
          <a:noFill/>
          <a:ln w="19050" cap="flat" cmpd="sng" algn="ctr">
            <a:solidFill>
              <a:sysClr val="window" lastClr="FFFFFF"/>
            </a:solidFill>
            <a:prstDash val="solid"/>
            <a:miter lim="800000"/>
          </a:ln>
          <a:effectLst/>
        </p:spPr>
      </p:cxnSp>
      <p:cxnSp>
        <p:nvCxnSpPr>
          <p:cNvPr id="214" name="Straight Connector 213"/>
          <p:cNvCxnSpPr/>
          <p:nvPr/>
        </p:nvCxnSpPr>
        <p:spPr>
          <a:xfrm>
            <a:off x="10533163" y="3866275"/>
            <a:ext cx="0" cy="980230"/>
          </a:xfrm>
          <a:prstGeom prst="line">
            <a:avLst/>
          </a:prstGeom>
          <a:noFill/>
          <a:ln w="19050" cap="flat" cmpd="sng" algn="ctr">
            <a:solidFill>
              <a:sysClr val="window" lastClr="FFFFFF"/>
            </a:solidFill>
            <a:prstDash val="solid"/>
            <a:miter lim="800000"/>
          </a:ln>
          <a:effectLst/>
        </p:spPr>
      </p:cxnSp>
      <p:sp>
        <p:nvSpPr>
          <p:cNvPr id="215" name="TextBox 214"/>
          <p:cNvSpPr txBox="1"/>
          <p:nvPr/>
        </p:nvSpPr>
        <p:spPr>
          <a:xfrm>
            <a:off x="7883578" y="4308323"/>
            <a:ext cx="729996" cy="510625"/>
          </a:xfrm>
          <a:prstGeom prst="rect">
            <a:avLst/>
          </a:prstGeom>
          <a:noFill/>
        </p:spPr>
        <p:txBody>
          <a:bodyPr wrap="square" lIns="40958" tIns="40958" rIns="40958" bIns="40958" rtlCol="0">
            <a:noAutofit/>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IE" sz="2100" b="1" i="0" u="none" strike="noStrike" kern="0" cap="none" spc="0" normalizeH="0" baseline="0" noProof="0" dirty="0">
                <a:ln>
                  <a:noFill/>
                </a:ln>
                <a:solidFill>
                  <a:prstClr val="white"/>
                </a:solidFill>
                <a:effectLst/>
                <a:uLnTx/>
                <a:uFillTx/>
                <a:latin typeface="Arial"/>
                <a:ea typeface="+mn-ea"/>
                <a:cs typeface="+mn-cs"/>
              </a:rPr>
              <a:t>€3b</a:t>
            </a:r>
          </a:p>
        </p:txBody>
      </p:sp>
      <p:sp>
        <p:nvSpPr>
          <p:cNvPr id="216" name="TextBox 215"/>
          <p:cNvSpPr txBox="1"/>
          <p:nvPr/>
        </p:nvSpPr>
        <p:spPr>
          <a:xfrm>
            <a:off x="7123806" y="3895837"/>
            <a:ext cx="1072704" cy="264880"/>
          </a:xfrm>
          <a:prstGeom prst="rect">
            <a:avLst/>
          </a:prstGeom>
          <a:noFill/>
        </p:spPr>
        <p:txBody>
          <a:bodyPr wrap="square" lIns="40958" tIns="40958" rIns="40958" bIns="40958" rtlCol="0">
            <a:noAutofit/>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IE" sz="900" b="1" i="0" u="none" strike="noStrike" kern="0" cap="none" spc="0" normalizeH="0" baseline="0" noProof="0" dirty="0">
                <a:ln>
                  <a:noFill/>
                </a:ln>
                <a:solidFill>
                  <a:prstClr val="white"/>
                </a:solidFill>
                <a:effectLst/>
                <a:uLnTx/>
                <a:uFillTx/>
                <a:latin typeface="Arial"/>
                <a:ea typeface="+mn-ea"/>
                <a:cs typeface="+mn-cs"/>
              </a:rPr>
              <a:t>INVESTMENT</a:t>
            </a:r>
            <a:endParaRPr kumimoji="0" lang="en-IE" sz="900" b="0" i="0" u="none" strike="noStrike" kern="0" cap="none" spc="0" normalizeH="0" baseline="0" noProof="0" dirty="0">
              <a:ln>
                <a:noFill/>
              </a:ln>
              <a:solidFill>
                <a:prstClr val="white"/>
              </a:solidFill>
              <a:effectLst/>
              <a:uLnTx/>
              <a:uFillTx/>
              <a:latin typeface="Arial"/>
              <a:ea typeface="+mn-ea"/>
              <a:cs typeface="+mn-cs"/>
            </a:endParaRPr>
          </a:p>
        </p:txBody>
      </p:sp>
      <p:sp>
        <p:nvSpPr>
          <p:cNvPr id="219" name="TextBox 218"/>
          <p:cNvSpPr txBox="1"/>
          <p:nvPr/>
        </p:nvSpPr>
        <p:spPr>
          <a:xfrm>
            <a:off x="6138535" y="5048449"/>
            <a:ext cx="830325" cy="266550"/>
          </a:xfrm>
          <a:prstGeom prst="rect">
            <a:avLst/>
          </a:prstGeom>
          <a:noFill/>
          <a:ln>
            <a:noFill/>
          </a:ln>
        </p:spPr>
        <p:txBody>
          <a:bodyPr wrap="square" lIns="40958" tIns="40958" rIns="40958" bIns="40958" rtlCol="0">
            <a:noAutofit/>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IE" sz="2100" b="1" i="0" u="none" strike="noStrike" kern="0" cap="none" spc="0" normalizeH="0" baseline="0" noProof="0" dirty="0">
                <a:ln>
                  <a:noFill/>
                </a:ln>
                <a:solidFill>
                  <a:prstClr val="white"/>
                </a:solidFill>
                <a:effectLst/>
                <a:uLnTx/>
                <a:uFillTx/>
                <a:latin typeface="Arial"/>
                <a:ea typeface="+mn-ea"/>
                <a:cs typeface="+mn-cs"/>
              </a:rPr>
              <a:t>18</a:t>
            </a:r>
          </a:p>
        </p:txBody>
      </p:sp>
      <p:sp>
        <p:nvSpPr>
          <p:cNvPr id="220" name="TextBox 219"/>
          <p:cNvSpPr txBox="1"/>
          <p:nvPr/>
        </p:nvSpPr>
        <p:spPr>
          <a:xfrm>
            <a:off x="6016773" y="5416371"/>
            <a:ext cx="1021394" cy="327105"/>
          </a:xfrm>
          <a:prstGeom prst="rect">
            <a:avLst/>
          </a:prstGeom>
          <a:noFill/>
        </p:spPr>
        <p:txBody>
          <a:bodyPr wrap="square" lIns="40958" tIns="40958" rIns="40958" bIns="40958" rtlCol="0">
            <a:noAutofit/>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IE" sz="900" b="1" i="0" u="none" strike="noStrike" kern="0" cap="none" spc="0" normalizeH="0" baseline="0" noProof="0" dirty="0">
                <a:ln>
                  <a:noFill/>
                </a:ln>
                <a:solidFill>
                  <a:prstClr val="white"/>
                </a:solidFill>
                <a:effectLst/>
                <a:uLnTx/>
                <a:uFillTx/>
                <a:latin typeface="Arial"/>
                <a:ea typeface="+mn-ea"/>
                <a:cs typeface="+mn-cs"/>
              </a:rPr>
              <a:t>CENTRALISED </a:t>
            </a:r>
            <a:r>
              <a:rPr kumimoji="0" lang="en-IE" sz="900" b="0" i="0" u="none" strike="noStrike" kern="0" cap="none" spc="0" normalizeH="0" baseline="0" noProof="0" dirty="0">
                <a:ln>
                  <a:noFill/>
                </a:ln>
                <a:solidFill>
                  <a:prstClr val="white"/>
                </a:solidFill>
                <a:effectLst/>
                <a:uLnTx/>
                <a:uFillTx/>
                <a:latin typeface="Arial"/>
                <a:ea typeface="+mn-ea"/>
                <a:cs typeface="+mn-cs"/>
              </a:rPr>
              <a:t>INJECTION POINTS</a:t>
            </a:r>
          </a:p>
        </p:txBody>
      </p:sp>
      <p:cxnSp>
        <p:nvCxnSpPr>
          <p:cNvPr id="221" name="Straight Connector 220"/>
          <p:cNvCxnSpPr/>
          <p:nvPr/>
        </p:nvCxnSpPr>
        <p:spPr>
          <a:xfrm>
            <a:off x="7474649" y="4875281"/>
            <a:ext cx="0" cy="1178390"/>
          </a:xfrm>
          <a:prstGeom prst="line">
            <a:avLst/>
          </a:prstGeom>
          <a:noFill/>
          <a:ln w="19050" cap="flat" cmpd="sng" algn="ctr">
            <a:solidFill>
              <a:sysClr val="window" lastClr="FFFFFF"/>
            </a:solidFill>
            <a:prstDash val="solid"/>
            <a:miter lim="800000"/>
          </a:ln>
          <a:effectLst/>
        </p:spPr>
      </p:cxnSp>
      <p:sp>
        <p:nvSpPr>
          <p:cNvPr id="222" name="TextBox 221"/>
          <p:cNvSpPr txBox="1"/>
          <p:nvPr/>
        </p:nvSpPr>
        <p:spPr>
          <a:xfrm>
            <a:off x="8712076" y="4920220"/>
            <a:ext cx="830325" cy="266550"/>
          </a:xfrm>
          <a:prstGeom prst="rect">
            <a:avLst/>
          </a:prstGeom>
          <a:noFill/>
          <a:ln>
            <a:noFill/>
          </a:ln>
        </p:spPr>
        <p:txBody>
          <a:bodyPr wrap="square" lIns="40958" tIns="40958" rIns="40958" bIns="40958" rtlCol="0">
            <a:noAutofit/>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IE" sz="2100" b="1" i="0" u="none" strike="noStrike" kern="0" cap="none" spc="0" normalizeH="0" baseline="0" noProof="0" dirty="0">
                <a:ln>
                  <a:noFill/>
                </a:ln>
                <a:solidFill>
                  <a:prstClr val="white"/>
                </a:solidFill>
                <a:effectLst/>
                <a:uLnTx/>
                <a:uFillTx/>
                <a:latin typeface="Arial"/>
                <a:ea typeface="+mn-ea"/>
                <a:cs typeface="+mn-cs"/>
              </a:rPr>
              <a:t>560</a:t>
            </a:r>
          </a:p>
        </p:txBody>
      </p:sp>
      <p:sp>
        <p:nvSpPr>
          <p:cNvPr id="223" name="TextBox 222"/>
          <p:cNvSpPr txBox="1"/>
          <p:nvPr/>
        </p:nvSpPr>
        <p:spPr>
          <a:xfrm>
            <a:off x="7636692" y="5379883"/>
            <a:ext cx="3999573" cy="498621"/>
          </a:xfrm>
          <a:prstGeom prst="rect">
            <a:avLst/>
          </a:prstGeom>
          <a:noFill/>
        </p:spPr>
        <p:txBody>
          <a:bodyPr wrap="square" lIns="40958" tIns="40958" rIns="40958" bIns="40958" rtlCol="0">
            <a:noAutofit/>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IE" sz="1200" b="1" i="0" u="none" strike="noStrike" kern="0" cap="none" spc="0" normalizeH="0" baseline="0" noProof="0" dirty="0">
                <a:ln>
                  <a:noFill/>
                </a:ln>
                <a:solidFill>
                  <a:prstClr val="white"/>
                </a:solidFill>
                <a:effectLst/>
                <a:uLnTx/>
                <a:uFillTx/>
                <a:latin typeface="Arial"/>
                <a:ea typeface="+mn-ea"/>
                <a:cs typeface="+mn-cs"/>
              </a:rPr>
              <a:t>SPECIALIST GAS TRANSPORTATION TANKERS</a:t>
            </a:r>
          </a:p>
        </p:txBody>
      </p:sp>
      <p:pic>
        <p:nvPicPr>
          <p:cNvPr id="224" name="Picture 223"/>
          <p:cNvPicPr>
            <a:picLocks noChangeAspect="1"/>
          </p:cNvPicPr>
          <p:nvPr/>
        </p:nvPicPr>
        <p:blipFill>
          <a:blip r:embed="rId3">
            <a:duotone>
              <a:prstClr val="black"/>
              <a:srgbClr val="00338D">
                <a:tint val="45000"/>
                <a:satMod val="400000"/>
              </a:srgbClr>
            </a:duotone>
          </a:blip>
          <a:stretch>
            <a:fillRect/>
          </a:stretch>
        </p:blipFill>
        <p:spPr>
          <a:xfrm>
            <a:off x="7455914" y="4247923"/>
            <a:ext cx="428398" cy="474297"/>
          </a:xfrm>
          <a:prstGeom prst="rect">
            <a:avLst/>
          </a:prstGeom>
        </p:spPr>
      </p:pic>
      <p:sp>
        <p:nvSpPr>
          <p:cNvPr id="225" name="TextBox 224"/>
          <p:cNvSpPr txBox="1"/>
          <p:nvPr/>
        </p:nvSpPr>
        <p:spPr>
          <a:xfrm>
            <a:off x="10524352" y="3165952"/>
            <a:ext cx="1348113" cy="138562"/>
          </a:xfrm>
          <a:prstGeom prst="rect">
            <a:avLst/>
          </a:prstGeom>
          <a:noFill/>
        </p:spPr>
        <p:txBody>
          <a:bodyPr wrap="square" lIns="40958" tIns="40958" rIns="40958" bIns="40958" rtlCol="0">
            <a:noAutofit/>
          </a:bodyPr>
          <a:lstStyle/>
          <a:p>
            <a:pPr marL="0" marR="0" lvl="0" indent="0" algn="l" defTabSz="914400" rtl="0" eaLnBrk="1" fontAlgn="auto" latinLnBrk="0" hangingPunct="1">
              <a:lnSpc>
                <a:spcPct val="100000"/>
              </a:lnSpc>
              <a:spcBef>
                <a:spcPts val="0"/>
              </a:spcBef>
              <a:spcAft>
                <a:spcPts val="450"/>
              </a:spcAft>
              <a:buClrTx/>
              <a:buSzTx/>
              <a:buFontTx/>
              <a:buNone/>
              <a:tabLst/>
              <a:defRPr/>
            </a:pPr>
            <a:r>
              <a:rPr kumimoji="0" lang="en-IE" sz="900" b="1" i="0" u="none" strike="noStrike" kern="0" cap="none" spc="0" normalizeH="0" baseline="0" noProof="0" dirty="0">
                <a:ln>
                  <a:noFill/>
                </a:ln>
                <a:solidFill>
                  <a:prstClr val="white"/>
                </a:solidFill>
                <a:effectLst/>
                <a:uLnTx/>
                <a:uFillTx/>
                <a:latin typeface="Arial"/>
                <a:ea typeface="+mn-ea"/>
                <a:cs typeface="+mn-cs"/>
              </a:rPr>
              <a:t>TONNES ANNUALLY</a:t>
            </a:r>
          </a:p>
          <a:p>
            <a:pPr marL="0" marR="0" lvl="0" indent="0" algn="r" defTabSz="914400" rtl="0" eaLnBrk="1" fontAlgn="auto" latinLnBrk="0" hangingPunct="1">
              <a:lnSpc>
                <a:spcPct val="100000"/>
              </a:lnSpc>
              <a:spcBef>
                <a:spcPts val="0"/>
              </a:spcBef>
              <a:spcAft>
                <a:spcPts val="450"/>
              </a:spcAft>
              <a:buClrTx/>
              <a:buSzTx/>
              <a:buFontTx/>
              <a:buNone/>
              <a:tabLst/>
              <a:defRPr/>
            </a:pPr>
            <a:endParaRPr kumimoji="0" lang="en-IE" sz="900" b="0" i="0" u="none" strike="noStrike" kern="0" cap="none" spc="0" normalizeH="0" baseline="0" noProof="0" dirty="0">
              <a:ln>
                <a:noFill/>
              </a:ln>
              <a:solidFill>
                <a:prstClr val="white"/>
              </a:solidFill>
              <a:effectLst/>
              <a:uLnTx/>
              <a:uFillTx/>
              <a:latin typeface="Arial"/>
              <a:ea typeface="+mn-ea"/>
              <a:cs typeface="+mn-cs"/>
            </a:endParaRPr>
          </a:p>
        </p:txBody>
      </p:sp>
      <p:sp>
        <p:nvSpPr>
          <p:cNvPr id="226" name="TextBox 225"/>
          <p:cNvSpPr txBox="1"/>
          <p:nvPr/>
        </p:nvSpPr>
        <p:spPr>
          <a:xfrm>
            <a:off x="9498681" y="3382511"/>
            <a:ext cx="2296260" cy="285187"/>
          </a:xfrm>
          <a:prstGeom prst="rect">
            <a:avLst/>
          </a:prstGeom>
          <a:noFill/>
        </p:spPr>
        <p:txBody>
          <a:bodyPr wrap="square" lIns="40958" tIns="40958" rIns="40958" bIns="40958"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1" i="0" u="none" strike="noStrike" kern="0" cap="none" spc="0" normalizeH="0" baseline="0" noProof="0" dirty="0">
                <a:ln>
                  <a:noFill/>
                </a:ln>
                <a:solidFill>
                  <a:prstClr val="white"/>
                </a:solidFill>
                <a:effectLst/>
                <a:uLnTx/>
                <a:uFillTx/>
                <a:latin typeface="Arial"/>
                <a:ea typeface="+mn-ea"/>
                <a:cs typeface="+mn-cs"/>
              </a:rPr>
              <a:t>SLURRY</a:t>
            </a:r>
            <a:r>
              <a:rPr kumimoji="0" lang="en-IE" sz="1050" b="0" i="0" u="none" strike="noStrike" kern="0" cap="none" spc="0" normalizeH="0" baseline="0" noProof="0" dirty="0">
                <a:ln>
                  <a:noFill/>
                </a:ln>
                <a:solidFill>
                  <a:prstClr val="white"/>
                </a:solidFill>
                <a:effectLst/>
                <a:uLnTx/>
                <a:uFillTx/>
                <a:latin typeface="Arial"/>
                <a:ea typeface="+mn-ea"/>
                <a:cs typeface="+mn-cs"/>
              </a:rPr>
              <a:t> REQUIR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0" u="none" strike="noStrike" kern="0" cap="none" spc="0" normalizeH="0" baseline="0" noProof="0" dirty="0">
                <a:ln>
                  <a:noFill/>
                </a:ln>
                <a:solidFill>
                  <a:prstClr val="white"/>
                </a:solidFill>
                <a:effectLst/>
                <a:uLnTx/>
                <a:uFillTx/>
                <a:latin typeface="Arial"/>
                <a:ea typeface="+mn-ea"/>
                <a:cs typeface="+mn-cs"/>
              </a:rPr>
              <a:t>(or equivalent)</a:t>
            </a:r>
          </a:p>
        </p:txBody>
      </p:sp>
      <p:grpSp>
        <p:nvGrpSpPr>
          <p:cNvPr id="227" name="Group 226"/>
          <p:cNvGrpSpPr/>
          <p:nvPr/>
        </p:nvGrpSpPr>
        <p:grpSpPr>
          <a:xfrm>
            <a:off x="6955892" y="730402"/>
            <a:ext cx="586957" cy="583891"/>
            <a:chOff x="466344" y="1635251"/>
            <a:chExt cx="740918" cy="732029"/>
          </a:xfrm>
        </p:grpSpPr>
        <p:sp>
          <p:nvSpPr>
            <p:cNvPr id="228" name="object 6"/>
            <p:cNvSpPr/>
            <p:nvPr/>
          </p:nvSpPr>
          <p:spPr>
            <a:xfrm>
              <a:off x="1018032" y="1906523"/>
              <a:ext cx="189230" cy="187960"/>
            </a:xfrm>
            <a:custGeom>
              <a:avLst/>
              <a:gdLst/>
              <a:ahLst/>
              <a:cxnLst/>
              <a:rect l="l" t="t" r="r" b="b"/>
              <a:pathLst>
                <a:path w="189230" h="187960">
                  <a:moveTo>
                    <a:pt x="94487" y="0"/>
                  </a:moveTo>
                  <a:lnTo>
                    <a:pt x="57708" y="7358"/>
                  </a:lnTo>
                  <a:lnTo>
                    <a:pt x="27674" y="27432"/>
                  </a:lnTo>
                  <a:lnTo>
                    <a:pt x="7425" y="57221"/>
                  </a:lnTo>
                  <a:lnTo>
                    <a:pt x="0" y="93725"/>
                  </a:lnTo>
                  <a:lnTo>
                    <a:pt x="7425" y="130230"/>
                  </a:lnTo>
                  <a:lnTo>
                    <a:pt x="27674" y="160019"/>
                  </a:lnTo>
                  <a:lnTo>
                    <a:pt x="57708" y="180093"/>
                  </a:lnTo>
                  <a:lnTo>
                    <a:pt x="94487" y="187451"/>
                  </a:lnTo>
                  <a:lnTo>
                    <a:pt x="131267" y="180093"/>
                  </a:lnTo>
                  <a:lnTo>
                    <a:pt x="161301" y="160019"/>
                  </a:lnTo>
                  <a:lnTo>
                    <a:pt x="181550" y="130230"/>
                  </a:lnTo>
                  <a:lnTo>
                    <a:pt x="188976" y="93725"/>
                  </a:lnTo>
                  <a:lnTo>
                    <a:pt x="181550" y="57221"/>
                  </a:lnTo>
                  <a:lnTo>
                    <a:pt x="161301" y="27432"/>
                  </a:lnTo>
                  <a:lnTo>
                    <a:pt x="131267" y="7358"/>
                  </a:lnTo>
                  <a:lnTo>
                    <a:pt x="94487" y="0"/>
                  </a:lnTo>
                  <a:close/>
                </a:path>
              </a:pathLst>
            </a:custGeom>
            <a:solidFill>
              <a:srgbClr val="A1C5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29" name="object 7"/>
            <p:cNvSpPr/>
            <p:nvPr/>
          </p:nvSpPr>
          <p:spPr>
            <a:xfrm>
              <a:off x="1077467" y="1953767"/>
              <a:ext cx="67310" cy="81280"/>
            </a:xfrm>
            <a:custGeom>
              <a:avLst/>
              <a:gdLst/>
              <a:ahLst/>
              <a:cxnLst/>
              <a:rect l="l" t="t" r="r" b="b"/>
              <a:pathLst>
                <a:path w="67309" h="81280">
                  <a:moveTo>
                    <a:pt x="19164" y="0"/>
                  </a:moveTo>
                  <a:lnTo>
                    <a:pt x="0" y="0"/>
                  </a:lnTo>
                  <a:lnTo>
                    <a:pt x="0" y="80772"/>
                  </a:lnTo>
                  <a:lnTo>
                    <a:pt x="19164" y="80772"/>
                  </a:lnTo>
                  <a:lnTo>
                    <a:pt x="19164" y="47498"/>
                  </a:lnTo>
                  <a:lnTo>
                    <a:pt x="67056" y="47498"/>
                  </a:lnTo>
                  <a:lnTo>
                    <a:pt x="67056" y="33274"/>
                  </a:lnTo>
                  <a:lnTo>
                    <a:pt x="19164" y="33274"/>
                  </a:lnTo>
                  <a:lnTo>
                    <a:pt x="19164" y="0"/>
                  </a:lnTo>
                  <a:close/>
                </a:path>
                <a:path w="67309" h="81280">
                  <a:moveTo>
                    <a:pt x="67056" y="47498"/>
                  </a:moveTo>
                  <a:lnTo>
                    <a:pt x="51092" y="47498"/>
                  </a:lnTo>
                  <a:lnTo>
                    <a:pt x="51092" y="80772"/>
                  </a:lnTo>
                  <a:lnTo>
                    <a:pt x="67056" y="80772"/>
                  </a:lnTo>
                  <a:lnTo>
                    <a:pt x="67056" y="47498"/>
                  </a:lnTo>
                  <a:close/>
                </a:path>
                <a:path w="67309" h="81280">
                  <a:moveTo>
                    <a:pt x="67056" y="0"/>
                  </a:moveTo>
                  <a:lnTo>
                    <a:pt x="51092" y="0"/>
                  </a:lnTo>
                  <a:lnTo>
                    <a:pt x="51092" y="33274"/>
                  </a:lnTo>
                  <a:lnTo>
                    <a:pt x="67056" y="33274"/>
                  </a:lnTo>
                  <a:lnTo>
                    <a:pt x="6705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30" name="object 8"/>
            <p:cNvSpPr/>
            <p:nvPr/>
          </p:nvSpPr>
          <p:spPr>
            <a:xfrm>
              <a:off x="914400" y="2001011"/>
              <a:ext cx="104139" cy="0"/>
            </a:xfrm>
            <a:custGeom>
              <a:avLst/>
              <a:gdLst/>
              <a:ahLst/>
              <a:cxnLst/>
              <a:rect l="l" t="t" r="r" b="b"/>
              <a:pathLst>
                <a:path w="104140">
                  <a:moveTo>
                    <a:pt x="0" y="0"/>
                  </a:moveTo>
                  <a:lnTo>
                    <a:pt x="103631" y="0"/>
                  </a:lnTo>
                </a:path>
              </a:pathLst>
            </a:custGeom>
            <a:ln w="30480">
              <a:solidFill>
                <a:srgbClr val="A1C53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31" name="object 9"/>
            <p:cNvSpPr/>
            <p:nvPr/>
          </p:nvSpPr>
          <p:spPr>
            <a:xfrm>
              <a:off x="466344" y="1906523"/>
              <a:ext cx="189230" cy="187960"/>
            </a:xfrm>
            <a:custGeom>
              <a:avLst/>
              <a:gdLst/>
              <a:ahLst/>
              <a:cxnLst/>
              <a:rect l="l" t="t" r="r" b="b"/>
              <a:pathLst>
                <a:path w="189229" h="187960">
                  <a:moveTo>
                    <a:pt x="94487" y="0"/>
                  </a:moveTo>
                  <a:lnTo>
                    <a:pt x="57708" y="7358"/>
                  </a:lnTo>
                  <a:lnTo>
                    <a:pt x="27674" y="27432"/>
                  </a:lnTo>
                  <a:lnTo>
                    <a:pt x="7425" y="57221"/>
                  </a:lnTo>
                  <a:lnTo>
                    <a:pt x="0" y="93725"/>
                  </a:lnTo>
                  <a:lnTo>
                    <a:pt x="7425" y="130230"/>
                  </a:lnTo>
                  <a:lnTo>
                    <a:pt x="27674" y="160019"/>
                  </a:lnTo>
                  <a:lnTo>
                    <a:pt x="57708" y="180093"/>
                  </a:lnTo>
                  <a:lnTo>
                    <a:pt x="94487" y="187451"/>
                  </a:lnTo>
                  <a:lnTo>
                    <a:pt x="131267" y="180093"/>
                  </a:lnTo>
                  <a:lnTo>
                    <a:pt x="161301" y="160019"/>
                  </a:lnTo>
                  <a:lnTo>
                    <a:pt x="181550" y="130230"/>
                  </a:lnTo>
                  <a:lnTo>
                    <a:pt x="188976" y="93725"/>
                  </a:lnTo>
                  <a:lnTo>
                    <a:pt x="181550" y="57221"/>
                  </a:lnTo>
                  <a:lnTo>
                    <a:pt x="161301" y="27432"/>
                  </a:lnTo>
                  <a:lnTo>
                    <a:pt x="131267" y="7358"/>
                  </a:lnTo>
                  <a:lnTo>
                    <a:pt x="94487" y="0"/>
                  </a:lnTo>
                  <a:close/>
                </a:path>
              </a:pathLst>
            </a:custGeom>
            <a:solidFill>
              <a:srgbClr val="A1C5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32" name="object 10"/>
            <p:cNvSpPr/>
            <p:nvPr/>
          </p:nvSpPr>
          <p:spPr>
            <a:xfrm>
              <a:off x="527304" y="1953767"/>
              <a:ext cx="67310" cy="81280"/>
            </a:xfrm>
            <a:custGeom>
              <a:avLst/>
              <a:gdLst/>
              <a:ahLst/>
              <a:cxnLst/>
              <a:rect l="l" t="t" r="r" b="b"/>
              <a:pathLst>
                <a:path w="67309" h="81280">
                  <a:moveTo>
                    <a:pt x="19164" y="0"/>
                  </a:moveTo>
                  <a:lnTo>
                    <a:pt x="0" y="0"/>
                  </a:lnTo>
                  <a:lnTo>
                    <a:pt x="0" y="80772"/>
                  </a:lnTo>
                  <a:lnTo>
                    <a:pt x="19164" y="80772"/>
                  </a:lnTo>
                  <a:lnTo>
                    <a:pt x="19164" y="47498"/>
                  </a:lnTo>
                  <a:lnTo>
                    <a:pt x="67055" y="47498"/>
                  </a:lnTo>
                  <a:lnTo>
                    <a:pt x="67055" y="33274"/>
                  </a:lnTo>
                  <a:lnTo>
                    <a:pt x="19164" y="33274"/>
                  </a:lnTo>
                  <a:lnTo>
                    <a:pt x="19164" y="0"/>
                  </a:lnTo>
                  <a:close/>
                </a:path>
                <a:path w="67309" h="81280">
                  <a:moveTo>
                    <a:pt x="67055" y="47498"/>
                  </a:moveTo>
                  <a:lnTo>
                    <a:pt x="51092" y="47498"/>
                  </a:lnTo>
                  <a:lnTo>
                    <a:pt x="51092" y="80772"/>
                  </a:lnTo>
                  <a:lnTo>
                    <a:pt x="67055" y="80772"/>
                  </a:lnTo>
                  <a:lnTo>
                    <a:pt x="67055" y="47498"/>
                  </a:lnTo>
                  <a:close/>
                </a:path>
                <a:path w="67309" h="81280">
                  <a:moveTo>
                    <a:pt x="67055" y="0"/>
                  </a:moveTo>
                  <a:lnTo>
                    <a:pt x="51092" y="0"/>
                  </a:lnTo>
                  <a:lnTo>
                    <a:pt x="51092" y="33274"/>
                  </a:lnTo>
                  <a:lnTo>
                    <a:pt x="67055" y="33274"/>
                  </a:lnTo>
                  <a:lnTo>
                    <a:pt x="67055"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33" name="object 11"/>
            <p:cNvSpPr/>
            <p:nvPr/>
          </p:nvSpPr>
          <p:spPr>
            <a:xfrm>
              <a:off x="655319" y="2001011"/>
              <a:ext cx="104139" cy="0"/>
            </a:xfrm>
            <a:custGeom>
              <a:avLst/>
              <a:gdLst/>
              <a:ahLst/>
              <a:cxnLst/>
              <a:rect l="l" t="t" r="r" b="b"/>
              <a:pathLst>
                <a:path w="104140">
                  <a:moveTo>
                    <a:pt x="103631" y="0"/>
                  </a:moveTo>
                  <a:lnTo>
                    <a:pt x="0" y="0"/>
                  </a:lnTo>
                </a:path>
              </a:pathLst>
            </a:custGeom>
            <a:ln w="30480">
              <a:solidFill>
                <a:srgbClr val="A1C53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34" name="object 12"/>
            <p:cNvSpPr/>
            <p:nvPr/>
          </p:nvSpPr>
          <p:spPr>
            <a:xfrm>
              <a:off x="739140" y="1635251"/>
              <a:ext cx="189230" cy="189230"/>
            </a:xfrm>
            <a:custGeom>
              <a:avLst/>
              <a:gdLst/>
              <a:ahLst/>
              <a:cxnLst/>
              <a:rect l="l" t="t" r="r" b="b"/>
              <a:pathLst>
                <a:path w="189230" h="189230">
                  <a:moveTo>
                    <a:pt x="94487" y="0"/>
                  </a:moveTo>
                  <a:lnTo>
                    <a:pt x="57708" y="7423"/>
                  </a:lnTo>
                  <a:lnTo>
                    <a:pt x="27674" y="27670"/>
                  </a:lnTo>
                  <a:lnTo>
                    <a:pt x="7425" y="57703"/>
                  </a:lnTo>
                  <a:lnTo>
                    <a:pt x="0" y="94487"/>
                  </a:lnTo>
                  <a:lnTo>
                    <a:pt x="7425" y="131272"/>
                  </a:lnTo>
                  <a:lnTo>
                    <a:pt x="27674" y="161305"/>
                  </a:lnTo>
                  <a:lnTo>
                    <a:pt x="57708" y="181552"/>
                  </a:lnTo>
                  <a:lnTo>
                    <a:pt x="94487" y="188975"/>
                  </a:lnTo>
                  <a:lnTo>
                    <a:pt x="131267" y="181552"/>
                  </a:lnTo>
                  <a:lnTo>
                    <a:pt x="161301" y="161305"/>
                  </a:lnTo>
                  <a:lnTo>
                    <a:pt x="181550" y="131272"/>
                  </a:lnTo>
                  <a:lnTo>
                    <a:pt x="188975" y="94487"/>
                  </a:lnTo>
                  <a:lnTo>
                    <a:pt x="181550" y="57703"/>
                  </a:lnTo>
                  <a:lnTo>
                    <a:pt x="161301" y="27670"/>
                  </a:lnTo>
                  <a:lnTo>
                    <a:pt x="131267" y="7423"/>
                  </a:lnTo>
                  <a:lnTo>
                    <a:pt x="94487" y="0"/>
                  </a:lnTo>
                  <a:close/>
                </a:path>
              </a:pathLst>
            </a:custGeom>
            <a:solidFill>
              <a:srgbClr val="A1C5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35" name="object 13"/>
            <p:cNvSpPr/>
            <p:nvPr/>
          </p:nvSpPr>
          <p:spPr>
            <a:xfrm>
              <a:off x="801623" y="1684020"/>
              <a:ext cx="64135" cy="78105"/>
            </a:xfrm>
            <a:custGeom>
              <a:avLst/>
              <a:gdLst/>
              <a:ahLst/>
              <a:cxnLst/>
              <a:rect l="l" t="t" r="r" b="b"/>
              <a:pathLst>
                <a:path w="64134" h="78105">
                  <a:moveTo>
                    <a:pt x="16001" y="0"/>
                  </a:moveTo>
                  <a:lnTo>
                    <a:pt x="0" y="0"/>
                  </a:lnTo>
                  <a:lnTo>
                    <a:pt x="0" y="77724"/>
                  </a:lnTo>
                  <a:lnTo>
                    <a:pt x="16001" y="77724"/>
                  </a:lnTo>
                  <a:lnTo>
                    <a:pt x="16001" y="44450"/>
                  </a:lnTo>
                  <a:lnTo>
                    <a:pt x="64007" y="44450"/>
                  </a:lnTo>
                  <a:lnTo>
                    <a:pt x="64007" y="30099"/>
                  </a:lnTo>
                  <a:lnTo>
                    <a:pt x="16001" y="30099"/>
                  </a:lnTo>
                  <a:lnTo>
                    <a:pt x="16001" y="0"/>
                  </a:lnTo>
                  <a:close/>
                </a:path>
                <a:path w="64134" h="78105">
                  <a:moveTo>
                    <a:pt x="64007" y="44450"/>
                  </a:moveTo>
                  <a:lnTo>
                    <a:pt x="48006" y="44450"/>
                  </a:lnTo>
                  <a:lnTo>
                    <a:pt x="48006" y="77724"/>
                  </a:lnTo>
                  <a:lnTo>
                    <a:pt x="64007" y="77724"/>
                  </a:lnTo>
                  <a:lnTo>
                    <a:pt x="64007" y="44450"/>
                  </a:lnTo>
                  <a:close/>
                </a:path>
                <a:path w="64134" h="78105">
                  <a:moveTo>
                    <a:pt x="64007" y="0"/>
                  </a:moveTo>
                  <a:lnTo>
                    <a:pt x="48006" y="0"/>
                  </a:lnTo>
                  <a:lnTo>
                    <a:pt x="48006" y="30099"/>
                  </a:lnTo>
                  <a:lnTo>
                    <a:pt x="64007" y="30099"/>
                  </a:lnTo>
                  <a:lnTo>
                    <a:pt x="6400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36" name="object 14"/>
            <p:cNvSpPr/>
            <p:nvPr/>
          </p:nvSpPr>
          <p:spPr>
            <a:xfrm>
              <a:off x="833627" y="1821179"/>
              <a:ext cx="0" cy="102235"/>
            </a:xfrm>
            <a:custGeom>
              <a:avLst/>
              <a:gdLst/>
              <a:ahLst/>
              <a:cxnLst/>
              <a:rect l="l" t="t" r="r" b="b"/>
              <a:pathLst>
                <a:path h="102235">
                  <a:moveTo>
                    <a:pt x="0" y="102108"/>
                  </a:moveTo>
                  <a:lnTo>
                    <a:pt x="0" y="0"/>
                  </a:lnTo>
                </a:path>
              </a:pathLst>
            </a:custGeom>
            <a:ln w="30480">
              <a:solidFill>
                <a:srgbClr val="A1C53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37" name="object 15"/>
            <p:cNvSpPr/>
            <p:nvPr/>
          </p:nvSpPr>
          <p:spPr>
            <a:xfrm>
              <a:off x="739140" y="2179320"/>
              <a:ext cx="189230" cy="187960"/>
            </a:xfrm>
            <a:custGeom>
              <a:avLst/>
              <a:gdLst/>
              <a:ahLst/>
              <a:cxnLst/>
              <a:rect l="l" t="t" r="r" b="b"/>
              <a:pathLst>
                <a:path w="189230" h="187960">
                  <a:moveTo>
                    <a:pt x="94487" y="0"/>
                  </a:moveTo>
                  <a:lnTo>
                    <a:pt x="57708" y="7358"/>
                  </a:lnTo>
                  <a:lnTo>
                    <a:pt x="27674" y="27431"/>
                  </a:lnTo>
                  <a:lnTo>
                    <a:pt x="7425" y="57221"/>
                  </a:lnTo>
                  <a:lnTo>
                    <a:pt x="0" y="93725"/>
                  </a:lnTo>
                  <a:lnTo>
                    <a:pt x="7425" y="130230"/>
                  </a:lnTo>
                  <a:lnTo>
                    <a:pt x="27674" y="160019"/>
                  </a:lnTo>
                  <a:lnTo>
                    <a:pt x="57708" y="180093"/>
                  </a:lnTo>
                  <a:lnTo>
                    <a:pt x="94487" y="187451"/>
                  </a:lnTo>
                  <a:lnTo>
                    <a:pt x="131267" y="180093"/>
                  </a:lnTo>
                  <a:lnTo>
                    <a:pt x="161301" y="160019"/>
                  </a:lnTo>
                  <a:lnTo>
                    <a:pt x="181550" y="130230"/>
                  </a:lnTo>
                  <a:lnTo>
                    <a:pt x="188975" y="93725"/>
                  </a:lnTo>
                  <a:lnTo>
                    <a:pt x="181550" y="57221"/>
                  </a:lnTo>
                  <a:lnTo>
                    <a:pt x="161301" y="27431"/>
                  </a:lnTo>
                  <a:lnTo>
                    <a:pt x="131267" y="7358"/>
                  </a:lnTo>
                  <a:lnTo>
                    <a:pt x="94487" y="0"/>
                  </a:lnTo>
                  <a:close/>
                </a:path>
              </a:pathLst>
            </a:custGeom>
            <a:solidFill>
              <a:srgbClr val="A1C5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38" name="object 16"/>
            <p:cNvSpPr/>
            <p:nvPr/>
          </p:nvSpPr>
          <p:spPr>
            <a:xfrm>
              <a:off x="801623" y="2226564"/>
              <a:ext cx="64135" cy="82550"/>
            </a:xfrm>
            <a:custGeom>
              <a:avLst/>
              <a:gdLst/>
              <a:ahLst/>
              <a:cxnLst/>
              <a:rect l="l" t="t" r="r" b="b"/>
              <a:pathLst>
                <a:path w="64134" h="82550">
                  <a:moveTo>
                    <a:pt x="16001" y="0"/>
                  </a:moveTo>
                  <a:lnTo>
                    <a:pt x="0" y="0"/>
                  </a:lnTo>
                  <a:lnTo>
                    <a:pt x="0" y="82296"/>
                  </a:lnTo>
                  <a:lnTo>
                    <a:pt x="16001" y="82296"/>
                  </a:lnTo>
                  <a:lnTo>
                    <a:pt x="16001" y="48387"/>
                  </a:lnTo>
                  <a:lnTo>
                    <a:pt x="64007" y="48387"/>
                  </a:lnTo>
                  <a:lnTo>
                    <a:pt x="64007" y="33909"/>
                  </a:lnTo>
                  <a:lnTo>
                    <a:pt x="16001" y="33909"/>
                  </a:lnTo>
                  <a:lnTo>
                    <a:pt x="16001" y="0"/>
                  </a:lnTo>
                  <a:close/>
                </a:path>
                <a:path w="64134" h="82550">
                  <a:moveTo>
                    <a:pt x="64007" y="48387"/>
                  </a:moveTo>
                  <a:lnTo>
                    <a:pt x="48006" y="48387"/>
                  </a:lnTo>
                  <a:lnTo>
                    <a:pt x="48006" y="82296"/>
                  </a:lnTo>
                  <a:lnTo>
                    <a:pt x="64007" y="82296"/>
                  </a:lnTo>
                  <a:lnTo>
                    <a:pt x="64007" y="48387"/>
                  </a:lnTo>
                  <a:close/>
                </a:path>
                <a:path w="64134" h="82550">
                  <a:moveTo>
                    <a:pt x="64007" y="0"/>
                  </a:moveTo>
                  <a:lnTo>
                    <a:pt x="48006" y="0"/>
                  </a:lnTo>
                  <a:lnTo>
                    <a:pt x="48006" y="33909"/>
                  </a:lnTo>
                  <a:lnTo>
                    <a:pt x="64007" y="33909"/>
                  </a:lnTo>
                  <a:lnTo>
                    <a:pt x="6400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39" name="object 17"/>
            <p:cNvSpPr/>
            <p:nvPr/>
          </p:nvSpPr>
          <p:spPr>
            <a:xfrm>
              <a:off x="833627" y="2080260"/>
              <a:ext cx="0" cy="100965"/>
            </a:xfrm>
            <a:custGeom>
              <a:avLst/>
              <a:gdLst/>
              <a:ahLst/>
              <a:cxnLst/>
              <a:rect l="l" t="t" r="r" b="b"/>
              <a:pathLst>
                <a:path h="100964">
                  <a:moveTo>
                    <a:pt x="0" y="0"/>
                  </a:moveTo>
                  <a:lnTo>
                    <a:pt x="0" y="100584"/>
                  </a:lnTo>
                </a:path>
              </a:pathLst>
            </a:custGeom>
            <a:ln w="30480">
              <a:solidFill>
                <a:srgbClr val="A1C53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40" name="object 18"/>
            <p:cNvSpPr/>
            <p:nvPr/>
          </p:nvSpPr>
          <p:spPr>
            <a:xfrm>
              <a:off x="702563" y="1871472"/>
              <a:ext cx="260985" cy="257810"/>
            </a:xfrm>
            <a:custGeom>
              <a:avLst/>
              <a:gdLst/>
              <a:ahLst/>
              <a:cxnLst/>
              <a:rect l="l" t="t" r="r" b="b"/>
              <a:pathLst>
                <a:path w="260984" h="257810">
                  <a:moveTo>
                    <a:pt x="130301" y="0"/>
                  </a:moveTo>
                  <a:lnTo>
                    <a:pt x="79584" y="10120"/>
                  </a:lnTo>
                  <a:lnTo>
                    <a:pt x="38166" y="37718"/>
                  </a:lnTo>
                  <a:lnTo>
                    <a:pt x="10240" y="78652"/>
                  </a:lnTo>
                  <a:lnTo>
                    <a:pt x="0" y="128777"/>
                  </a:lnTo>
                  <a:lnTo>
                    <a:pt x="10240" y="178903"/>
                  </a:lnTo>
                  <a:lnTo>
                    <a:pt x="38166" y="219837"/>
                  </a:lnTo>
                  <a:lnTo>
                    <a:pt x="79584" y="247435"/>
                  </a:lnTo>
                  <a:lnTo>
                    <a:pt x="130301" y="257555"/>
                  </a:lnTo>
                  <a:lnTo>
                    <a:pt x="181019" y="247435"/>
                  </a:lnTo>
                  <a:lnTo>
                    <a:pt x="222437" y="219837"/>
                  </a:lnTo>
                  <a:lnTo>
                    <a:pt x="250363" y="178903"/>
                  </a:lnTo>
                  <a:lnTo>
                    <a:pt x="260604" y="128777"/>
                  </a:lnTo>
                  <a:lnTo>
                    <a:pt x="250363" y="78652"/>
                  </a:lnTo>
                  <a:lnTo>
                    <a:pt x="222437" y="37718"/>
                  </a:lnTo>
                  <a:lnTo>
                    <a:pt x="181019" y="10120"/>
                  </a:lnTo>
                  <a:lnTo>
                    <a:pt x="130301" y="0"/>
                  </a:lnTo>
                  <a:close/>
                </a:path>
              </a:pathLst>
            </a:custGeom>
            <a:solidFill>
              <a:srgbClr val="A1C5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41" name="object 19"/>
            <p:cNvSpPr/>
            <p:nvPr/>
          </p:nvSpPr>
          <p:spPr>
            <a:xfrm>
              <a:off x="781812" y="1927860"/>
              <a:ext cx="97790" cy="134620"/>
            </a:xfrm>
            <a:custGeom>
              <a:avLst/>
              <a:gdLst/>
              <a:ahLst/>
              <a:cxnLst/>
              <a:rect l="l" t="t" r="r" b="b"/>
              <a:pathLst>
                <a:path w="97790" h="134619">
                  <a:moveTo>
                    <a:pt x="59715" y="0"/>
                  </a:moveTo>
                  <a:lnTo>
                    <a:pt x="21086" y="12858"/>
                  </a:lnTo>
                  <a:lnTo>
                    <a:pt x="1493" y="48561"/>
                  </a:lnTo>
                  <a:lnTo>
                    <a:pt x="0" y="68072"/>
                  </a:lnTo>
                  <a:lnTo>
                    <a:pt x="776" y="82305"/>
                  </a:lnTo>
                  <a:lnTo>
                    <a:pt x="22175" y="123985"/>
                  </a:lnTo>
                  <a:lnTo>
                    <a:pt x="57721" y="134112"/>
                  </a:lnTo>
                  <a:lnTo>
                    <a:pt x="66682" y="133701"/>
                  </a:lnTo>
                  <a:lnTo>
                    <a:pt x="75641" y="132349"/>
                  </a:lnTo>
                  <a:lnTo>
                    <a:pt x="84599" y="129879"/>
                  </a:lnTo>
                  <a:lnTo>
                    <a:pt x="93560" y="126111"/>
                  </a:lnTo>
                  <a:lnTo>
                    <a:pt x="93560" y="110109"/>
                  </a:lnTo>
                  <a:lnTo>
                    <a:pt x="59715" y="110109"/>
                  </a:lnTo>
                  <a:lnTo>
                    <a:pt x="45501" y="107487"/>
                  </a:lnTo>
                  <a:lnTo>
                    <a:pt x="35579" y="99615"/>
                  </a:lnTo>
                  <a:lnTo>
                    <a:pt x="29761" y="86481"/>
                  </a:lnTo>
                  <a:lnTo>
                    <a:pt x="27863" y="68072"/>
                  </a:lnTo>
                  <a:lnTo>
                    <a:pt x="28273" y="57953"/>
                  </a:lnTo>
                  <a:lnTo>
                    <a:pt x="52621" y="24731"/>
                  </a:lnTo>
                  <a:lnTo>
                    <a:pt x="59715" y="24002"/>
                  </a:lnTo>
                  <a:lnTo>
                    <a:pt x="92472" y="24002"/>
                  </a:lnTo>
                  <a:lnTo>
                    <a:pt x="97535" y="10032"/>
                  </a:lnTo>
                  <a:lnTo>
                    <a:pt x="88268" y="5947"/>
                  </a:lnTo>
                  <a:lnTo>
                    <a:pt x="78625" y="2778"/>
                  </a:lnTo>
                  <a:lnTo>
                    <a:pt x="68982" y="728"/>
                  </a:lnTo>
                  <a:lnTo>
                    <a:pt x="59715" y="0"/>
                  </a:lnTo>
                  <a:close/>
                </a:path>
                <a:path w="97790" h="134619">
                  <a:moveTo>
                    <a:pt x="93560" y="104139"/>
                  </a:moveTo>
                  <a:lnTo>
                    <a:pt x="83789" y="106733"/>
                  </a:lnTo>
                  <a:lnTo>
                    <a:pt x="75142" y="108600"/>
                  </a:lnTo>
                  <a:lnTo>
                    <a:pt x="67243" y="109729"/>
                  </a:lnTo>
                  <a:lnTo>
                    <a:pt x="59715" y="110109"/>
                  </a:lnTo>
                  <a:lnTo>
                    <a:pt x="93560" y="110109"/>
                  </a:lnTo>
                  <a:lnTo>
                    <a:pt x="93560" y="104139"/>
                  </a:lnTo>
                  <a:close/>
                </a:path>
                <a:path w="97790" h="134619">
                  <a:moveTo>
                    <a:pt x="92472" y="24002"/>
                  </a:moveTo>
                  <a:lnTo>
                    <a:pt x="69672" y="24002"/>
                  </a:lnTo>
                  <a:lnTo>
                    <a:pt x="73647" y="26035"/>
                  </a:lnTo>
                  <a:lnTo>
                    <a:pt x="79616" y="28066"/>
                  </a:lnTo>
                  <a:lnTo>
                    <a:pt x="83604" y="29972"/>
                  </a:lnTo>
                  <a:lnTo>
                    <a:pt x="89573" y="32003"/>
                  </a:lnTo>
                  <a:lnTo>
                    <a:pt x="92472" y="2400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grpSp>
      <p:sp>
        <p:nvSpPr>
          <p:cNvPr id="242" name="object 79"/>
          <p:cNvSpPr/>
          <p:nvPr/>
        </p:nvSpPr>
        <p:spPr>
          <a:xfrm>
            <a:off x="6715195" y="2890094"/>
            <a:ext cx="501554" cy="300994"/>
          </a:xfrm>
          <a:custGeom>
            <a:avLst/>
            <a:gdLst/>
            <a:ahLst/>
            <a:cxnLst/>
            <a:rect l="l" t="t" r="r" b="b"/>
            <a:pathLst>
              <a:path w="711200" h="711200">
                <a:moveTo>
                  <a:pt x="177800" y="178104"/>
                </a:moveTo>
                <a:lnTo>
                  <a:pt x="0" y="355600"/>
                </a:lnTo>
                <a:lnTo>
                  <a:pt x="0" y="711200"/>
                </a:lnTo>
                <a:lnTo>
                  <a:pt x="88900" y="711200"/>
                </a:lnTo>
                <a:lnTo>
                  <a:pt x="88900" y="533400"/>
                </a:lnTo>
                <a:lnTo>
                  <a:pt x="711200" y="533400"/>
                </a:lnTo>
                <a:lnTo>
                  <a:pt x="711200" y="355600"/>
                </a:lnTo>
                <a:lnTo>
                  <a:pt x="177800" y="355600"/>
                </a:lnTo>
                <a:lnTo>
                  <a:pt x="177800" y="178104"/>
                </a:lnTo>
                <a:close/>
              </a:path>
              <a:path w="711200" h="711200">
                <a:moveTo>
                  <a:pt x="711200" y="533400"/>
                </a:moveTo>
                <a:lnTo>
                  <a:pt x="177800" y="533400"/>
                </a:lnTo>
                <a:lnTo>
                  <a:pt x="177800" y="711200"/>
                </a:lnTo>
                <a:lnTo>
                  <a:pt x="711200" y="711200"/>
                </a:lnTo>
                <a:lnTo>
                  <a:pt x="711200" y="533400"/>
                </a:lnTo>
                <a:close/>
              </a:path>
              <a:path w="711200" h="711200">
                <a:moveTo>
                  <a:pt x="355600" y="178104"/>
                </a:moveTo>
                <a:lnTo>
                  <a:pt x="177800" y="355600"/>
                </a:lnTo>
                <a:lnTo>
                  <a:pt x="355600" y="355600"/>
                </a:lnTo>
                <a:lnTo>
                  <a:pt x="355600" y="178104"/>
                </a:lnTo>
                <a:close/>
              </a:path>
              <a:path w="711200" h="711200">
                <a:moveTo>
                  <a:pt x="521131" y="0"/>
                </a:moveTo>
                <a:lnTo>
                  <a:pt x="457200" y="0"/>
                </a:lnTo>
                <a:lnTo>
                  <a:pt x="431800" y="355600"/>
                </a:lnTo>
                <a:lnTo>
                  <a:pt x="546100" y="355600"/>
                </a:lnTo>
                <a:lnTo>
                  <a:pt x="521131" y="0"/>
                </a:lnTo>
                <a:close/>
              </a:path>
              <a:path w="711200" h="711200">
                <a:moveTo>
                  <a:pt x="660831" y="0"/>
                </a:moveTo>
                <a:lnTo>
                  <a:pt x="596900" y="0"/>
                </a:lnTo>
                <a:lnTo>
                  <a:pt x="571500" y="355600"/>
                </a:lnTo>
                <a:lnTo>
                  <a:pt x="685800" y="355600"/>
                </a:lnTo>
                <a:lnTo>
                  <a:pt x="660831" y="0"/>
                </a:lnTo>
                <a:close/>
              </a:path>
            </a:pathLst>
          </a:custGeom>
          <a:solidFill>
            <a:srgbClr val="0091D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pic>
        <p:nvPicPr>
          <p:cNvPr id="243" name="Picture 242"/>
          <p:cNvPicPr>
            <a:picLocks noChangeAspect="1"/>
          </p:cNvPicPr>
          <p:nvPr/>
        </p:nvPicPr>
        <p:blipFill>
          <a:blip r:embed="rId4"/>
          <a:stretch>
            <a:fillRect/>
          </a:stretch>
        </p:blipFill>
        <p:spPr>
          <a:xfrm>
            <a:off x="9715839" y="2842707"/>
            <a:ext cx="452849" cy="452849"/>
          </a:xfrm>
          <a:prstGeom prst="rect">
            <a:avLst/>
          </a:prstGeom>
        </p:spPr>
      </p:pic>
      <p:sp>
        <p:nvSpPr>
          <p:cNvPr id="244" name="object 77"/>
          <p:cNvSpPr/>
          <p:nvPr/>
        </p:nvSpPr>
        <p:spPr>
          <a:xfrm>
            <a:off x="6767262" y="5030401"/>
            <a:ext cx="301552" cy="426714"/>
          </a:xfrm>
          <a:custGeom>
            <a:avLst/>
            <a:gdLst/>
            <a:ahLst/>
            <a:cxnLst/>
            <a:rect l="l" t="t" r="r" b="b"/>
            <a:pathLst>
              <a:path w="584200" h="702310">
                <a:moveTo>
                  <a:pt x="292103" y="0"/>
                </a:moveTo>
                <a:lnTo>
                  <a:pt x="247393" y="3422"/>
                </a:lnTo>
                <a:lnTo>
                  <a:pt x="203534" y="13690"/>
                </a:lnTo>
                <a:lnTo>
                  <a:pt x="161375" y="30802"/>
                </a:lnTo>
                <a:lnTo>
                  <a:pt x="121768" y="54760"/>
                </a:lnTo>
                <a:lnTo>
                  <a:pt x="85563" y="85563"/>
                </a:lnTo>
                <a:lnTo>
                  <a:pt x="54760" y="121768"/>
                </a:lnTo>
                <a:lnTo>
                  <a:pt x="30802" y="161375"/>
                </a:lnTo>
                <a:lnTo>
                  <a:pt x="13690" y="203534"/>
                </a:lnTo>
                <a:lnTo>
                  <a:pt x="3422" y="247393"/>
                </a:lnTo>
                <a:lnTo>
                  <a:pt x="0" y="292103"/>
                </a:lnTo>
                <a:lnTo>
                  <a:pt x="855" y="314511"/>
                </a:lnTo>
                <a:lnTo>
                  <a:pt x="7700" y="358901"/>
                </a:lnTo>
                <a:lnTo>
                  <a:pt x="21390" y="402016"/>
                </a:lnTo>
                <a:lnTo>
                  <a:pt x="41925" y="443006"/>
                </a:lnTo>
                <a:lnTo>
                  <a:pt x="69306" y="481018"/>
                </a:lnTo>
                <a:lnTo>
                  <a:pt x="292103" y="701843"/>
                </a:lnTo>
                <a:lnTo>
                  <a:pt x="498643" y="498643"/>
                </a:lnTo>
                <a:lnTo>
                  <a:pt x="514900" y="481018"/>
                </a:lnTo>
                <a:lnTo>
                  <a:pt x="529445" y="462437"/>
                </a:lnTo>
                <a:lnTo>
                  <a:pt x="541574" y="444075"/>
                </a:lnTo>
                <a:lnTo>
                  <a:pt x="303591" y="444075"/>
                </a:lnTo>
                <a:lnTo>
                  <a:pt x="287599" y="443495"/>
                </a:lnTo>
                <a:lnTo>
                  <a:pt x="243242" y="434394"/>
                </a:lnTo>
                <a:lnTo>
                  <a:pt x="205244" y="415456"/>
                </a:lnTo>
                <a:lnTo>
                  <a:pt x="174810" y="388238"/>
                </a:lnTo>
                <a:lnTo>
                  <a:pt x="153143" y="354294"/>
                </a:lnTo>
                <a:lnTo>
                  <a:pt x="141448" y="315181"/>
                </a:lnTo>
                <a:lnTo>
                  <a:pt x="139974" y="301262"/>
                </a:lnTo>
                <a:lnTo>
                  <a:pt x="140589" y="285520"/>
                </a:lnTo>
                <a:lnTo>
                  <a:pt x="149895" y="241725"/>
                </a:lnTo>
                <a:lnTo>
                  <a:pt x="169159" y="204090"/>
                </a:lnTo>
                <a:lnTo>
                  <a:pt x="196792" y="173919"/>
                </a:lnTo>
                <a:lnTo>
                  <a:pt x="231206" y="152516"/>
                </a:lnTo>
                <a:lnTo>
                  <a:pt x="270811" y="141184"/>
                </a:lnTo>
                <a:lnTo>
                  <a:pt x="292103" y="139703"/>
                </a:lnTo>
                <a:lnTo>
                  <a:pt x="541291" y="139703"/>
                </a:lnTo>
                <a:lnTo>
                  <a:pt x="529445" y="121768"/>
                </a:lnTo>
                <a:lnTo>
                  <a:pt x="498643" y="85563"/>
                </a:lnTo>
                <a:lnTo>
                  <a:pt x="462437" y="54760"/>
                </a:lnTo>
                <a:lnTo>
                  <a:pt x="422830" y="30802"/>
                </a:lnTo>
                <a:lnTo>
                  <a:pt x="380671" y="13690"/>
                </a:lnTo>
                <a:lnTo>
                  <a:pt x="336812" y="3422"/>
                </a:lnTo>
                <a:lnTo>
                  <a:pt x="314511" y="855"/>
                </a:lnTo>
                <a:lnTo>
                  <a:pt x="292103" y="0"/>
                </a:lnTo>
                <a:close/>
              </a:path>
              <a:path w="584200" h="702310">
                <a:moveTo>
                  <a:pt x="541291" y="139703"/>
                </a:moveTo>
                <a:lnTo>
                  <a:pt x="292103" y="139703"/>
                </a:lnTo>
                <a:lnTo>
                  <a:pt x="306804" y="140403"/>
                </a:lnTo>
                <a:lnTo>
                  <a:pt x="321110" y="142460"/>
                </a:lnTo>
                <a:lnTo>
                  <a:pt x="361008" y="156135"/>
                </a:lnTo>
                <a:lnTo>
                  <a:pt x="395030" y="179714"/>
                </a:lnTo>
                <a:lnTo>
                  <a:pt x="421442" y="211464"/>
                </a:lnTo>
                <a:lnTo>
                  <a:pt x="438511" y="249651"/>
                </a:lnTo>
                <a:lnTo>
                  <a:pt x="443843" y="277829"/>
                </a:lnTo>
                <a:lnTo>
                  <a:pt x="443312" y="294110"/>
                </a:lnTo>
                <a:lnTo>
                  <a:pt x="434470" y="339127"/>
                </a:lnTo>
                <a:lnTo>
                  <a:pt x="415904" y="377594"/>
                </a:lnTo>
                <a:lnTo>
                  <a:pt x="389215" y="408304"/>
                </a:lnTo>
                <a:lnTo>
                  <a:pt x="355837" y="430286"/>
                </a:lnTo>
                <a:lnTo>
                  <a:pt x="317313" y="442412"/>
                </a:lnTo>
                <a:lnTo>
                  <a:pt x="303591" y="444075"/>
                </a:lnTo>
                <a:lnTo>
                  <a:pt x="541574" y="444075"/>
                </a:lnTo>
                <a:lnTo>
                  <a:pt x="562815" y="402016"/>
                </a:lnTo>
                <a:lnTo>
                  <a:pt x="576505" y="358901"/>
                </a:lnTo>
                <a:lnTo>
                  <a:pt x="583350" y="314511"/>
                </a:lnTo>
                <a:lnTo>
                  <a:pt x="584206" y="292103"/>
                </a:lnTo>
                <a:lnTo>
                  <a:pt x="583350" y="269695"/>
                </a:lnTo>
                <a:lnTo>
                  <a:pt x="576505" y="225304"/>
                </a:lnTo>
                <a:lnTo>
                  <a:pt x="562815" y="182189"/>
                </a:lnTo>
                <a:lnTo>
                  <a:pt x="542270" y="141184"/>
                </a:lnTo>
                <a:lnTo>
                  <a:pt x="541291" y="139703"/>
                </a:lnTo>
                <a:close/>
              </a:path>
            </a:pathLst>
          </a:custGeom>
          <a:solidFill>
            <a:srgbClr val="43B02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45" name="object 77"/>
          <p:cNvSpPr/>
          <p:nvPr/>
        </p:nvSpPr>
        <p:spPr>
          <a:xfrm>
            <a:off x="7102261" y="5145709"/>
            <a:ext cx="301552" cy="426714"/>
          </a:xfrm>
          <a:custGeom>
            <a:avLst/>
            <a:gdLst/>
            <a:ahLst/>
            <a:cxnLst/>
            <a:rect l="l" t="t" r="r" b="b"/>
            <a:pathLst>
              <a:path w="584200" h="702310">
                <a:moveTo>
                  <a:pt x="292103" y="0"/>
                </a:moveTo>
                <a:lnTo>
                  <a:pt x="247393" y="3422"/>
                </a:lnTo>
                <a:lnTo>
                  <a:pt x="203534" y="13690"/>
                </a:lnTo>
                <a:lnTo>
                  <a:pt x="161375" y="30802"/>
                </a:lnTo>
                <a:lnTo>
                  <a:pt x="121768" y="54760"/>
                </a:lnTo>
                <a:lnTo>
                  <a:pt x="85563" y="85563"/>
                </a:lnTo>
                <a:lnTo>
                  <a:pt x="54760" y="121768"/>
                </a:lnTo>
                <a:lnTo>
                  <a:pt x="30802" y="161375"/>
                </a:lnTo>
                <a:lnTo>
                  <a:pt x="13690" y="203534"/>
                </a:lnTo>
                <a:lnTo>
                  <a:pt x="3422" y="247393"/>
                </a:lnTo>
                <a:lnTo>
                  <a:pt x="0" y="292103"/>
                </a:lnTo>
                <a:lnTo>
                  <a:pt x="855" y="314511"/>
                </a:lnTo>
                <a:lnTo>
                  <a:pt x="7700" y="358901"/>
                </a:lnTo>
                <a:lnTo>
                  <a:pt x="21390" y="402016"/>
                </a:lnTo>
                <a:lnTo>
                  <a:pt x="41925" y="443006"/>
                </a:lnTo>
                <a:lnTo>
                  <a:pt x="69306" y="481018"/>
                </a:lnTo>
                <a:lnTo>
                  <a:pt x="292103" y="701843"/>
                </a:lnTo>
                <a:lnTo>
                  <a:pt x="498643" y="498643"/>
                </a:lnTo>
                <a:lnTo>
                  <a:pt x="514900" y="481018"/>
                </a:lnTo>
                <a:lnTo>
                  <a:pt x="529445" y="462437"/>
                </a:lnTo>
                <a:lnTo>
                  <a:pt x="541574" y="444075"/>
                </a:lnTo>
                <a:lnTo>
                  <a:pt x="303591" y="444075"/>
                </a:lnTo>
                <a:lnTo>
                  <a:pt x="287599" y="443495"/>
                </a:lnTo>
                <a:lnTo>
                  <a:pt x="243242" y="434394"/>
                </a:lnTo>
                <a:lnTo>
                  <a:pt x="205244" y="415456"/>
                </a:lnTo>
                <a:lnTo>
                  <a:pt x="174810" y="388238"/>
                </a:lnTo>
                <a:lnTo>
                  <a:pt x="153143" y="354294"/>
                </a:lnTo>
                <a:lnTo>
                  <a:pt x="141448" y="315181"/>
                </a:lnTo>
                <a:lnTo>
                  <a:pt x="139974" y="301262"/>
                </a:lnTo>
                <a:lnTo>
                  <a:pt x="140589" y="285520"/>
                </a:lnTo>
                <a:lnTo>
                  <a:pt x="149895" y="241725"/>
                </a:lnTo>
                <a:lnTo>
                  <a:pt x="169159" y="204090"/>
                </a:lnTo>
                <a:lnTo>
                  <a:pt x="196792" y="173919"/>
                </a:lnTo>
                <a:lnTo>
                  <a:pt x="231206" y="152516"/>
                </a:lnTo>
                <a:lnTo>
                  <a:pt x="270811" y="141184"/>
                </a:lnTo>
                <a:lnTo>
                  <a:pt x="292103" y="139703"/>
                </a:lnTo>
                <a:lnTo>
                  <a:pt x="541291" y="139703"/>
                </a:lnTo>
                <a:lnTo>
                  <a:pt x="529445" y="121768"/>
                </a:lnTo>
                <a:lnTo>
                  <a:pt x="498643" y="85563"/>
                </a:lnTo>
                <a:lnTo>
                  <a:pt x="462437" y="54760"/>
                </a:lnTo>
                <a:lnTo>
                  <a:pt x="422830" y="30802"/>
                </a:lnTo>
                <a:lnTo>
                  <a:pt x="380671" y="13690"/>
                </a:lnTo>
                <a:lnTo>
                  <a:pt x="336812" y="3422"/>
                </a:lnTo>
                <a:lnTo>
                  <a:pt x="314511" y="855"/>
                </a:lnTo>
                <a:lnTo>
                  <a:pt x="292103" y="0"/>
                </a:lnTo>
                <a:close/>
              </a:path>
              <a:path w="584200" h="702310">
                <a:moveTo>
                  <a:pt x="541291" y="139703"/>
                </a:moveTo>
                <a:lnTo>
                  <a:pt x="292103" y="139703"/>
                </a:lnTo>
                <a:lnTo>
                  <a:pt x="306804" y="140403"/>
                </a:lnTo>
                <a:lnTo>
                  <a:pt x="321110" y="142460"/>
                </a:lnTo>
                <a:lnTo>
                  <a:pt x="361008" y="156135"/>
                </a:lnTo>
                <a:lnTo>
                  <a:pt x="395030" y="179714"/>
                </a:lnTo>
                <a:lnTo>
                  <a:pt x="421442" y="211464"/>
                </a:lnTo>
                <a:lnTo>
                  <a:pt x="438511" y="249651"/>
                </a:lnTo>
                <a:lnTo>
                  <a:pt x="443843" y="277829"/>
                </a:lnTo>
                <a:lnTo>
                  <a:pt x="443312" y="294110"/>
                </a:lnTo>
                <a:lnTo>
                  <a:pt x="434470" y="339127"/>
                </a:lnTo>
                <a:lnTo>
                  <a:pt x="415904" y="377594"/>
                </a:lnTo>
                <a:lnTo>
                  <a:pt x="389215" y="408304"/>
                </a:lnTo>
                <a:lnTo>
                  <a:pt x="355837" y="430286"/>
                </a:lnTo>
                <a:lnTo>
                  <a:pt x="317313" y="442412"/>
                </a:lnTo>
                <a:lnTo>
                  <a:pt x="303591" y="444075"/>
                </a:lnTo>
                <a:lnTo>
                  <a:pt x="541574" y="444075"/>
                </a:lnTo>
                <a:lnTo>
                  <a:pt x="562815" y="402016"/>
                </a:lnTo>
                <a:lnTo>
                  <a:pt x="576505" y="358901"/>
                </a:lnTo>
                <a:lnTo>
                  <a:pt x="583350" y="314511"/>
                </a:lnTo>
                <a:lnTo>
                  <a:pt x="584206" y="292103"/>
                </a:lnTo>
                <a:lnTo>
                  <a:pt x="583350" y="269695"/>
                </a:lnTo>
                <a:lnTo>
                  <a:pt x="576505" y="225304"/>
                </a:lnTo>
                <a:lnTo>
                  <a:pt x="562815" y="182189"/>
                </a:lnTo>
                <a:lnTo>
                  <a:pt x="542270" y="141184"/>
                </a:lnTo>
                <a:lnTo>
                  <a:pt x="541291" y="139703"/>
                </a:lnTo>
                <a:close/>
              </a:path>
            </a:pathLst>
          </a:custGeom>
          <a:solidFill>
            <a:srgbClr val="43B02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0" cap="none" spc="0" normalizeH="0" baseline="0" noProof="0">
              <a:ln>
                <a:noFill/>
              </a:ln>
              <a:solidFill>
                <a:srgbClr val="000000"/>
              </a:solidFill>
              <a:effectLst/>
              <a:uLnTx/>
              <a:uFillTx/>
              <a:latin typeface="Arial"/>
              <a:ea typeface="+mn-ea"/>
              <a:cs typeface="+mn-cs"/>
            </a:endParaRPr>
          </a:p>
        </p:txBody>
      </p:sp>
      <p:sp>
        <p:nvSpPr>
          <p:cNvPr id="246" name="Freeform 1005"/>
          <p:cNvSpPr>
            <a:spLocks noEditPoints="1"/>
          </p:cNvSpPr>
          <p:nvPr/>
        </p:nvSpPr>
        <p:spPr bwMode="auto">
          <a:xfrm>
            <a:off x="7631471" y="2788006"/>
            <a:ext cx="482784" cy="505169"/>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solidFill>
            <a:srgbClr val="EAA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000000"/>
              </a:solidFill>
              <a:effectLst/>
              <a:uLnTx/>
              <a:uFillTx/>
              <a:latin typeface="Arial"/>
              <a:ea typeface="+mn-ea"/>
              <a:cs typeface="+mn-cs"/>
            </a:endParaRPr>
          </a:p>
        </p:txBody>
      </p:sp>
      <p:grpSp>
        <p:nvGrpSpPr>
          <p:cNvPr id="247" name="Group 246"/>
          <p:cNvGrpSpPr/>
          <p:nvPr/>
        </p:nvGrpSpPr>
        <p:grpSpPr>
          <a:xfrm>
            <a:off x="10143607" y="3038267"/>
            <a:ext cx="255703" cy="240404"/>
            <a:chOff x="4735513" y="655638"/>
            <a:chExt cx="315913" cy="312738"/>
          </a:xfrm>
          <a:solidFill>
            <a:srgbClr val="C6338D"/>
          </a:solidFill>
        </p:grpSpPr>
        <p:sp>
          <p:nvSpPr>
            <p:cNvPr id="248" name="Freeform 13"/>
            <p:cNvSpPr>
              <a:spLocks/>
            </p:cNvSpPr>
            <p:nvPr/>
          </p:nvSpPr>
          <p:spPr bwMode="auto">
            <a:xfrm>
              <a:off x="4735513" y="731838"/>
              <a:ext cx="184150" cy="236538"/>
            </a:xfrm>
            <a:custGeom>
              <a:avLst/>
              <a:gdLst>
                <a:gd name="T0" fmla="*/ 42 w 49"/>
                <a:gd name="T1" fmla="*/ 53 h 63"/>
                <a:gd name="T2" fmla="*/ 40 w 49"/>
                <a:gd name="T3" fmla="*/ 27 h 63"/>
                <a:gd name="T4" fmla="*/ 40 w 49"/>
                <a:gd name="T5" fmla="*/ 0 h 63"/>
                <a:gd name="T6" fmla="*/ 40 w 49"/>
                <a:gd name="T7" fmla="*/ 0 h 63"/>
                <a:gd name="T8" fmla="*/ 35 w 49"/>
                <a:gd name="T9" fmla="*/ 0 h 63"/>
                <a:gd name="T10" fmla="*/ 0 w 49"/>
                <a:gd name="T11" fmla="*/ 63 h 63"/>
                <a:gd name="T12" fmla="*/ 49 w 49"/>
                <a:gd name="T13" fmla="*/ 63 h 63"/>
                <a:gd name="T14" fmla="*/ 42 w 49"/>
                <a:gd name="T15" fmla="*/ 5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3">
                  <a:moveTo>
                    <a:pt x="42" y="53"/>
                  </a:moveTo>
                  <a:cubicBezTo>
                    <a:pt x="29" y="40"/>
                    <a:pt x="40" y="27"/>
                    <a:pt x="40" y="27"/>
                  </a:cubicBezTo>
                  <a:cubicBezTo>
                    <a:pt x="49" y="11"/>
                    <a:pt x="40" y="1"/>
                    <a:pt x="40" y="0"/>
                  </a:cubicBezTo>
                  <a:cubicBezTo>
                    <a:pt x="40" y="0"/>
                    <a:pt x="40" y="0"/>
                    <a:pt x="40" y="0"/>
                  </a:cubicBezTo>
                  <a:cubicBezTo>
                    <a:pt x="35" y="0"/>
                    <a:pt x="35" y="0"/>
                    <a:pt x="35" y="0"/>
                  </a:cubicBezTo>
                  <a:cubicBezTo>
                    <a:pt x="0" y="63"/>
                    <a:pt x="0" y="63"/>
                    <a:pt x="0" y="63"/>
                  </a:cubicBezTo>
                  <a:cubicBezTo>
                    <a:pt x="49" y="63"/>
                    <a:pt x="49" y="63"/>
                    <a:pt x="49" y="63"/>
                  </a:cubicBezTo>
                  <a:cubicBezTo>
                    <a:pt x="47" y="58"/>
                    <a:pt x="42" y="53"/>
                    <a:pt x="42"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49" name="Freeform 14"/>
            <p:cNvSpPr>
              <a:spLocks/>
            </p:cNvSpPr>
            <p:nvPr/>
          </p:nvSpPr>
          <p:spPr bwMode="auto">
            <a:xfrm>
              <a:off x="4832834" y="731838"/>
              <a:ext cx="195263" cy="236538"/>
            </a:xfrm>
            <a:custGeom>
              <a:avLst/>
              <a:gdLst>
                <a:gd name="T0" fmla="*/ 9 w 52"/>
                <a:gd name="T1" fmla="*/ 28 h 63"/>
                <a:gd name="T2" fmla="*/ 11 w 52"/>
                <a:gd name="T3" fmla="*/ 51 h 63"/>
                <a:gd name="T4" fmla="*/ 19 w 52"/>
                <a:gd name="T5" fmla="*/ 63 h 63"/>
                <a:gd name="T6" fmla="*/ 52 w 52"/>
                <a:gd name="T7" fmla="*/ 63 h 63"/>
                <a:gd name="T8" fmla="*/ 18 w 52"/>
                <a:gd name="T9" fmla="*/ 0 h 63"/>
                <a:gd name="T10" fmla="*/ 11 w 52"/>
                <a:gd name="T11" fmla="*/ 0 h 63"/>
                <a:gd name="T12" fmla="*/ 9 w 52"/>
                <a:gd name="T13" fmla="*/ 28 h 63"/>
              </a:gdLst>
              <a:ahLst/>
              <a:cxnLst>
                <a:cxn ang="0">
                  <a:pos x="T0" y="T1"/>
                </a:cxn>
                <a:cxn ang="0">
                  <a:pos x="T2" y="T3"/>
                </a:cxn>
                <a:cxn ang="0">
                  <a:pos x="T4" y="T5"/>
                </a:cxn>
                <a:cxn ang="0">
                  <a:pos x="T6" y="T7"/>
                </a:cxn>
                <a:cxn ang="0">
                  <a:pos x="T8" y="T9"/>
                </a:cxn>
                <a:cxn ang="0">
                  <a:pos x="T10" y="T11"/>
                </a:cxn>
                <a:cxn ang="0">
                  <a:pos x="T12" y="T13"/>
                </a:cxn>
              </a:cxnLst>
              <a:rect l="0" t="0" r="r" b="b"/>
              <a:pathLst>
                <a:path w="52" h="63">
                  <a:moveTo>
                    <a:pt x="9" y="28"/>
                  </a:moveTo>
                  <a:cubicBezTo>
                    <a:pt x="9" y="29"/>
                    <a:pt x="0" y="40"/>
                    <a:pt x="11" y="51"/>
                  </a:cubicBezTo>
                  <a:cubicBezTo>
                    <a:pt x="11" y="51"/>
                    <a:pt x="18" y="56"/>
                    <a:pt x="19" y="63"/>
                  </a:cubicBezTo>
                  <a:cubicBezTo>
                    <a:pt x="52" y="63"/>
                    <a:pt x="52" y="63"/>
                    <a:pt x="52" y="63"/>
                  </a:cubicBezTo>
                  <a:cubicBezTo>
                    <a:pt x="18" y="0"/>
                    <a:pt x="18" y="0"/>
                    <a:pt x="18" y="0"/>
                  </a:cubicBezTo>
                  <a:cubicBezTo>
                    <a:pt x="11" y="0"/>
                    <a:pt x="11" y="0"/>
                    <a:pt x="11" y="0"/>
                  </a:cubicBezTo>
                  <a:cubicBezTo>
                    <a:pt x="13" y="5"/>
                    <a:pt x="17" y="15"/>
                    <a:pt x="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50" name="Freeform 15"/>
            <p:cNvSpPr>
              <a:spLocks/>
            </p:cNvSpPr>
            <p:nvPr/>
          </p:nvSpPr>
          <p:spPr bwMode="auto">
            <a:xfrm>
              <a:off x="4878388" y="655638"/>
              <a:ext cx="173038" cy="60325"/>
            </a:xfrm>
            <a:custGeom>
              <a:avLst/>
              <a:gdLst>
                <a:gd name="T0" fmla="*/ 3 w 46"/>
                <a:gd name="T1" fmla="*/ 16 h 16"/>
                <a:gd name="T2" fmla="*/ 0 w 46"/>
                <a:gd name="T3" fmla="*/ 15 h 16"/>
                <a:gd name="T4" fmla="*/ 6 w 46"/>
                <a:gd name="T5" fmla="*/ 6 h 16"/>
                <a:gd name="T6" fmla="*/ 19 w 46"/>
                <a:gd name="T7" fmla="*/ 5 h 16"/>
                <a:gd name="T8" fmla="*/ 38 w 46"/>
                <a:gd name="T9" fmla="*/ 5 h 16"/>
                <a:gd name="T10" fmla="*/ 43 w 46"/>
                <a:gd name="T11" fmla="*/ 0 h 16"/>
                <a:gd name="T12" fmla="*/ 46 w 46"/>
                <a:gd name="T13" fmla="*/ 1 h 16"/>
                <a:gd name="T14" fmla="*/ 40 w 46"/>
                <a:gd name="T15" fmla="*/ 8 h 16"/>
                <a:gd name="T16" fmla="*/ 18 w 46"/>
                <a:gd name="T17" fmla="*/ 8 h 16"/>
                <a:gd name="T18" fmla="*/ 8 w 46"/>
                <a:gd name="T19" fmla="*/ 9 h 16"/>
                <a:gd name="T20" fmla="*/ 3 w 4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16">
                  <a:moveTo>
                    <a:pt x="3" y="16"/>
                  </a:moveTo>
                  <a:cubicBezTo>
                    <a:pt x="0" y="15"/>
                    <a:pt x="0" y="15"/>
                    <a:pt x="0" y="15"/>
                  </a:cubicBezTo>
                  <a:cubicBezTo>
                    <a:pt x="0" y="15"/>
                    <a:pt x="1" y="10"/>
                    <a:pt x="6" y="6"/>
                  </a:cubicBezTo>
                  <a:cubicBezTo>
                    <a:pt x="9" y="4"/>
                    <a:pt x="14" y="3"/>
                    <a:pt x="19" y="5"/>
                  </a:cubicBezTo>
                  <a:cubicBezTo>
                    <a:pt x="19" y="5"/>
                    <a:pt x="31" y="9"/>
                    <a:pt x="38" y="5"/>
                  </a:cubicBezTo>
                  <a:cubicBezTo>
                    <a:pt x="40" y="4"/>
                    <a:pt x="42" y="2"/>
                    <a:pt x="43" y="0"/>
                  </a:cubicBezTo>
                  <a:cubicBezTo>
                    <a:pt x="46" y="1"/>
                    <a:pt x="46" y="1"/>
                    <a:pt x="46" y="1"/>
                  </a:cubicBezTo>
                  <a:cubicBezTo>
                    <a:pt x="45" y="4"/>
                    <a:pt x="43" y="6"/>
                    <a:pt x="40" y="8"/>
                  </a:cubicBezTo>
                  <a:cubicBezTo>
                    <a:pt x="32" y="12"/>
                    <a:pt x="19" y="8"/>
                    <a:pt x="18" y="8"/>
                  </a:cubicBezTo>
                  <a:cubicBezTo>
                    <a:pt x="14" y="7"/>
                    <a:pt x="10" y="7"/>
                    <a:pt x="8" y="9"/>
                  </a:cubicBezTo>
                  <a:cubicBezTo>
                    <a:pt x="4" y="11"/>
                    <a:pt x="3"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51" name="Freeform 16"/>
            <p:cNvSpPr>
              <a:spLocks/>
            </p:cNvSpPr>
            <p:nvPr/>
          </p:nvSpPr>
          <p:spPr bwMode="auto">
            <a:xfrm>
              <a:off x="4911726" y="682625"/>
              <a:ext cx="93663" cy="33338"/>
            </a:xfrm>
            <a:custGeom>
              <a:avLst/>
              <a:gdLst>
                <a:gd name="T0" fmla="*/ 3 w 25"/>
                <a:gd name="T1" fmla="*/ 9 h 9"/>
                <a:gd name="T2" fmla="*/ 0 w 25"/>
                <a:gd name="T3" fmla="*/ 8 h 9"/>
                <a:gd name="T4" fmla="*/ 4 w 25"/>
                <a:gd name="T5" fmla="*/ 3 h 9"/>
                <a:gd name="T6" fmla="*/ 11 w 25"/>
                <a:gd name="T7" fmla="*/ 2 h 9"/>
                <a:gd name="T8" fmla="*/ 21 w 25"/>
                <a:gd name="T9" fmla="*/ 3 h 9"/>
                <a:gd name="T10" fmla="*/ 22 w 25"/>
                <a:gd name="T11" fmla="*/ 0 h 9"/>
                <a:gd name="T12" fmla="*/ 25 w 25"/>
                <a:gd name="T13" fmla="*/ 1 h 9"/>
                <a:gd name="T14" fmla="*/ 22 w 25"/>
                <a:gd name="T15" fmla="*/ 5 h 9"/>
                <a:gd name="T16" fmla="*/ 10 w 25"/>
                <a:gd name="T17" fmla="*/ 5 h 9"/>
                <a:gd name="T18" fmla="*/ 6 w 25"/>
                <a:gd name="T19" fmla="*/ 6 h 9"/>
                <a:gd name="T20" fmla="*/ 3 w 25"/>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9">
                  <a:moveTo>
                    <a:pt x="3" y="9"/>
                  </a:moveTo>
                  <a:cubicBezTo>
                    <a:pt x="0" y="8"/>
                    <a:pt x="0" y="8"/>
                    <a:pt x="0" y="8"/>
                  </a:cubicBezTo>
                  <a:cubicBezTo>
                    <a:pt x="0" y="8"/>
                    <a:pt x="1" y="5"/>
                    <a:pt x="4" y="3"/>
                  </a:cubicBezTo>
                  <a:cubicBezTo>
                    <a:pt x="6" y="2"/>
                    <a:pt x="8" y="2"/>
                    <a:pt x="11" y="2"/>
                  </a:cubicBezTo>
                  <a:cubicBezTo>
                    <a:pt x="13" y="3"/>
                    <a:pt x="18" y="4"/>
                    <a:pt x="21" y="3"/>
                  </a:cubicBezTo>
                  <a:cubicBezTo>
                    <a:pt x="22" y="2"/>
                    <a:pt x="22" y="1"/>
                    <a:pt x="22" y="0"/>
                  </a:cubicBezTo>
                  <a:cubicBezTo>
                    <a:pt x="25" y="1"/>
                    <a:pt x="25" y="1"/>
                    <a:pt x="25" y="1"/>
                  </a:cubicBezTo>
                  <a:cubicBezTo>
                    <a:pt x="25" y="3"/>
                    <a:pt x="24" y="5"/>
                    <a:pt x="22" y="5"/>
                  </a:cubicBezTo>
                  <a:cubicBezTo>
                    <a:pt x="18" y="8"/>
                    <a:pt x="11" y="5"/>
                    <a:pt x="10" y="5"/>
                  </a:cubicBezTo>
                  <a:cubicBezTo>
                    <a:pt x="8" y="5"/>
                    <a:pt x="7" y="5"/>
                    <a:pt x="6" y="6"/>
                  </a:cubicBezTo>
                  <a:cubicBezTo>
                    <a:pt x="4" y="7"/>
                    <a:pt x="3" y="9"/>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grpSp>
      <p:sp>
        <p:nvSpPr>
          <p:cNvPr id="252" name="Freeform 730"/>
          <p:cNvSpPr>
            <a:spLocks noEditPoints="1"/>
          </p:cNvSpPr>
          <p:nvPr/>
        </p:nvSpPr>
        <p:spPr bwMode="auto">
          <a:xfrm>
            <a:off x="9366612" y="5093026"/>
            <a:ext cx="280052" cy="220591"/>
          </a:xfrm>
          <a:custGeom>
            <a:avLst/>
            <a:gdLst>
              <a:gd name="T0" fmla="*/ 108 w 128"/>
              <a:gd name="T1" fmla="*/ 8 h 100"/>
              <a:gd name="T2" fmla="*/ 106 w 128"/>
              <a:gd name="T3" fmla="*/ 3 h 100"/>
              <a:gd name="T4" fmla="*/ 100 w 128"/>
              <a:gd name="T5" fmla="*/ 0 h 100"/>
              <a:gd name="T6" fmla="*/ 28 w 128"/>
              <a:gd name="T7" fmla="*/ 0 h 100"/>
              <a:gd name="T8" fmla="*/ 22 w 128"/>
              <a:gd name="T9" fmla="*/ 3 h 100"/>
              <a:gd name="T10" fmla="*/ 19 w 128"/>
              <a:gd name="T11" fmla="*/ 8 h 100"/>
              <a:gd name="T12" fmla="*/ 0 w 128"/>
              <a:gd name="T13" fmla="*/ 20 h 100"/>
              <a:gd name="T14" fmla="*/ 0 w 128"/>
              <a:gd name="T15" fmla="*/ 36 h 100"/>
              <a:gd name="T16" fmla="*/ 4 w 128"/>
              <a:gd name="T17" fmla="*/ 40 h 100"/>
              <a:gd name="T18" fmla="*/ 8 w 128"/>
              <a:gd name="T19" fmla="*/ 40 h 100"/>
              <a:gd name="T20" fmla="*/ 12 w 128"/>
              <a:gd name="T21" fmla="*/ 36 h 100"/>
              <a:gd name="T22" fmla="*/ 12 w 128"/>
              <a:gd name="T23" fmla="*/ 20 h 100"/>
              <a:gd name="T24" fmla="*/ 16 w 128"/>
              <a:gd name="T25" fmla="*/ 16 h 100"/>
              <a:gd name="T26" fmla="*/ 16 w 128"/>
              <a:gd name="T27" fmla="*/ 56 h 100"/>
              <a:gd name="T28" fmla="*/ 16 w 128"/>
              <a:gd name="T29" fmla="*/ 98 h 100"/>
              <a:gd name="T30" fmla="*/ 18 w 128"/>
              <a:gd name="T31" fmla="*/ 100 h 100"/>
              <a:gd name="T32" fmla="*/ 26 w 128"/>
              <a:gd name="T33" fmla="*/ 100 h 100"/>
              <a:gd name="T34" fmla="*/ 28 w 128"/>
              <a:gd name="T35" fmla="*/ 98 h 100"/>
              <a:gd name="T36" fmla="*/ 28 w 128"/>
              <a:gd name="T37" fmla="*/ 92 h 100"/>
              <a:gd name="T38" fmla="*/ 100 w 128"/>
              <a:gd name="T39" fmla="*/ 92 h 100"/>
              <a:gd name="T40" fmla="*/ 100 w 128"/>
              <a:gd name="T41" fmla="*/ 98 h 100"/>
              <a:gd name="T42" fmla="*/ 102 w 128"/>
              <a:gd name="T43" fmla="*/ 100 h 100"/>
              <a:gd name="T44" fmla="*/ 110 w 128"/>
              <a:gd name="T45" fmla="*/ 100 h 100"/>
              <a:gd name="T46" fmla="*/ 112 w 128"/>
              <a:gd name="T47" fmla="*/ 98 h 100"/>
              <a:gd name="T48" fmla="*/ 112 w 128"/>
              <a:gd name="T49" fmla="*/ 56 h 100"/>
              <a:gd name="T50" fmla="*/ 112 w 128"/>
              <a:gd name="T51" fmla="*/ 16 h 100"/>
              <a:gd name="T52" fmla="*/ 116 w 128"/>
              <a:gd name="T53" fmla="*/ 20 h 100"/>
              <a:gd name="T54" fmla="*/ 116 w 128"/>
              <a:gd name="T55" fmla="*/ 36 h 100"/>
              <a:gd name="T56" fmla="*/ 120 w 128"/>
              <a:gd name="T57" fmla="*/ 40 h 100"/>
              <a:gd name="T58" fmla="*/ 124 w 128"/>
              <a:gd name="T59" fmla="*/ 40 h 100"/>
              <a:gd name="T60" fmla="*/ 128 w 128"/>
              <a:gd name="T61" fmla="*/ 36 h 100"/>
              <a:gd name="T62" fmla="*/ 128 w 128"/>
              <a:gd name="T63" fmla="*/ 20 h 100"/>
              <a:gd name="T64" fmla="*/ 108 w 128"/>
              <a:gd name="T65" fmla="*/ 8 h 100"/>
              <a:gd name="T66" fmla="*/ 24 w 128"/>
              <a:gd name="T67" fmla="*/ 18 h 100"/>
              <a:gd name="T68" fmla="*/ 26 w 128"/>
              <a:gd name="T69" fmla="*/ 16 h 100"/>
              <a:gd name="T70" fmla="*/ 102 w 128"/>
              <a:gd name="T71" fmla="*/ 16 h 100"/>
              <a:gd name="T72" fmla="*/ 104 w 128"/>
              <a:gd name="T73" fmla="*/ 18 h 100"/>
              <a:gd name="T74" fmla="*/ 104 w 128"/>
              <a:gd name="T75" fmla="*/ 56 h 100"/>
              <a:gd name="T76" fmla="*/ 102 w 128"/>
              <a:gd name="T77" fmla="*/ 59 h 100"/>
              <a:gd name="T78" fmla="*/ 64 w 128"/>
              <a:gd name="T79" fmla="*/ 64 h 100"/>
              <a:gd name="T80" fmla="*/ 26 w 128"/>
              <a:gd name="T81" fmla="*/ 59 h 100"/>
              <a:gd name="T82" fmla="*/ 24 w 128"/>
              <a:gd name="T83" fmla="*/ 56 h 100"/>
              <a:gd name="T84" fmla="*/ 24 w 128"/>
              <a:gd name="T85" fmla="*/ 18 h 100"/>
              <a:gd name="T86" fmla="*/ 36 w 128"/>
              <a:gd name="T87" fmla="*/ 80 h 100"/>
              <a:gd name="T88" fmla="*/ 24 w 128"/>
              <a:gd name="T89" fmla="*/ 80 h 100"/>
              <a:gd name="T90" fmla="*/ 20 w 128"/>
              <a:gd name="T91" fmla="*/ 76 h 100"/>
              <a:gd name="T92" fmla="*/ 20 w 128"/>
              <a:gd name="T93" fmla="*/ 68 h 100"/>
              <a:gd name="T94" fmla="*/ 36 w 128"/>
              <a:gd name="T95" fmla="*/ 72 h 100"/>
              <a:gd name="T96" fmla="*/ 36 w 128"/>
              <a:gd name="T97" fmla="*/ 80 h 100"/>
              <a:gd name="T98" fmla="*/ 80 w 128"/>
              <a:gd name="T99" fmla="*/ 88 h 100"/>
              <a:gd name="T100" fmla="*/ 52 w 128"/>
              <a:gd name="T101" fmla="*/ 88 h 100"/>
              <a:gd name="T102" fmla="*/ 52 w 128"/>
              <a:gd name="T103" fmla="*/ 80 h 100"/>
              <a:gd name="T104" fmla="*/ 80 w 128"/>
              <a:gd name="T105" fmla="*/ 80 h 100"/>
              <a:gd name="T106" fmla="*/ 80 w 128"/>
              <a:gd name="T107" fmla="*/ 88 h 100"/>
              <a:gd name="T108" fmla="*/ 92 w 128"/>
              <a:gd name="T109" fmla="*/ 80 h 100"/>
              <a:gd name="T110" fmla="*/ 92 w 128"/>
              <a:gd name="T111" fmla="*/ 72 h 100"/>
              <a:gd name="T112" fmla="*/ 108 w 128"/>
              <a:gd name="T113" fmla="*/ 68 h 100"/>
              <a:gd name="T114" fmla="*/ 108 w 128"/>
              <a:gd name="T115" fmla="*/ 76 h 100"/>
              <a:gd name="T116" fmla="*/ 104 w 128"/>
              <a:gd name="T117" fmla="*/ 80 h 100"/>
              <a:gd name="T118" fmla="*/ 92 w 128"/>
              <a:gd name="T119" fmla="*/ 8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 h="100">
                <a:moveTo>
                  <a:pt x="108" y="8"/>
                </a:moveTo>
                <a:cubicBezTo>
                  <a:pt x="106" y="3"/>
                  <a:pt x="106" y="3"/>
                  <a:pt x="106" y="3"/>
                </a:cubicBezTo>
                <a:cubicBezTo>
                  <a:pt x="105" y="1"/>
                  <a:pt x="102" y="0"/>
                  <a:pt x="100" y="0"/>
                </a:cubicBezTo>
                <a:cubicBezTo>
                  <a:pt x="28" y="0"/>
                  <a:pt x="28" y="0"/>
                  <a:pt x="28" y="0"/>
                </a:cubicBezTo>
                <a:cubicBezTo>
                  <a:pt x="26" y="0"/>
                  <a:pt x="23" y="1"/>
                  <a:pt x="22" y="3"/>
                </a:cubicBezTo>
                <a:cubicBezTo>
                  <a:pt x="19" y="8"/>
                  <a:pt x="19" y="8"/>
                  <a:pt x="19" y="8"/>
                </a:cubicBezTo>
                <a:cubicBezTo>
                  <a:pt x="12" y="11"/>
                  <a:pt x="0" y="16"/>
                  <a:pt x="0" y="20"/>
                </a:cubicBezTo>
                <a:cubicBezTo>
                  <a:pt x="0" y="25"/>
                  <a:pt x="0" y="36"/>
                  <a:pt x="0" y="36"/>
                </a:cubicBezTo>
                <a:cubicBezTo>
                  <a:pt x="0" y="38"/>
                  <a:pt x="2" y="40"/>
                  <a:pt x="4" y="40"/>
                </a:cubicBezTo>
                <a:cubicBezTo>
                  <a:pt x="8" y="40"/>
                  <a:pt x="8" y="40"/>
                  <a:pt x="8" y="40"/>
                </a:cubicBezTo>
                <a:cubicBezTo>
                  <a:pt x="10" y="40"/>
                  <a:pt x="12" y="38"/>
                  <a:pt x="12" y="36"/>
                </a:cubicBezTo>
                <a:cubicBezTo>
                  <a:pt x="12" y="36"/>
                  <a:pt x="12" y="22"/>
                  <a:pt x="12" y="20"/>
                </a:cubicBezTo>
                <a:cubicBezTo>
                  <a:pt x="12" y="19"/>
                  <a:pt x="13" y="17"/>
                  <a:pt x="16" y="16"/>
                </a:cubicBezTo>
                <a:cubicBezTo>
                  <a:pt x="16" y="56"/>
                  <a:pt x="16" y="56"/>
                  <a:pt x="16" y="56"/>
                </a:cubicBezTo>
                <a:cubicBezTo>
                  <a:pt x="16" y="98"/>
                  <a:pt x="16" y="98"/>
                  <a:pt x="16" y="98"/>
                </a:cubicBezTo>
                <a:cubicBezTo>
                  <a:pt x="16" y="99"/>
                  <a:pt x="17" y="100"/>
                  <a:pt x="18" y="100"/>
                </a:cubicBezTo>
                <a:cubicBezTo>
                  <a:pt x="26" y="100"/>
                  <a:pt x="26" y="100"/>
                  <a:pt x="26" y="100"/>
                </a:cubicBezTo>
                <a:cubicBezTo>
                  <a:pt x="27" y="100"/>
                  <a:pt x="28" y="99"/>
                  <a:pt x="28" y="98"/>
                </a:cubicBezTo>
                <a:cubicBezTo>
                  <a:pt x="28" y="92"/>
                  <a:pt x="28" y="92"/>
                  <a:pt x="28" y="92"/>
                </a:cubicBezTo>
                <a:cubicBezTo>
                  <a:pt x="100" y="92"/>
                  <a:pt x="100" y="92"/>
                  <a:pt x="100" y="92"/>
                </a:cubicBezTo>
                <a:cubicBezTo>
                  <a:pt x="100" y="98"/>
                  <a:pt x="100" y="98"/>
                  <a:pt x="100" y="98"/>
                </a:cubicBezTo>
                <a:cubicBezTo>
                  <a:pt x="100" y="99"/>
                  <a:pt x="101" y="100"/>
                  <a:pt x="102" y="100"/>
                </a:cubicBezTo>
                <a:cubicBezTo>
                  <a:pt x="110" y="100"/>
                  <a:pt x="110" y="100"/>
                  <a:pt x="110" y="100"/>
                </a:cubicBezTo>
                <a:cubicBezTo>
                  <a:pt x="111" y="100"/>
                  <a:pt x="112" y="99"/>
                  <a:pt x="112" y="98"/>
                </a:cubicBezTo>
                <a:cubicBezTo>
                  <a:pt x="112" y="56"/>
                  <a:pt x="112" y="56"/>
                  <a:pt x="112" y="56"/>
                </a:cubicBezTo>
                <a:cubicBezTo>
                  <a:pt x="112" y="16"/>
                  <a:pt x="112" y="16"/>
                  <a:pt x="112" y="16"/>
                </a:cubicBezTo>
                <a:cubicBezTo>
                  <a:pt x="114" y="17"/>
                  <a:pt x="116" y="19"/>
                  <a:pt x="116" y="20"/>
                </a:cubicBezTo>
                <a:cubicBezTo>
                  <a:pt x="116" y="22"/>
                  <a:pt x="116" y="36"/>
                  <a:pt x="116" y="36"/>
                </a:cubicBezTo>
                <a:cubicBezTo>
                  <a:pt x="116" y="38"/>
                  <a:pt x="118" y="40"/>
                  <a:pt x="120" y="40"/>
                </a:cubicBezTo>
                <a:cubicBezTo>
                  <a:pt x="124" y="40"/>
                  <a:pt x="124" y="40"/>
                  <a:pt x="124" y="40"/>
                </a:cubicBezTo>
                <a:cubicBezTo>
                  <a:pt x="126" y="40"/>
                  <a:pt x="128" y="38"/>
                  <a:pt x="128" y="36"/>
                </a:cubicBezTo>
                <a:cubicBezTo>
                  <a:pt x="128" y="36"/>
                  <a:pt x="128" y="25"/>
                  <a:pt x="128" y="20"/>
                </a:cubicBezTo>
                <a:cubicBezTo>
                  <a:pt x="128" y="16"/>
                  <a:pt x="116" y="11"/>
                  <a:pt x="108" y="8"/>
                </a:cubicBezTo>
                <a:close/>
                <a:moveTo>
                  <a:pt x="24" y="18"/>
                </a:moveTo>
                <a:cubicBezTo>
                  <a:pt x="24" y="16"/>
                  <a:pt x="25" y="16"/>
                  <a:pt x="26" y="16"/>
                </a:cubicBezTo>
                <a:cubicBezTo>
                  <a:pt x="102" y="16"/>
                  <a:pt x="102" y="16"/>
                  <a:pt x="102" y="16"/>
                </a:cubicBezTo>
                <a:cubicBezTo>
                  <a:pt x="103" y="16"/>
                  <a:pt x="104" y="16"/>
                  <a:pt x="104" y="18"/>
                </a:cubicBezTo>
                <a:cubicBezTo>
                  <a:pt x="104" y="56"/>
                  <a:pt x="104" y="56"/>
                  <a:pt x="104" y="56"/>
                </a:cubicBezTo>
                <a:cubicBezTo>
                  <a:pt x="104" y="57"/>
                  <a:pt x="103" y="59"/>
                  <a:pt x="102" y="59"/>
                </a:cubicBezTo>
                <a:cubicBezTo>
                  <a:pt x="102" y="59"/>
                  <a:pt x="89" y="64"/>
                  <a:pt x="64" y="64"/>
                </a:cubicBezTo>
                <a:cubicBezTo>
                  <a:pt x="38" y="64"/>
                  <a:pt x="26" y="59"/>
                  <a:pt x="26" y="59"/>
                </a:cubicBezTo>
                <a:cubicBezTo>
                  <a:pt x="25" y="59"/>
                  <a:pt x="24" y="57"/>
                  <a:pt x="24" y="56"/>
                </a:cubicBezTo>
                <a:lnTo>
                  <a:pt x="24" y="18"/>
                </a:lnTo>
                <a:close/>
                <a:moveTo>
                  <a:pt x="36" y="80"/>
                </a:moveTo>
                <a:cubicBezTo>
                  <a:pt x="24" y="80"/>
                  <a:pt x="24" y="80"/>
                  <a:pt x="24" y="80"/>
                </a:cubicBezTo>
                <a:cubicBezTo>
                  <a:pt x="20" y="76"/>
                  <a:pt x="20" y="76"/>
                  <a:pt x="20" y="76"/>
                </a:cubicBezTo>
                <a:cubicBezTo>
                  <a:pt x="20" y="68"/>
                  <a:pt x="20" y="68"/>
                  <a:pt x="20" y="68"/>
                </a:cubicBezTo>
                <a:cubicBezTo>
                  <a:pt x="36" y="72"/>
                  <a:pt x="36" y="72"/>
                  <a:pt x="36" y="72"/>
                </a:cubicBezTo>
                <a:lnTo>
                  <a:pt x="36" y="80"/>
                </a:lnTo>
                <a:close/>
                <a:moveTo>
                  <a:pt x="80" y="88"/>
                </a:moveTo>
                <a:cubicBezTo>
                  <a:pt x="52" y="88"/>
                  <a:pt x="52" y="88"/>
                  <a:pt x="52" y="88"/>
                </a:cubicBezTo>
                <a:cubicBezTo>
                  <a:pt x="52" y="80"/>
                  <a:pt x="52" y="80"/>
                  <a:pt x="52" y="80"/>
                </a:cubicBezTo>
                <a:cubicBezTo>
                  <a:pt x="80" y="80"/>
                  <a:pt x="80" y="80"/>
                  <a:pt x="80" y="80"/>
                </a:cubicBezTo>
                <a:lnTo>
                  <a:pt x="80" y="88"/>
                </a:lnTo>
                <a:close/>
                <a:moveTo>
                  <a:pt x="92" y="80"/>
                </a:moveTo>
                <a:cubicBezTo>
                  <a:pt x="92" y="72"/>
                  <a:pt x="92" y="72"/>
                  <a:pt x="92" y="72"/>
                </a:cubicBezTo>
                <a:cubicBezTo>
                  <a:pt x="108" y="68"/>
                  <a:pt x="108" y="68"/>
                  <a:pt x="108" y="68"/>
                </a:cubicBezTo>
                <a:cubicBezTo>
                  <a:pt x="108" y="76"/>
                  <a:pt x="108" y="76"/>
                  <a:pt x="108" y="76"/>
                </a:cubicBezTo>
                <a:cubicBezTo>
                  <a:pt x="104" y="80"/>
                  <a:pt x="104" y="80"/>
                  <a:pt x="104" y="80"/>
                </a:cubicBezTo>
                <a:lnTo>
                  <a:pt x="92" y="80"/>
                </a:lnTo>
                <a:close/>
              </a:path>
            </a:pathLst>
          </a:custGeom>
          <a:solidFill>
            <a:srgbClr val="005EB8"/>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grpSp>
        <p:nvGrpSpPr>
          <p:cNvPr id="253" name="Group 252"/>
          <p:cNvGrpSpPr/>
          <p:nvPr/>
        </p:nvGrpSpPr>
        <p:grpSpPr>
          <a:xfrm>
            <a:off x="9593375" y="4901504"/>
            <a:ext cx="381045" cy="339185"/>
            <a:chOff x="7221538" y="3935570"/>
            <a:chExt cx="481013" cy="404813"/>
          </a:xfrm>
          <a:solidFill>
            <a:srgbClr val="005EB8"/>
          </a:solidFill>
        </p:grpSpPr>
        <p:sp>
          <p:nvSpPr>
            <p:cNvPr id="254" name="Freeform 676"/>
            <p:cNvSpPr>
              <a:spLocks/>
            </p:cNvSpPr>
            <p:nvPr/>
          </p:nvSpPr>
          <p:spPr bwMode="auto">
            <a:xfrm>
              <a:off x="7642225" y="4026058"/>
              <a:ext cx="0" cy="14288"/>
            </a:xfrm>
            <a:custGeom>
              <a:avLst/>
              <a:gdLst>
                <a:gd name="T0" fmla="*/ 0 h 9"/>
                <a:gd name="T1" fmla="*/ 9 h 9"/>
                <a:gd name="T2" fmla="*/ 0 h 9"/>
              </a:gdLst>
              <a:ahLst/>
              <a:cxnLst>
                <a:cxn ang="0">
                  <a:pos x="0" y="T0"/>
                </a:cxn>
                <a:cxn ang="0">
                  <a:pos x="0" y="T1"/>
                </a:cxn>
                <a:cxn ang="0">
                  <a:pos x="0" y="T2"/>
                </a:cxn>
              </a:cxnLst>
              <a:rect l="0" t="0" r="r" b="b"/>
              <a:pathLst>
                <a:path h="9">
                  <a:moveTo>
                    <a:pt x="0" y="0"/>
                  </a:moveTo>
                  <a:lnTo>
                    <a:pt x="0" y="9"/>
                  </a:lnTo>
                  <a:lnTo>
                    <a:pt x="0" y="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55" name="Line 677"/>
            <p:cNvSpPr>
              <a:spLocks noChangeShapeType="1"/>
            </p:cNvSpPr>
            <p:nvPr/>
          </p:nvSpPr>
          <p:spPr bwMode="auto">
            <a:xfrm>
              <a:off x="7642225" y="4026058"/>
              <a:ext cx="0" cy="14288"/>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56" name="Freeform 678"/>
            <p:cNvSpPr>
              <a:spLocks/>
            </p:cNvSpPr>
            <p:nvPr/>
          </p:nvSpPr>
          <p:spPr bwMode="auto">
            <a:xfrm>
              <a:off x="7642225" y="4040345"/>
              <a:ext cx="0" cy="150813"/>
            </a:xfrm>
            <a:custGeom>
              <a:avLst/>
              <a:gdLst>
                <a:gd name="T0" fmla="*/ 0 h 95"/>
                <a:gd name="T1" fmla="*/ 85 h 95"/>
                <a:gd name="T2" fmla="*/ 95 h 95"/>
                <a:gd name="T3" fmla="*/ 0 h 95"/>
              </a:gdLst>
              <a:ahLst/>
              <a:cxnLst>
                <a:cxn ang="0">
                  <a:pos x="0" y="T0"/>
                </a:cxn>
                <a:cxn ang="0">
                  <a:pos x="0" y="T1"/>
                </a:cxn>
                <a:cxn ang="0">
                  <a:pos x="0" y="T2"/>
                </a:cxn>
                <a:cxn ang="0">
                  <a:pos x="0" y="T3"/>
                </a:cxn>
              </a:cxnLst>
              <a:rect l="0" t="0" r="r" b="b"/>
              <a:pathLst>
                <a:path h="95">
                  <a:moveTo>
                    <a:pt x="0" y="0"/>
                  </a:moveTo>
                  <a:lnTo>
                    <a:pt x="0" y="85"/>
                  </a:lnTo>
                  <a:lnTo>
                    <a:pt x="0" y="95"/>
                  </a:lnTo>
                  <a:lnTo>
                    <a:pt x="0" y="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57" name="Freeform 679"/>
            <p:cNvSpPr>
              <a:spLocks/>
            </p:cNvSpPr>
            <p:nvPr/>
          </p:nvSpPr>
          <p:spPr bwMode="auto">
            <a:xfrm>
              <a:off x="7642225" y="4040345"/>
              <a:ext cx="0" cy="150813"/>
            </a:xfrm>
            <a:custGeom>
              <a:avLst/>
              <a:gdLst>
                <a:gd name="T0" fmla="*/ 0 h 95"/>
                <a:gd name="T1" fmla="*/ 85 h 95"/>
                <a:gd name="T2" fmla="*/ 95 h 95"/>
              </a:gdLst>
              <a:ahLst/>
              <a:cxnLst>
                <a:cxn ang="0">
                  <a:pos x="0" y="T0"/>
                </a:cxn>
                <a:cxn ang="0">
                  <a:pos x="0" y="T1"/>
                </a:cxn>
                <a:cxn ang="0">
                  <a:pos x="0" y="T2"/>
                </a:cxn>
              </a:cxnLst>
              <a:rect l="0" t="0" r="r" b="b"/>
              <a:pathLst>
                <a:path h="95">
                  <a:moveTo>
                    <a:pt x="0" y="0"/>
                  </a:moveTo>
                  <a:lnTo>
                    <a:pt x="0" y="85"/>
                  </a:lnTo>
                  <a:lnTo>
                    <a:pt x="0" y="95"/>
                  </a:lnTo>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58" name="Freeform 681"/>
            <p:cNvSpPr>
              <a:spLocks noEditPoints="1"/>
            </p:cNvSpPr>
            <p:nvPr/>
          </p:nvSpPr>
          <p:spPr bwMode="auto">
            <a:xfrm>
              <a:off x="7221538" y="3935570"/>
              <a:ext cx="481013" cy="404813"/>
            </a:xfrm>
            <a:custGeom>
              <a:avLst/>
              <a:gdLst>
                <a:gd name="T0" fmla="*/ 124 w 128"/>
                <a:gd name="T1" fmla="*/ 26 h 108"/>
                <a:gd name="T2" fmla="*/ 112 w 128"/>
                <a:gd name="T3" fmla="*/ 24 h 108"/>
                <a:gd name="T4" fmla="*/ 108 w 128"/>
                <a:gd name="T5" fmla="*/ 16 h 108"/>
                <a:gd name="T6" fmla="*/ 20 w 128"/>
                <a:gd name="T7" fmla="*/ 0 h 108"/>
                <a:gd name="T8" fmla="*/ 16 w 128"/>
                <a:gd name="T9" fmla="*/ 21 h 108"/>
                <a:gd name="T10" fmla="*/ 6 w 128"/>
                <a:gd name="T11" fmla="*/ 24 h 108"/>
                <a:gd name="T12" fmla="*/ 4 w 128"/>
                <a:gd name="T13" fmla="*/ 28 h 108"/>
                <a:gd name="T14" fmla="*/ 0 w 128"/>
                <a:gd name="T15" fmla="*/ 52 h 108"/>
                <a:gd name="T16" fmla="*/ 4 w 128"/>
                <a:gd name="T17" fmla="*/ 58 h 108"/>
                <a:gd name="T18" fmla="*/ 16 w 128"/>
                <a:gd name="T19" fmla="*/ 60 h 108"/>
                <a:gd name="T20" fmla="*/ 18 w 128"/>
                <a:gd name="T21" fmla="*/ 108 h 108"/>
                <a:gd name="T22" fmla="*/ 28 w 128"/>
                <a:gd name="T23" fmla="*/ 106 h 108"/>
                <a:gd name="T24" fmla="*/ 100 w 128"/>
                <a:gd name="T25" fmla="*/ 100 h 108"/>
                <a:gd name="T26" fmla="*/ 102 w 128"/>
                <a:gd name="T27" fmla="*/ 108 h 108"/>
                <a:gd name="T28" fmla="*/ 112 w 128"/>
                <a:gd name="T29" fmla="*/ 106 h 108"/>
                <a:gd name="T30" fmla="*/ 122 w 128"/>
                <a:gd name="T31" fmla="*/ 60 h 108"/>
                <a:gd name="T32" fmla="*/ 124 w 128"/>
                <a:gd name="T33" fmla="*/ 56 h 108"/>
                <a:gd name="T34" fmla="*/ 128 w 128"/>
                <a:gd name="T35" fmla="*/ 32 h 108"/>
                <a:gd name="T36" fmla="*/ 108 w 128"/>
                <a:gd name="T37" fmla="*/ 76 h 108"/>
                <a:gd name="T38" fmla="*/ 88 w 128"/>
                <a:gd name="T39" fmla="*/ 80 h 108"/>
                <a:gd name="T40" fmla="*/ 108 w 128"/>
                <a:gd name="T41" fmla="*/ 68 h 108"/>
                <a:gd name="T42" fmla="*/ 24 w 128"/>
                <a:gd name="T43" fmla="*/ 30 h 108"/>
                <a:gd name="T44" fmla="*/ 102 w 128"/>
                <a:gd name="T45" fmla="*/ 28 h 108"/>
                <a:gd name="T46" fmla="*/ 104 w 128"/>
                <a:gd name="T47" fmla="*/ 48 h 108"/>
                <a:gd name="T48" fmla="*/ 64 w 128"/>
                <a:gd name="T49" fmla="*/ 56 h 108"/>
                <a:gd name="T50" fmla="*/ 24 w 128"/>
                <a:gd name="T51" fmla="*/ 48 h 108"/>
                <a:gd name="T52" fmla="*/ 8 w 128"/>
                <a:gd name="T53" fmla="*/ 56 h 108"/>
                <a:gd name="T54" fmla="*/ 12 w 128"/>
                <a:gd name="T55" fmla="*/ 32 h 108"/>
                <a:gd name="T56" fmla="*/ 16 w 128"/>
                <a:gd name="T57" fmla="*/ 28 h 108"/>
                <a:gd name="T58" fmla="*/ 16 w 128"/>
                <a:gd name="T59" fmla="*/ 56 h 108"/>
                <a:gd name="T60" fmla="*/ 40 w 128"/>
                <a:gd name="T61" fmla="*/ 88 h 108"/>
                <a:gd name="T62" fmla="*/ 28 w 128"/>
                <a:gd name="T63" fmla="*/ 84 h 108"/>
                <a:gd name="T64" fmla="*/ 40 w 128"/>
                <a:gd name="T65" fmla="*/ 88 h 108"/>
                <a:gd name="T66" fmla="*/ 24 w 128"/>
                <a:gd name="T67" fmla="*/ 80 h 108"/>
                <a:gd name="T68" fmla="*/ 20 w 128"/>
                <a:gd name="T69" fmla="*/ 68 h 108"/>
                <a:gd name="T70" fmla="*/ 40 w 128"/>
                <a:gd name="T71" fmla="*/ 80 h 108"/>
                <a:gd name="T72" fmla="*/ 52 w 128"/>
                <a:gd name="T73" fmla="*/ 96 h 108"/>
                <a:gd name="T74" fmla="*/ 76 w 128"/>
                <a:gd name="T75" fmla="*/ 88 h 108"/>
                <a:gd name="T76" fmla="*/ 84 w 128"/>
                <a:gd name="T77" fmla="*/ 76 h 108"/>
                <a:gd name="T78" fmla="*/ 44 w 128"/>
                <a:gd name="T79" fmla="*/ 72 h 108"/>
                <a:gd name="T80" fmla="*/ 84 w 128"/>
                <a:gd name="T81" fmla="*/ 76 h 108"/>
                <a:gd name="T82" fmla="*/ 44 w 128"/>
                <a:gd name="T83" fmla="*/ 68 h 108"/>
                <a:gd name="T84" fmla="*/ 84 w 128"/>
                <a:gd name="T85" fmla="*/ 64 h 108"/>
                <a:gd name="T86" fmla="*/ 88 w 128"/>
                <a:gd name="T87" fmla="*/ 88 h 108"/>
                <a:gd name="T88" fmla="*/ 100 w 128"/>
                <a:gd name="T89" fmla="*/ 84 h 108"/>
                <a:gd name="T90" fmla="*/ 88 w 128"/>
                <a:gd name="T91" fmla="*/ 88 h 108"/>
                <a:gd name="T92" fmla="*/ 112 w 128"/>
                <a:gd name="T93" fmla="*/ 56 h 108"/>
                <a:gd name="T94" fmla="*/ 120 w 128"/>
                <a:gd name="T95" fmla="*/ 28 h 108"/>
                <a:gd name="T96" fmla="*/ 116 w 128"/>
                <a:gd name="T97" fmla="*/ 5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 h="108">
                  <a:moveTo>
                    <a:pt x="124" y="28"/>
                  </a:moveTo>
                  <a:cubicBezTo>
                    <a:pt x="124" y="26"/>
                    <a:pt x="124" y="26"/>
                    <a:pt x="124" y="26"/>
                  </a:cubicBezTo>
                  <a:cubicBezTo>
                    <a:pt x="124" y="24"/>
                    <a:pt x="123" y="24"/>
                    <a:pt x="122" y="24"/>
                  </a:cubicBezTo>
                  <a:cubicBezTo>
                    <a:pt x="121" y="24"/>
                    <a:pt x="112" y="24"/>
                    <a:pt x="112" y="24"/>
                  </a:cubicBezTo>
                  <a:cubicBezTo>
                    <a:pt x="112" y="21"/>
                    <a:pt x="112" y="21"/>
                    <a:pt x="112" y="21"/>
                  </a:cubicBezTo>
                  <a:cubicBezTo>
                    <a:pt x="112" y="19"/>
                    <a:pt x="110" y="17"/>
                    <a:pt x="108" y="16"/>
                  </a:cubicBezTo>
                  <a:cubicBezTo>
                    <a:pt x="108" y="0"/>
                    <a:pt x="108" y="0"/>
                    <a:pt x="108" y="0"/>
                  </a:cubicBezTo>
                  <a:cubicBezTo>
                    <a:pt x="20" y="0"/>
                    <a:pt x="20" y="0"/>
                    <a:pt x="20" y="0"/>
                  </a:cubicBezTo>
                  <a:cubicBezTo>
                    <a:pt x="20" y="16"/>
                    <a:pt x="20" y="16"/>
                    <a:pt x="20" y="16"/>
                  </a:cubicBezTo>
                  <a:cubicBezTo>
                    <a:pt x="17" y="17"/>
                    <a:pt x="16" y="19"/>
                    <a:pt x="16" y="21"/>
                  </a:cubicBezTo>
                  <a:cubicBezTo>
                    <a:pt x="16" y="24"/>
                    <a:pt x="16" y="24"/>
                    <a:pt x="16" y="24"/>
                  </a:cubicBezTo>
                  <a:cubicBezTo>
                    <a:pt x="16" y="24"/>
                    <a:pt x="7" y="24"/>
                    <a:pt x="6" y="24"/>
                  </a:cubicBezTo>
                  <a:cubicBezTo>
                    <a:pt x="5" y="24"/>
                    <a:pt x="4" y="24"/>
                    <a:pt x="4" y="26"/>
                  </a:cubicBezTo>
                  <a:cubicBezTo>
                    <a:pt x="4" y="28"/>
                    <a:pt x="4" y="28"/>
                    <a:pt x="4" y="28"/>
                  </a:cubicBezTo>
                  <a:cubicBezTo>
                    <a:pt x="2" y="28"/>
                    <a:pt x="0" y="29"/>
                    <a:pt x="0" y="32"/>
                  </a:cubicBezTo>
                  <a:cubicBezTo>
                    <a:pt x="0" y="52"/>
                    <a:pt x="0" y="52"/>
                    <a:pt x="0" y="52"/>
                  </a:cubicBezTo>
                  <a:cubicBezTo>
                    <a:pt x="0" y="54"/>
                    <a:pt x="2" y="56"/>
                    <a:pt x="4" y="56"/>
                  </a:cubicBezTo>
                  <a:cubicBezTo>
                    <a:pt x="4" y="58"/>
                    <a:pt x="4" y="58"/>
                    <a:pt x="4" y="58"/>
                  </a:cubicBezTo>
                  <a:cubicBezTo>
                    <a:pt x="4" y="59"/>
                    <a:pt x="5" y="60"/>
                    <a:pt x="6" y="60"/>
                  </a:cubicBezTo>
                  <a:cubicBezTo>
                    <a:pt x="7" y="60"/>
                    <a:pt x="16" y="60"/>
                    <a:pt x="16" y="60"/>
                  </a:cubicBezTo>
                  <a:cubicBezTo>
                    <a:pt x="16" y="106"/>
                    <a:pt x="16" y="106"/>
                    <a:pt x="16" y="106"/>
                  </a:cubicBezTo>
                  <a:cubicBezTo>
                    <a:pt x="16" y="107"/>
                    <a:pt x="17" y="108"/>
                    <a:pt x="18" y="108"/>
                  </a:cubicBezTo>
                  <a:cubicBezTo>
                    <a:pt x="26" y="108"/>
                    <a:pt x="26" y="108"/>
                    <a:pt x="26" y="108"/>
                  </a:cubicBezTo>
                  <a:cubicBezTo>
                    <a:pt x="27" y="108"/>
                    <a:pt x="28" y="107"/>
                    <a:pt x="28" y="106"/>
                  </a:cubicBezTo>
                  <a:cubicBezTo>
                    <a:pt x="28" y="100"/>
                    <a:pt x="28" y="100"/>
                    <a:pt x="28" y="100"/>
                  </a:cubicBezTo>
                  <a:cubicBezTo>
                    <a:pt x="100" y="100"/>
                    <a:pt x="100" y="100"/>
                    <a:pt x="100" y="100"/>
                  </a:cubicBezTo>
                  <a:cubicBezTo>
                    <a:pt x="100" y="106"/>
                    <a:pt x="100" y="106"/>
                    <a:pt x="100" y="106"/>
                  </a:cubicBezTo>
                  <a:cubicBezTo>
                    <a:pt x="100" y="107"/>
                    <a:pt x="101" y="108"/>
                    <a:pt x="102" y="108"/>
                  </a:cubicBezTo>
                  <a:cubicBezTo>
                    <a:pt x="110" y="108"/>
                    <a:pt x="110" y="108"/>
                    <a:pt x="110" y="108"/>
                  </a:cubicBezTo>
                  <a:cubicBezTo>
                    <a:pt x="111" y="108"/>
                    <a:pt x="112" y="107"/>
                    <a:pt x="112" y="106"/>
                  </a:cubicBezTo>
                  <a:cubicBezTo>
                    <a:pt x="112" y="60"/>
                    <a:pt x="112" y="60"/>
                    <a:pt x="112" y="60"/>
                  </a:cubicBezTo>
                  <a:cubicBezTo>
                    <a:pt x="112" y="60"/>
                    <a:pt x="121" y="60"/>
                    <a:pt x="122" y="60"/>
                  </a:cubicBezTo>
                  <a:cubicBezTo>
                    <a:pt x="123" y="60"/>
                    <a:pt x="124" y="59"/>
                    <a:pt x="124" y="58"/>
                  </a:cubicBezTo>
                  <a:cubicBezTo>
                    <a:pt x="124" y="56"/>
                    <a:pt x="124" y="56"/>
                    <a:pt x="124" y="56"/>
                  </a:cubicBezTo>
                  <a:cubicBezTo>
                    <a:pt x="126" y="56"/>
                    <a:pt x="128" y="54"/>
                    <a:pt x="128" y="52"/>
                  </a:cubicBezTo>
                  <a:cubicBezTo>
                    <a:pt x="128" y="32"/>
                    <a:pt x="128" y="32"/>
                    <a:pt x="128" y="32"/>
                  </a:cubicBezTo>
                  <a:cubicBezTo>
                    <a:pt x="128" y="29"/>
                    <a:pt x="126" y="28"/>
                    <a:pt x="124" y="28"/>
                  </a:cubicBezTo>
                  <a:close/>
                  <a:moveTo>
                    <a:pt x="108" y="76"/>
                  </a:moveTo>
                  <a:cubicBezTo>
                    <a:pt x="104" y="80"/>
                    <a:pt x="104" y="80"/>
                    <a:pt x="104" y="80"/>
                  </a:cubicBezTo>
                  <a:cubicBezTo>
                    <a:pt x="88" y="80"/>
                    <a:pt x="88" y="80"/>
                    <a:pt x="88" y="80"/>
                  </a:cubicBezTo>
                  <a:cubicBezTo>
                    <a:pt x="88" y="72"/>
                    <a:pt x="88" y="72"/>
                    <a:pt x="88" y="72"/>
                  </a:cubicBezTo>
                  <a:cubicBezTo>
                    <a:pt x="108" y="68"/>
                    <a:pt x="108" y="68"/>
                    <a:pt x="108" y="68"/>
                  </a:cubicBezTo>
                  <a:lnTo>
                    <a:pt x="108" y="76"/>
                  </a:lnTo>
                  <a:close/>
                  <a:moveTo>
                    <a:pt x="24" y="30"/>
                  </a:moveTo>
                  <a:cubicBezTo>
                    <a:pt x="24" y="28"/>
                    <a:pt x="25" y="28"/>
                    <a:pt x="26" y="28"/>
                  </a:cubicBezTo>
                  <a:cubicBezTo>
                    <a:pt x="102" y="28"/>
                    <a:pt x="102" y="28"/>
                    <a:pt x="102" y="28"/>
                  </a:cubicBezTo>
                  <a:cubicBezTo>
                    <a:pt x="103" y="28"/>
                    <a:pt x="104" y="28"/>
                    <a:pt x="104" y="30"/>
                  </a:cubicBezTo>
                  <a:cubicBezTo>
                    <a:pt x="104" y="48"/>
                    <a:pt x="104" y="48"/>
                    <a:pt x="104" y="48"/>
                  </a:cubicBezTo>
                  <a:cubicBezTo>
                    <a:pt x="104" y="50"/>
                    <a:pt x="103" y="51"/>
                    <a:pt x="102" y="51"/>
                  </a:cubicBezTo>
                  <a:cubicBezTo>
                    <a:pt x="102" y="51"/>
                    <a:pt x="89" y="56"/>
                    <a:pt x="64" y="56"/>
                  </a:cubicBezTo>
                  <a:cubicBezTo>
                    <a:pt x="38" y="56"/>
                    <a:pt x="26" y="51"/>
                    <a:pt x="26" y="51"/>
                  </a:cubicBezTo>
                  <a:cubicBezTo>
                    <a:pt x="25" y="51"/>
                    <a:pt x="24" y="50"/>
                    <a:pt x="24" y="48"/>
                  </a:cubicBezTo>
                  <a:lnTo>
                    <a:pt x="24" y="30"/>
                  </a:lnTo>
                  <a:close/>
                  <a:moveTo>
                    <a:pt x="8" y="56"/>
                  </a:moveTo>
                  <a:cubicBezTo>
                    <a:pt x="10" y="56"/>
                    <a:pt x="12" y="54"/>
                    <a:pt x="12" y="52"/>
                  </a:cubicBezTo>
                  <a:cubicBezTo>
                    <a:pt x="12" y="32"/>
                    <a:pt x="12" y="32"/>
                    <a:pt x="12" y="32"/>
                  </a:cubicBezTo>
                  <a:cubicBezTo>
                    <a:pt x="12" y="29"/>
                    <a:pt x="10" y="28"/>
                    <a:pt x="8" y="28"/>
                  </a:cubicBezTo>
                  <a:cubicBezTo>
                    <a:pt x="9" y="28"/>
                    <a:pt x="15" y="28"/>
                    <a:pt x="16" y="28"/>
                  </a:cubicBezTo>
                  <a:cubicBezTo>
                    <a:pt x="16" y="28"/>
                    <a:pt x="16" y="28"/>
                    <a:pt x="16" y="28"/>
                  </a:cubicBezTo>
                  <a:cubicBezTo>
                    <a:pt x="16" y="56"/>
                    <a:pt x="16" y="56"/>
                    <a:pt x="16" y="56"/>
                  </a:cubicBezTo>
                  <a:cubicBezTo>
                    <a:pt x="15" y="56"/>
                    <a:pt x="9" y="56"/>
                    <a:pt x="8" y="56"/>
                  </a:cubicBezTo>
                  <a:close/>
                  <a:moveTo>
                    <a:pt x="40" y="88"/>
                  </a:moveTo>
                  <a:cubicBezTo>
                    <a:pt x="28" y="88"/>
                    <a:pt x="28" y="88"/>
                    <a:pt x="28" y="88"/>
                  </a:cubicBezTo>
                  <a:cubicBezTo>
                    <a:pt x="28" y="84"/>
                    <a:pt x="28" y="84"/>
                    <a:pt x="28" y="84"/>
                  </a:cubicBezTo>
                  <a:cubicBezTo>
                    <a:pt x="40" y="84"/>
                    <a:pt x="40" y="84"/>
                    <a:pt x="40" y="84"/>
                  </a:cubicBezTo>
                  <a:lnTo>
                    <a:pt x="40" y="88"/>
                  </a:lnTo>
                  <a:close/>
                  <a:moveTo>
                    <a:pt x="40" y="80"/>
                  </a:moveTo>
                  <a:cubicBezTo>
                    <a:pt x="24" y="80"/>
                    <a:pt x="24" y="80"/>
                    <a:pt x="24" y="80"/>
                  </a:cubicBezTo>
                  <a:cubicBezTo>
                    <a:pt x="20" y="76"/>
                    <a:pt x="20" y="76"/>
                    <a:pt x="20" y="76"/>
                  </a:cubicBezTo>
                  <a:cubicBezTo>
                    <a:pt x="20" y="68"/>
                    <a:pt x="20" y="68"/>
                    <a:pt x="20" y="68"/>
                  </a:cubicBezTo>
                  <a:cubicBezTo>
                    <a:pt x="40" y="72"/>
                    <a:pt x="40" y="72"/>
                    <a:pt x="40" y="72"/>
                  </a:cubicBezTo>
                  <a:lnTo>
                    <a:pt x="40" y="80"/>
                  </a:lnTo>
                  <a:close/>
                  <a:moveTo>
                    <a:pt x="76" y="96"/>
                  </a:moveTo>
                  <a:cubicBezTo>
                    <a:pt x="52" y="96"/>
                    <a:pt x="52" y="96"/>
                    <a:pt x="52" y="96"/>
                  </a:cubicBezTo>
                  <a:cubicBezTo>
                    <a:pt x="52" y="88"/>
                    <a:pt x="52" y="88"/>
                    <a:pt x="52" y="88"/>
                  </a:cubicBezTo>
                  <a:cubicBezTo>
                    <a:pt x="76" y="88"/>
                    <a:pt x="76" y="88"/>
                    <a:pt x="76" y="88"/>
                  </a:cubicBezTo>
                  <a:lnTo>
                    <a:pt x="76" y="96"/>
                  </a:lnTo>
                  <a:close/>
                  <a:moveTo>
                    <a:pt x="84" y="76"/>
                  </a:moveTo>
                  <a:cubicBezTo>
                    <a:pt x="44" y="76"/>
                    <a:pt x="44" y="76"/>
                    <a:pt x="44" y="76"/>
                  </a:cubicBezTo>
                  <a:cubicBezTo>
                    <a:pt x="44" y="72"/>
                    <a:pt x="44" y="72"/>
                    <a:pt x="44" y="72"/>
                  </a:cubicBezTo>
                  <a:cubicBezTo>
                    <a:pt x="84" y="72"/>
                    <a:pt x="84" y="72"/>
                    <a:pt x="84" y="72"/>
                  </a:cubicBezTo>
                  <a:lnTo>
                    <a:pt x="84" y="76"/>
                  </a:lnTo>
                  <a:close/>
                  <a:moveTo>
                    <a:pt x="84" y="68"/>
                  </a:moveTo>
                  <a:cubicBezTo>
                    <a:pt x="44" y="68"/>
                    <a:pt x="44" y="68"/>
                    <a:pt x="44" y="68"/>
                  </a:cubicBezTo>
                  <a:cubicBezTo>
                    <a:pt x="44" y="64"/>
                    <a:pt x="44" y="64"/>
                    <a:pt x="44" y="64"/>
                  </a:cubicBezTo>
                  <a:cubicBezTo>
                    <a:pt x="84" y="64"/>
                    <a:pt x="84" y="64"/>
                    <a:pt x="84" y="64"/>
                  </a:cubicBezTo>
                  <a:lnTo>
                    <a:pt x="84" y="68"/>
                  </a:lnTo>
                  <a:close/>
                  <a:moveTo>
                    <a:pt x="88" y="88"/>
                  </a:moveTo>
                  <a:cubicBezTo>
                    <a:pt x="88" y="84"/>
                    <a:pt x="88" y="84"/>
                    <a:pt x="88" y="84"/>
                  </a:cubicBezTo>
                  <a:cubicBezTo>
                    <a:pt x="100" y="84"/>
                    <a:pt x="100" y="84"/>
                    <a:pt x="100" y="84"/>
                  </a:cubicBezTo>
                  <a:cubicBezTo>
                    <a:pt x="100" y="88"/>
                    <a:pt x="100" y="88"/>
                    <a:pt x="100" y="88"/>
                  </a:cubicBezTo>
                  <a:lnTo>
                    <a:pt x="88" y="88"/>
                  </a:lnTo>
                  <a:close/>
                  <a:moveTo>
                    <a:pt x="120" y="56"/>
                  </a:moveTo>
                  <a:cubicBezTo>
                    <a:pt x="119" y="56"/>
                    <a:pt x="113" y="56"/>
                    <a:pt x="112" y="56"/>
                  </a:cubicBezTo>
                  <a:cubicBezTo>
                    <a:pt x="112" y="28"/>
                    <a:pt x="112" y="28"/>
                    <a:pt x="112" y="28"/>
                  </a:cubicBezTo>
                  <a:cubicBezTo>
                    <a:pt x="113" y="28"/>
                    <a:pt x="119" y="28"/>
                    <a:pt x="120" y="28"/>
                  </a:cubicBezTo>
                  <a:cubicBezTo>
                    <a:pt x="118" y="28"/>
                    <a:pt x="116" y="29"/>
                    <a:pt x="116" y="32"/>
                  </a:cubicBezTo>
                  <a:cubicBezTo>
                    <a:pt x="116" y="52"/>
                    <a:pt x="116" y="52"/>
                    <a:pt x="116" y="52"/>
                  </a:cubicBezTo>
                  <a:cubicBezTo>
                    <a:pt x="116" y="54"/>
                    <a:pt x="118" y="56"/>
                    <a:pt x="120" y="56"/>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259" name="Group 258"/>
          <p:cNvGrpSpPr/>
          <p:nvPr/>
        </p:nvGrpSpPr>
        <p:grpSpPr>
          <a:xfrm>
            <a:off x="8747074" y="4152270"/>
            <a:ext cx="434907" cy="326123"/>
            <a:chOff x="5729289" y="1319064"/>
            <a:chExt cx="349250" cy="220663"/>
          </a:xfrm>
          <a:solidFill>
            <a:srgbClr val="00338D"/>
          </a:solidFill>
        </p:grpSpPr>
        <p:sp>
          <p:nvSpPr>
            <p:cNvPr id="260" name="Freeform 2460"/>
            <p:cNvSpPr>
              <a:spLocks/>
            </p:cNvSpPr>
            <p:nvPr/>
          </p:nvSpPr>
          <p:spPr bwMode="auto">
            <a:xfrm>
              <a:off x="5773739" y="1360339"/>
              <a:ext cx="255588" cy="138113"/>
            </a:xfrm>
            <a:custGeom>
              <a:avLst/>
              <a:gdLst>
                <a:gd name="T0" fmla="*/ 0 w 161"/>
                <a:gd name="T1" fmla="*/ 21 h 87"/>
                <a:gd name="T2" fmla="*/ 14 w 161"/>
                <a:gd name="T3" fmla="*/ 21 h 87"/>
                <a:gd name="T4" fmla="*/ 14 w 161"/>
                <a:gd name="T5" fmla="*/ 9 h 87"/>
                <a:gd name="T6" fmla="*/ 147 w 161"/>
                <a:gd name="T7" fmla="*/ 9 h 87"/>
                <a:gd name="T8" fmla="*/ 147 w 161"/>
                <a:gd name="T9" fmla="*/ 76 h 87"/>
                <a:gd name="T10" fmla="*/ 137 w 161"/>
                <a:gd name="T11" fmla="*/ 76 h 87"/>
                <a:gd name="T12" fmla="*/ 137 w 161"/>
                <a:gd name="T13" fmla="*/ 87 h 87"/>
                <a:gd name="T14" fmla="*/ 161 w 161"/>
                <a:gd name="T15" fmla="*/ 87 h 87"/>
                <a:gd name="T16" fmla="*/ 161 w 161"/>
                <a:gd name="T17" fmla="*/ 0 h 87"/>
                <a:gd name="T18" fmla="*/ 0 w 161"/>
                <a:gd name="T19" fmla="*/ 0 h 87"/>
                <a:gd name="T20" fmla="*/ 0 w 161"/>
                <a:gd name="T21"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87">
                  <a:moveTo>
                    <a:pt x="0" y="21"/>
                  </a:moveTo>
                  <a:lnTo>
                    <a:pt x="14" y="21"/>
                  </a:lnTo>
                  <a:lnTo>
                    <a:pt x="14" y="9"/>
                  </a:lnTo>
                  <a:lnTo>
                    <a:pt x="147" y="9"/>
                  </a:lnTo>
                  <a:lnTo>
                    <a:pt x="147" y="76"/>
                  </a:lnTo>
                  <a:lnTo>
                    <a:pt x="137" y="76"/>
                  </a:lnTo>
                  <a:lnTo>
                    <a:pt x="137" y="87"/>
                  </a:lnTo>
                  <a:lnTo>
                    <a:pt x="161" y="87"/>
                  </a:lnTo>
                  <a:lnTo>
                    <a:pt x="161" y="0"/>
                  </a:lnTo>
                  <a:lnTo>
                    <a:pt x="0" y="0"/>
                  </a:ln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61" name="Freeform 2461"/>
            <p:cNvSpPr>
              <a:spLocks/>
            </p:cNvSpPr>
            <p:nvPr/>
          </p:nvSpPr>
          <p:spPr bwMode="auto">
            <a:xfrm>
              <a:off x="5819776" y="1319064"/>
              <a:ext cx="258763" cy="138113"/>
            </a:xfrm>
            <a:custGeom>
              <a:avLst/>
              <a:gdLst>
                <a:gd name="T0" fmla="*/ 0 w 163"/>
                <a:gd name="T1" fmla="*/ 0 h 87"/>
                <a:gd name="T2" fmla="*/ 0 w 163"/>
                <a:gd name="T3" fmla="*/ 21 h 87"/>
                <a:gd name="T4" fmla="*/ 16 w 163"/>
                <a:gd name="T5" fmla="*/ 21 h 87"/>
                <a:gd name="T6" fmla="*/ 16 w 163"/>
                <a:gd name="T7" fmla="*/ 12 h 87"/>
                <a:gd name="T8" fmla="*/ 146 w 163"/>
                <a:gd name="T9" fmla="*/ 12 h 87"/>
                <a:gd name="T10" fmla="*/ 146 w 163"/>
                <a:gd name="T11" fmla="*/ 76 h 87"/>
                <a:gd name="T12" fmla="*/ 137 w 163"/>
                <a:gd name="T13" fmla="*/ 76 h 87"/>
                <a:gd name="T14" fmla="*/ 137 w 163"/>
                <a:gd name="T15" fmla="*/ 87 h 87"/>
                <a:gd name="T16" fmla="*/ 163 w 163"/>
                <a:gd name="T17" fmla="*/ 87 h 87"/>
                <a:gd name="T18" fmla="*/ 163 w 163"/>
                <a:gd name="T19" fmla="*/ 0 h 87"/>
                <a:gd name="T20" fmla="*/ 0 w 163"/>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87">
                  <a:moveTo>
                    <a:pt x="0" y="0"/>
                  </a:moveTo>
                  <a:lnTo>
                    <a:pt x="0" y="21"/>
                  </a:lnTo>
                  <a:lnTo>
                    <a:pt x="16" y="21"/>
                  </a:lnTo>
                  <a:lnTo>
                    <a:pt x="16" y="12"/>
                  </a:lnTo>
                  <a:lnTo>
                    <a:pt x="146" y="12"/>
                  </a:lnTo>
                  <a:lnTo>
                    <a:pt x="146" y="76"/>
                  </a:lnTo>
                  <a:lnTo>
                    <a:pt x="137" y="76"/>
                  </a:lnTo>
                  <a:lnTo>
                    <a:pt x="137" y="87"/>
                  </a:lnTo>
                  <a:lnTo>
                    <a:pt x="163" y="87"/>
                  </a:lnTo>
                  <a:lnTo>
                    <a:pt x="16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62" name="Freeform 2462"/>
            <p:cNvSpPr>
              <a:spLocks/>
            </p:cNvSpPr>
            <p:nvPr/>
          </p:nvSpPr>
          <p:spPr bwMode="auto">
            <a:xfrm>
              <a:off x="5845176" y="1465114"/>
              <a:ext cx="26988" cy="15875"/>
            </a:xfrm>
            <a:custGeom>
              <a:avLst/>
              <a:gdLst>
                <a:gd name="T0" fmla="*/ 7 w 7"/>
                <a:gd name="T1" fmla="*/ 2 h 4"/>
                <a:gd name="T2" fmla="*/ 7 w 7"/>
                <a:gd name="T3" fmla="*/ 2 h 4"/>
                <a:gd name="T4" fmla="*/ 7 w 7"/>
                <a:gd name="T5" fmla="*/ 2 h 4"/>
                <a:gd name="T6" fmla="*/ 6 w 7"/>
                <a:gd name="T7" fmla="*/ 3 h 4"/>
                <a:gd name="T8" fmla="*/ 5 w 7"/>
                <a:gd name="T9" fmla="*/ 3 h 4"/>
                <a:gd name="T10" fmla="*/ 5 w 7"/>
                <a:gd name="T11" fmla="*/ 3 h 4"/>
                <a:gd name="T12" fmla="*/ 5 w 7"/>
                <a:gd name="T13" fmla="*/ 3 h 4"/>
                <a:gd name="T14" fmla="*/ 5 w 7"/>
                <a:gd name="T15" fmla="*/ 1 h 4"/>
                <a:gd name="T16" fmla="*/ 7 w 7"/>
                <a:gd name="T17" fmla="*/ 1 h 4"/>
                <a:gd name="T18" fmla="*/ 7 w 7"/>
                <a:gd name="T19" fmla="*/ 0 h 4"/>
                <a:gd name="T20" fmla="*/ 1 w 7"/>
                <a:gd name="T21" fmla="*/ 0 h 4"/>
                <a:gd name="T22" fmla="*/ 1 w 7"/>
                <a:gd name="T23" fmla="*/ 1 h 4"/>
                <a:gd name="T24" fmla="*/ 2 w 7"/>
                <a:gd name="T25" fmla="*/ 1 h 4"/>
                <a:gd name="T26" fmla="*/ 1 w 7"/>
                <a:gd name="T27" fmla="*/ 3 h 4"/>
                <a:gd name="T28" fmla="*/ 0 w 7"/>
                <a:gd name="T29" fmla="*/ 4 h 4"/>
                <a:gd name="T30" fmla="*/ 1 w 7"/>
                <a:gd name="T31" fmla="*/ 4 h 4"/>
                <a:gd name="T32" fmla="*/ 1 w 7"/>
                <a:gd name="T33" fmla="*/ 4 h 4"/>
                <a:gd name="T34" fmla="*/ 1 w 7"/>
                <a:gd name="T35" fmla="*/ 4 h 4"/>
                <a:gd name="T36" fmla="*/ 1 w 7"/>
                <a:gd name="T37" fmla="*/ 4 h 4"/>
                <a:gd name="T38" fmla="*/ 3 w 7"/>
                <a:gd name="T39" fmla="*/ 1 h 4"/>
                <a:gd name="T40" fmla="*/ 3 w 7"/>
                <a:gd name="T41" fmla="*/ 1 h 4"/>
                <a:gd name="T42" fmla="*/ 4 w 7"/>
                <a:gd name="T43" fmla="*/ 1 h 4"/>
                <a:gd name="T44" fmla="*/ 4 w 7"/>
                <a:gd name="T45" fmla="*/ 3 h 4"/>
                <a:gd name="T46" fmla="*/ 5 w 7"/>
                <a:gd name="T47" fmla="*/ 4 h 4"/>
                <a:gd name="T48" fmla="*/ 6 w 7"/>
                <a:gd name="T49" fmla="*/ 4 h 4"/>
                <a:gd name="T50" fmla="*/ 7 w 7"/>
                <a:gd name="T51" fmla="*/ 2 h 4"/>
                <a:gd name="T52" fmla="*/ 7 w 7"/>
                <a:gd name="T53" fmla="*/ 2 h 4"/>
                <a:gd name="T54" fmla="*/ 7 w 7"/>
                <a:gd name="T5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 h="4">
                  <a:moveTo>
                    <a:pt x="7" y="2"/>
                  </a:moveTo>
                  <a:cubicBezTo>
                    <a:pt x="7" y="2"/>
                    <a:pt x="7" y="2"/>
                    <a:pt x="7" y="2"/>
                  </a:cubicBezTo>
                  <a:cubicBezTo>
                    <a:pt x="7" y="2"/>
                    <a:pt x="7" y="2"/>
                    <a:pt x="7" y="2"/>
                  </a:cubicBezTo>
                  <a:cubicBezTo>
                    <a:pt x="6" y="3"/>
                    <a:pt x="6" y="3"/>
                    <a:pt x="6" y="3"/>
                  </a:cubicBezTo>
                  <a:cubicBezTo>
                    <a:pt x="5" y="3"/>
                    <a:pt x="5" y="3"/>
                    <a:pt x="5" y="3"/>
                  </a:cubicBezTo>
                  <a:cubicBezTo>
                    <a:pt x="5" y="3"/>
                    <a:pt x="5" y="3"/>
                    <a:pt x="5" y="3"/>
                  </a:cubicBezTo>
                  <a:cubicBezTo>
                    <a:pt x="5" y="3"/>
                    <a:pt x="5" y="3"/>
                    <a:pt x="5" y="3"/>
                  </a:cubicBezTo>
                  <a:cubicBezTo>
                    <a:pt x="5" y="1"/>
                    <a:pt x="5" y="1"/>
                    <a:pt x="5" y="1"/>
                  </a:cubicBezTo>
                  <a:cubicBezTo>
                    <a:pt x="7" y="1"/>
                    <a:pt x="7" y="1"/>
                    <a:pt x="7" y="1"/>
                  </a:cubicBezTo>
                  <a:cubicBezTo>
                    <a:pt x="7" y="0"/>
                    <a:pt x="7" y="0"/>
                    <a:pt x="7" y="0"/>
                  </a:cubicBezTo>
                  <a:cubicBezTo>
                    <a:pt x="1" y="0"/>
                    <a:pt x="1" y="0"/>
                    <a:pt x="1" y="0"/>
                  </a:cubicBezTo>
                  <a:cubicBezTo>
                    <a:pt x="1" y="1"/>
                    <a:pt x="1" y="1"/>
                    <a:pt x="1" y="1"/>
                  </a:cubicBezTo>
                  <a:cubicBezTo>
                    <a:pt x="2" y="1"/>
                    <a:pt x="2" y="1"/>
                    <a:pt x="2" y="1"/>
                  </a:cubicBezTo>
                  <a:cubicBezTo>
                    <a:pt x="2" y="2"/>
                    <a:pt x="2" y="3"/>
                    <a:pt x="1" y="3"/>
                  </a:cubicBezTo>
                  <a:cubicBezTo>
                    <a:pt x="0" y="4"/>
                    <a:pt x="0" y="4"/>
                    <a:pt x="0" y="4"/>
                  </a:cubicBezTo>
                  <a:cubicBezTo>
                    <a:pt x="1" y="4"/>
                    <a:pt x="1" y="4"/>
                    <a:pt x="1" y="4"/>
                  </a:cubicBezTo>
                  <a:cubicBezTo>
                    <a:pt x="1" y="4"/>
                    <a:pt x="1" y="4"/>
                    <a:pt x="1" y="4"/>
                  </a:cubicBezTo>
                  <a:cubicBezTo>
                    <a:pt x="1" y="4"/>
                    <a:pt x="1" y="4"/>
                    <a:pt x="1" y="4"/>
                  </a:cubicBezTo>
                  <a:cubicBezTo>
                    <a:pt x="1" y="4"/>
                    <a:pt x="1" y="4"/>
                    <a:pt x="1" y="4"/>
                  </a:cubicBezTo>
                  <a:cubicBezTo>
                    <a:pt x="3" y="4"/>
                    <a:pt x="3" y="2"/>
                    <a:pt x="3" y="1"/>
                  </a:cubicBezTo>
                  <a:cubicBezTo>
                    <a:pt x="3" y="1"/>
                    <a:pt x="3" y="1"/>
                    <a:pt x="3" y="1"/>
                  </a:cubicBezTo>
                  <a:cubicBezTo>
                    <a:pt x="4" y="1"/>
                    <a:pt x="4" y="1"/>
                    <a:pt x="4" y="1"/>
                  </a:cubicBezTo>
                  <a:cubicBezTo>
                    <a:pt x="4" y="3"/>
                    <a:pt x="4" y="3"/>
                    <a:pt x="4" y="3"/>
                  </a:cubicBezTo>
                  <a:cubicBezTo>
                    <a:pt x="4" y="4"/>
                    <a:pt x="5" y="4"/>
                    <a:pt x="5" y="4"/>
                  </a:cubicBezTo>
                  <a:cubicBezTo>
                    <a:pt x="6" y="4"/>
                    <a:pt x="6" y="4"/>
                    <a:pt x="6" y="4"/>
                  </a:cubicBezTo>
                  <a:cubicBezTo>
                    <a:pt x="7" y="4"/>
                    <a:pt x="7" y="4"/>
                    <a:pt x="7" y="2"/>
                  </a:cubicBezTo>
                  <a:cubicBezTo>
                    <a:pt x="7" y="2"/>
                    <a:pt x="7" y="2"/>
                    <a:pt x="7" y="2"/>
                  </a:cubicBezTo>
                  <a:cubicBezTo>
                    <a:pt x="7" y="2"/>
                    <a:pt x="7" y="2"/>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63" name="Rectangle 2463"/>
            <p:cNvSpPr>
              <a:spLocks noChangeArrowheads="1"/>
            </p:cNvSpPr>
            <p:nvPr/>
          </p:nvSpPr>
          <p:spPr bwMode="auto">
            <a:xfrm>
              <a:off x="5848351" y="1457177"/>
              <a:ext cx="23813"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64" name="Freeform 2464"/>
            <p:cNvSpPr>
              <a:spLocks noEditPoints="1"/>
            </p:cNvSpPr>
            <p:nvPr/>
          </p:nvSpPr>
          <p:spPr bwMode="auto">
            <a:xfrm>
              <a:off x="5834064" y="1442889"/>
              <a:ext cx="52388" cy="52388"/>
            </a:xfrm>
            <a:custGeom>
              <a:avLst/>
              <a:gdLst>
                <a:gd name="T0" fmla="*/ 7 w 14"/>
                <a:gd name="T1" fmla="*/ 0 h 14"/>
                <a:gd name="T2" fmla="*/ 0 w 14"/>
                <a:gd name="T3" fmla="*/ 7 h 14"/>
                <a:gd name="T4" fmla="*/ 7 w 14"/>
                <a:gd name="T5" fmla="*/ 14 h 14"/>
                <a:gd name="T6" fmla="*/ 14 w 14"/>
                <a:gd name="T7" fmla="*/ 7 h 14"/>
                <a:gd name="T8" fmla="*/ 7 w 14"/>
                <a:gd name="T9" fmla="*/ 0 h 14"/>
                <a:gd name="T10" fmla="*/ 7 w 14"/>
                <a:gd name="T11" fmla="*/ 13 h 14"/>
                <a:gd name="T12" fmla="*/ 1 w 14"/>
                <a:gd name="T13" fmla="*/ 7 h 14"/>
                <a:gd name="T14" fmla="*/ 7 w 14"/>
                <a:gd name="T15" fmla="*/ 1 h 14"/>
                <a:gd name="T16" fmla="*/ 13 w 14"/>
                <a:gd name="T17" fmla="*/ 7 h 14"/>
                <a:gd name="T18" fmla="*/ 7 w 14"/>
                <a:gd name="T1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4">
                  <a:moveTo>
                    <a:pt x="7" y="0"/>
                  </a:moveTo>
                  <a:cubicBezTo>
                    <a:pt x="3" y="0"/>
                    <a:pt x="0" y="3"/>
                    <a:pt x="0" y="7"/>
                  </a:cubicBezTo>
                  <a:cubicBezTo>
                    <a:pt x="0" y="11"/>
                    <a:pt x="3" y="14"/>
                    <a:pt x="7" y="14"/>
                  </a:cubicBezTo>
                  <a:cubicBezTo>
                    <a:pt x="11" y="14"/>
                    <a:pt x="14" y="11"/>
                    <a:pt x="14" y="7"/>
                  </a:cubicBezTo>
                  <a:cubicBezTo>
                    <a:pt x="14" y="3"/>
                    <a:pt x="11" y="0"/>
                    <a:pt x="7" y="0"/>
                  </a:cubicBezTo>
                  <a:close/>
                  <a:moveTo>
                    <a:pt x="7" y="13"/>
                  </a:moveTo>
                  <a:cubicBezTo>
                    <a:pt x="4" y="13"/>
                    <a:pt x="1" y="10"/>
                    <a:pt x="1" y="7"/>
                  </a:cubicBezTo>
                  <a:cubicBezTo>
                    <a:pt x="1" y="4"/>
                    <a:pt x="4" y="1"/>
                    <a:pt x="7" y="1"/>
                  </a:cubicBezTo>
                  <a:cubicBezTo>
                    <a:pt x="10" y="1"/>
                    <a:pt x="13" y="4"/>
                    <a:pt x="13" y="7"/>
                  </a:cubicBezTo>
                  <a:cubicBezTo>
                    <a:pt x="13" y="10"/>
                    <a:pt x="10" y="13"/>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65" name="Freeform 2465"/>
            <p:cNvSpPr>
              <a:spLocks noEditPoints="1"/>
            </p:cNvSpPr>
            <p:nvPr/>
          </p:nvSpPr>
          <p:spPr bwMode="auto">
            <a:xfrm>
              <a:off x="5773739" y="1431777"/>
              <a:ext cx="165100" cy="74613"/>
            </a:xfrm>
            <a:custGeom>
              <a:avLst/>
              <a:gdLst>
                <a:gd name="T0" fmla="*/ 39 w 44"/>
                <a:gd name="T1" fmla="*/ 0 h 20"/>
                <a:gd name="T2" fmla="*/ 6 w 44"/>
                <a:gd name="T3" fmla="*/ 0 h 20"/>
                <a:gd name="T4" fmla="*/ 0 w 44"/>
                <a:gd name="T5" fmla="*/ 5 h 20"/>
                <a:gd name="T6" fmla="*/ 0 w 44"/>
                <a:gd name="T7" fmla="*/ 15 h 20"/>
                <a:gd name="T8" fmla="*/ 5 w 44"/>
                <a:gd name="T9" fmla="*/ 20 h 20"/>
                <a:gd name="T10" fmla="*/ 39 w 44"/>
                <a:gd name="T11" fmla="*/ 20 h 20"/>
                <a:gd name="T12" fmla="*/ 44 w 44"/>
                <a:gd name="T13" fmla="*/ 14 h 20"/>
                <a:gd name="T14" fmla="*/ 44 w 44"/>
                <a:gd name="T15" fmla="*/ 6 h 20"/>
                <a:gd name="T16" fmla="*/ 39 w 44"/>
                <a:gd name="T17" fmla="*/ 0 h 20"/>
                <a:gd name="T18" fmla="*/ 23 w 44"/>
                <a:gd name="T19" fmla="*/ 17 h 20"/>
                <a:gd name="T20" fmla="*/ 15 w 44"/>
                <a:gd name="T21" fmla="*/ 10 h 20"/>
                <a:gd name="T22" fmla="*/ 23 w 44"/>
                <a:gd name="T23" fmla="*/ 3 h 20"/>
                <a:gd name="T24" fmla="*/ 30 w 44"/>
                <a:gd name="T25" fmla="*/ 10 h 20"/>
                <a:gd name="T26" fmla="*/ 23 w 44"/>
                <a:gd name="T27"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20">
                  <a:moveTo>
                    <a:pt x="39" y="0"/>
                  </a:moveTo>
                  <a:cubicBezTo>
                    <a:pt x="6" y="0"/>
                    <a:pt x="6" y="0"/>
                    <a:pt x="6" y="0"/>
                  </a:cubicBezTo>
                  <a:cubicBezTo>
                    <a:pt x="6" y="0"/>
                    <a:pt x="6" y="5"/>
                    <a:pt x="0" y="5"/>
                  </a:cubicBezTo>
                  <a:cubicBezTo>
                    <a:pt x="0" y="15"/>
                    <a:pt x="0" y="15"/>
                    <a:pt x="0" y="15"/>
                  </a:cubicBezTo>
                  <a:cubicBezTo>
                    <a:pt x="0" y="15"/>
                    <a:pt x="5" y="15"/>
                    <a:pt x="5" y="20"/>
                  </a:cubicBezTo>
                  <a:cubicBezTo>
                    <a:pt x="39" y="20"/>
                    <a:pt x="39" y="20"/>
                    <a:pt x="39" y="20"/>
                  </a:cubicBezTo>
                  <a:cubicBezTo>
                    <a:pt x="39" y="14"/>
                    <a:pt x="44" y="14"/>
                    <a:pt x="44" y="14"/>
                  </a:cubicBezTo>
                  <a:cubicBezTo>
                    <a:pt x="44" y="6"/>
                    <a:pt x="44" y="6"/>
                    <a:pt x="44" y="6"/>
                  </a:cubicBezTo>
                  <a:cubicBezTo>
                    <a:pt x="38" y="6"/>
                    <a:pt x="39" y="0"/>
                    <a:pt x="39" y="0"/>
                  </a:cubicBezTo>
                  <a:close/>
                  <a:moveTo>
                    <a:pt x="23" y="17"/>
                  </a:moveTo>
                  <a:cubicBezTo>
                    <a:pt x="19" y="17"/>
                    <a:pt x="15" y="14"/>
                    <a:pt x="15" y="10"/>
                  </a:cubicBezTo>
                  <a:cubicBezTo>
                    <a:pt x="15" y="6"/>
                    <a:pt x="19" y="3"/>
                    <a:pt x="23" y="3"/>
                  </a:cubicBezTo>
                  <a:cubicBezTo>
                    <a:pt x="27" y="3"/>
                    <a:pt x="30" y="6"/>
                    <a:pt x="30" y="10"/>
                  </a:cubicBezTo>
                  <a:cubicBezTo>
                    <a:pt x="30" y="14"/>
                    <a:pt x="27" y="17"/>
                    <a:pt x="2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66" name="Freeform 2466"/>
            <p:cNvSpPr>
              <a:spLocks noEditPoints="1"/>
            </p:cNvSpPr>
            <p:nvPr/>
          </p:nvSpPr>
          <p:spPr bwMode="auto">
            <a:xfrm>
              <a:off x="5729289" y="1398439"/>
              <a:ext cx="255588" cy="141288"/>
            </a:xfrm>
            <a:custGeom>
              <a:avLst/>
              <a:gdLst>
                <a:gd name="T0" fmla="*/ 0 w 161"/>
                <a:gd name="T1" fmla="*/ 89 h 89"/>
                <a:gd name="T2" fmla="*/ 161 w 161"/>
                <a:gd name="T3" fmla="*/ 89 h 89"/>
                <a:gd name="T4" fmla="*/ 161 w 161"/>
                <a:gd name="T5" fmla="*/ 0 h 89"/>
                <a:gd name="T6" fmla="*/ 0 w 161"/>
                <a:gd name="T7" fmla="*/ 0 h 89"/>
                <a:gd name="T8" fmla="*/ 0 w 161"/>
                <a:gd name="T9" fmla="*/ 89 h 89"/>
                <a:gd name="T10" fmla="*/ 14 w 161"/>
                <a:gd name="T11" fmla="*/ 11 h 89"/>
                <a:gd name="T12" fmla="*/ 147 w 161"/>
                <a:gd name="T13" fmla="*/ 11 h 89"/>
                <a:gd name="T14" fmla="*/ 147 w 161"/>
                <a:gd name="T15" fmla="*/ 78 h 89"/>
                <a:gd name="T16" fmla="*/ 14 w 161"/>
                <a:gd name="T17" fmla="*/ 78 h 89"/>
                <a:gd name="T18" fmla="*/ 14 w 161"/>
                <a:gd name="T19" fmla="*/ 1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1" h="89">
                  <a:moveTo>
                    <a:pt x="0" y="89"/>
                  </a:moveTo>
                  <a:lnTo>
                    <a:pt x="161" y="89"/>
                  </a:lnTo>
                  <a:lnTo>
                    <a:pt x="161" y="0"/>
                  </a:lnTo>
                  <a:lnTo>
                    <a:pt x="0" y="0"/>
                  </a:lnTo>
                  <a:lnTo>
                    <a:pt x="0" y="89"/>
                  </a:lnTo>
                  <a:close/>
                  <a:moveTo>
                    <a:pt x="14" y="11"/>
                  </a:moveTo>
                  <a:lnTo>
                    <a:pt x="147" y="11"/>
                  </a:lnTo>
                  <a:lnTo>
                    <a:pt x="147" y="78"/>
                  </a:lnTo>
                  <a:lnTo>
                    <a:pt x="14" y="78"/>
                  </a:lnTo>
                  <a:lnTo>
                    <a:pt x="14"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grpSp>
      <p:grpSp>
        <p:nvGrpSpPr>
          <p:cNvPr id="267" name="Group 266"/>
          <p:cNvGrpSpPr/>
          <p:nvPr/>
        </p:nvGrpSpPr>
        <p:grpSpPr>
          <a:xfrm>
            <a:off x="8996767" y="4480879"/>
            <a:ext cx="434907" cy="326123"/>
            <a:chOff x="5729289" y="1319064"/>
            <a:chExt cx="349250" cy="220663"/>
          </a:xfrm>
          <a:solidFill>
            <a:srgbClr val="00338D"/>
          </a:solidFill>
        </p:grpSpPr>
        <p:sp>
          <p:nvSpPr>
            <p:cNvPr id="268" name="Freeform 2460"/>
            <p:cNvSpPr>
              <a:spLocks/>
            </p:cNvSpPr>
            <p:nvPr/>
          </p:nvSpPr>
          <p:spPr bwMode="auto">
            <a:xfrm>
              <a:off x="5773739" y="1360339"/>
              <a:ext cx="255588" cy="138113"/>
            </a:xfrm>
            <a:custGeom>
              <a:avLst/>
              <a:gdLst>
                <a:gd name="T0" fmla="*/ 0 w 161"/>
                <a:gd name="T1" fmla="*/ 21 h 87"/>
                <a:gd name="T2" fmla="*/ 14 w 161"/>
                <a:gd name="T3" fmla="*/ 21 h 87"/>
                <a:gd name="T4" fmla="*/ 14 w 161"/>
                <a:gd name="T5" fmla="*/ 9 h 87"/>
                <a:gd name="T6" fmla="*/ 147 w 161"/>
                <a:gd name="T7" fmla="*/ 9 h 87"/>
                <a:gd name="T8" fmla="*/ 147 w 161"/>
                <a:gd name="T9" fmla="*/ 76 h 87"/>
                <a:gd name="T10" fmla="*/ 137 w 161"/>
                <a:gd name="T11" fmla="*/ 76 h 87"/>
                <a:gd name="T12" fmla="*/ 137 w 161"/>
                <a:gd name="T13" fmla="*/ 87 h 87"/>
                <a:gd name="T14" fmla="*/ 161 w 161"/>
                <a:gd name="T15" fmla="*/ 87 h 87"/>
                <a:gd name="T16" fmla="*/ 161 w 161"/>
                <a:gd name="T17" fmla="*/ 0 h 87"/>
                <a:gd name="T18" fmla="*/ 0 w 161"/>
                <a:gd name="T19" fmla="*/ 0 h 87"/>
                <a:gd name="T20" fmla="*/ 0 w 161"/>
                <a:gd name="T21"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 h="87">
                  <a:moveTo>
                    <a:pt x="0" y="21"/>
                  </a:moveTo>
                  <a:lnTo>
                    <a:pt x="14" y="21"/>
                  </a:lnTo>
                  <a:lnTo>
                    <a:pt x="14" y="9"/>
                  </a:lnTo>
                  <a:lnTo>
                    <a:pt x="147" y="9"/>
                  </a:lnTo>
                  <a:lnTo>
                    <a:pt x="147" y="76"/>
                  </a:lnTo>
                  <a:lnTo>
                    <a:pt x="137" y="76"/>
                  </a:lnTo>
                  <a:lnTo>
                    <a:pt x="137" y="87"/>
                  </a:lnTo>
                  <a:lnTo>
                    <a:pt x="161" y="87"/>
                  </a:lnTo>
                  <a:lnTo>
                    <a:pt x="161" y="0"/>
                  </a:lnTo>
                  <a:lnTo>
                    <a:pt x="0" y="0"/>
                  </a:ln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69" name="Freeform 2461"/>
            <p:cNvSpPr>
              <a:spLocks/>
            </p:cNvSpPr>
            <p:nvPr/>
          </p:nvSpPr>
          <p:spPr bwMode="auto">
            <a:xfrm>
              <a:off x="5819776" y="1319064"/>
              <a:ext cx="258763" cy="138113"/>
            </a:xfrm>
            <a:custGeom>
              <a:avLst/>
              <a:gdLst>
                <a:gd name="T0" fmla="*/ 0 w 163"/>
                <a:gd name="T1" fmla="*/ 0 h 87"/>
                <a:gd name="T2" fmla="*/ 0 w 163"/>
                <a:gd name="T3" fmla="*/ 21 h 87"/>
                <a:gd name="T4" fmla="*/ 16 w 163"/>
                <a:gd name="T5" fmla="*/ 21 h 87"/>
                <a:gd name="T6" fmla="*/ 16 w 163"/>
                <a:gd name="T7" fmla="*/ 12 h 87"/>
                <a:gd name="T8" fmla="*/ 146 w 163"/>
                <a:gd name="T9" fmla="*/ 12 h 87"/>
                <a:gd name="T10" fmla="*/ 146 w 163"/>
                <a:gd name="T11" fmla="*/ 76 h 87"/>
                <a:gd name="T12" fmla="*/ 137 w 163"/>
                <a:gd name="T13" fmla="*/ 76 h 87"/>
                <a:gd name="T14" fmla="*/ 137 w 163"/>
                <a:gd name="T15" fmla="*/ 87 h 87"/>
                <a:gd name="T16" fmla="*/ 163 w 163"/>
                <a:gd name="T17" fmla="*/ 87 h 87"/>
                <a:gd name="T18" fmla="*/ 163 w 163"/>
                <a:gd name="T19" fmla="*/ 0 h 87"/>
                <a:gd name="T20" fmla="*/ 0 w 163"/>
                <a:gd name="T2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87">
                  <a:moveTo>
                    <a:pt x="0" y="0"/>
                  </a:moveTo>
                  <a:lnTo>
                    <a:pt x="0" y="21"/>
                  </a:lnTo>
                  <a:lnTo>
                    <a:pt x="16" y="21"/>
                  </a:lnTo>
                  <a:lnTo>
                    <a:pt x="16" y="12"/>
                  </a:lnTo>
                  <a:lnTo>
                    <a:pt x="146" y="12"/>
                  </a:lnTo>
                  <a:lnTo>
                    <a:pt x="146" y="76"/>
                  </a:lnTo>
                  <a:lnTo>
                    <a:pt x="137" y="76"/>
                  </a:lnTo>
                  <a:lnTo>
                    <a:pt x="137" y="87"/>
                  </a:lnTo>
                  <a:lnTo>
                    <a:pt x="163" y="87"/>
                  </a:lnTo>
                  <a:lnTo>
                    <a:pt x="163"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70" name="Freeform 2462"/>
            <p:cNvSpPr>
              <a:spLocks/>
            </p:cNvSpPr>
            <p:nvPr/>
          </p:nvSpPr>
          <p:spPr bwMode="auto">
            <a:xfrm>
              <a:off x="5845176" y="1465114"/>
              <a:ext cx="26988" cy="15875"/>
            </a:xfrm>
            <a:custGeom>
              <a:avLst/>
              <a:gdLst>
                <a:gd name="T0" fmla="*/ 7 w 7"/>
                <a:gd name="T1" fmla="*/ 2 h 4"/>
                <a:gd name="T2" fmla="*/ 7 w 7"/>
                <a:gd name="T3" fmla="*/ 2 h 4"/>
                <a:gd name="T4" fmla="*/ 7 w 7"/>
                <a:gd name="T5" fmla="*/ 2 h 4"/>
                <a:gd name="T6" fmla="*/ 6 w 7"/>
                <a:gd name="T7" fmla="*/ 3 h 4"/>
                <a:gd name="T8" fmla="*/ 5 w 7"/>
                <a:gd name="T9" fmla="*/ 3 h 4"/>
                <a:gd name="T10" fmla="*/ 5 w 7"/>
                <a:gd name="T11" fmla="*/ 3 h 4"/>
                <a:gd name="T12" fmla="*/ 5 w 7"/>
                <a:gd name="T13" fmla="*/ 3 h 4"/>
                <a:gd name="T14" fmla="*/ 5 w 7"/>
                <a:gd name="T15" fmla="*/ 1 h 4"/>
                <a:gd name="T16" fmla="*/ 7 w 7"/>
                <a:gd name="T17" fmla="*/ 1 h 4"/>
                <a:gd name="T18" fmla="*/ 7 w 7"/>
                <a:gd name="T19" fmla="*/ 0 h 4"/>
                <a:gd name="T20" fmla="*/ 1 w 7"/>
                <a:gd name="T21" fmla="*/ 0 h 4"/>
                <a:gd name="T22" fmla="*/ 1 w 7"/>
                <a:gd name="T23" fmla="*/ 1 h 4"/>
                <a:gd name="T24" fmla="*/ 2 w 7"/>
                <a:gd name="T25" fmla="*/ 1 h 4"/>
                <a:gd name="T26" fmla="*/ 1 w 7"/>
                <a:gd name="T27" fmla="*/ 3 h 4"/>
                <a:gd name="T28" fmla="*/ 0 w 7"/>
                <a:gd name="T29" fmla="*/ 4 h 4"/>
                <a:gd name="T30" fmla="*/ 1 w 7"/>
                <a:gd name="T31" fmla="*/ 4 h 4"/>
                <a:gd name="T32" fmla="*/ 1 w 7"/>
                <a:gd name="T33" fmla="*/ 4 h 4"/>
                <a:gd name="T34" fmla="*/ 1 w 7"/>
                <a:gd name="T35" fmla="*/ 4 h 4"/>
                <a:gd name="T36" fmla="*/ 1 w 7"/>
                <a:gd name="T37" fmla="*/ 4 h 4"/>
                <a:gd name="T38" fmla="*/ 3 w 7"/>
                <a:gd name="T39" fmla="*/ 1 h 4"/>
                <a:gd name="T40" fmla="*/ 3 w 7"/>
                <a:gd name="T41" fmla="*/ 1 h 4"/>
                <a:gd name="T42" fmla="*/ 4 w 7"/>
                <a:gd name="T43" fmla="*/ 1 h 4"/>
                <a:gd name="T44" fmla="*/ 4 w 7"/>
                <a:gd name="T45" fmla="*/ 3 h 4"/>
                <a:gd name="T46" fmla="*/ 5 w 7"/>
                <a:gd name="T47" fmla="*/ 4 h 4"/>
                <a:gd name="T48" fmla="*/ 6 w 7"/>
                <a:gd name="T49" fmla="*/ 4 h 4"/>
                <a:gd name="T50" fmla="*/ 7 w 7"/>
                <a:gd name="T51" fmla="*/ 2 h 4"/>
                <a:gd name="T52" fmla="*/ 7 w 7"/>
                <a:gd name="T53" fmla="*/ 2 h 4"/>
                <a:gd name="T54" fmla="*/ 7 w 7"/>
                <a:gd name="T5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 h="4">
                  <a:moveTo>
                    <a:pt x="7" y="2"/>
                  </a:moveTo>
                  <a:cubicBezTo>
                    <a:pt x="7" y="2"/>
                    <a:pt x="7" y="2"/>
                    <a:pt x="7" y="2"/>
                  </a:cubicBezTo>
                  <a:cubicBezTo>
                    <a:pt x="7" y="2"/>
                    <a:pt x="7" y="2"/>
                    <a:pt x="7" y="2"/>
                  </a:cubicBezTo>
                  <a:cubicBezTo>
                    <a:pt x="6" y="3"/>
                    <a:pt x="6" y="3"/>
                    <a:pt x="6" y="3"/>
                  </a:cubicBezTo>
                  <a:cubicBezTo>
                    <a:pt x="5" y="3"/>
                    <a:pt x="5" y="3"/>
                    <a:pt x="5" y="3"/>
                  </a:cubicBezTo>
                  <a:cubicBezTo>
                    <a:pt x="5" y="3"/>
                    <a:pt x="5" y="3"/>
                    <a:pt x="5" y="3"/>
                  </a:cubicBezTo>
                  <a:cubicBezTo>
                    <a:pt x="5" y="3"/>
                    <a:pt x="5" y="3"/>
                    <a:pt x="5" y="3"/>
                  </a:cubicBezTo>
                  <a:cubicBezTo>
                    <a:pt x="5" y="1"/>
                    <a:pt x="5" y="1"/>
                    <a:pt x="5" y="1"/>
                  </a:cubicBezTo>
                  <a:cubicBezTo>
                    <a:pt x="7" y="1"/>
                    <a:pt x="7" y="1"/>
                    <a:pt x="7" y="1"/>
                  </a:cubicBezTo>
                  <a:cubicBezTo>
                    <a:pt x="7" y="0"/>
                    <a:pt x="7" y="0"/>
                    <a:pt x="7" y="0"/>
                  </a:cubicBezTo>
                  <a:cubicBezTo>
                    <a:pt x="1" y="0"/>
                    <a:pt x="1" y="0"/>
                    <a:pt x="1" y="0"/>
                  </a:cubicBezTo>
                  <a:cubicBezTo>
                    <a:pt x="1" y="1"/>
                    <a:pt x="1" y="1"/>
                    <a:pt x="1" y="1"/>
                  </a:cubicBezTo>
                  <a:cubicBezTo>
                    <a:pt x="2" y="1"/>
                    <a:pt x="2" y="1"/>
                    <a:pt x="2" y="1"/>
                  </a:cubicBezTo>
                  <a:cubicBezTo>
                    <a:pt x="2" y="2"/>
                    <a:pt x="2" y="3"/>
                    <a:pt x="1" y="3"/>
                  </a:cubicBezTo>
                  <a:cubicBezTo>
                    <a:pt x="0" y="4"/>
                    <a:pt x="0" y="4"/>
                    <a:pt x="0" y="4"/>
                  </a:cubicBezTo>
                  <a:cubicBezTo>
                    <a:pt x="1" y="4"/>
                    <a:pt x="1" y="4"/>
                    <a:pt x="1" y="4"/>
                  </a:cubicBezTo>
                  <a:cubicBezTo>
                    <a:pt x="1" y="4"/>
                    <a:pt x="1" y="4"/>
                    <a:pt x="1" y="4"/>
                  </a:cubicBezTo>
                  <a:cubicBezTo>
                    <a:pt x="1" y="4"/>
                    <a:pt x="1" y="4"/>
                    <a:pt x="1" y="4"/>
                  </a:cubicBezTo>
                  <a:cubicBezTo>
                    <a:pt x="1" y="4"/>
                    <a:pt x="1" y="4"/>
                    <a:pt x="1" y="4"/>
                  </a:cubicBezTo>
                  <a:cubicBezTo>
                    <a:pt x="3" y="4"/>
                    <a:pt x="3" y="2"/>
                    <a:pt x="3" y="1"/>
                  </a:cubicBezTo>
                  <a:cubicBezTo>
                    <a:pt x="3" y="1"/>
                    <a:pt x="3" y="1"/>
                    <a:pt x="3" y="1"/>
                  </a:cubicBezTo>
                  <a:cubicBezTo>
                    <a:pt x="4" y="1"/>
                    <a:pt x="4" y="1"/>
                    <a:pt x="4" y="1"/>
                  </a:cubicBezTo>
                  <a:cubicBezTo>
                    <a:pt x="4" y="3"/>
                    <a:pt x="4" y="3"/>
                    <a:pt x="4" y="3"/>
                  </a:cubicBezTo>
                  <a:cubicBezTo>
                    <a:pt x="4" y="4"/>
                    <a:pt x="5" y="4"/>
                    <a:pt x="5" y="4"/>
                  </a:cubicBezTo>
                  <a:cubicBezTo>
                    <a:pt x="6" y="4"/>
                    <a:pt x="6" y="4"/>
                    <a:pt x="6" y="4"/>
                  </a:cubicBezTo>
                  <a:cubicBezTo>
                    <a:pt x="7" y="4"/>
                    <a:pt x="7" y="4"/>
                    <a:pt x="7" y="2"/>
                  </a:cubicBezTo>
                  <a:cubicBezTo>
                    <a:pt x="7" y="2"/>
                    <a:pt x="7" y="2"/>
                    <a:pt x="7" y="2"/>
                  </a:cubicBezTo>
                  <a:cubicBezTo>
                    <a:pt x="7" y="2"/>
                    <a:pt x="7" y="2"/>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71" name="Rectangle 2463"/>
            <p:cNvSpPr>
              <a:spLocks noChangeArrowheads="1"/>
            </p:cNvSpPr>
            <p:nvPr/>
          </p:nvSpPr>
          <p:spPr bwMode="auto">
            <a:xfrm>
              <a:off x="5848351" y="1457177"/>
              <a:ext cx="23813"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72" name="Freeform 2464"/>
            <p:cNvSpPr>
              <a:spLocks noEditPoints="1"/>
            </p:cNvSpPr>
            <p:nvPr/>
          </p:nvSpPr>
          <p:spPr bwMode="auto">
            <a:xfrm>
              <a:off x="5834064" y="1442889"/>
              <a:ext cx="52388" cy="52388"/>
            </a:xfrm>
            <a:custGeom>
              <a:avLst/>
              <a:gdLst>
                <a:gd name="T0" fmla="*/ 7 w 14"/>
                <a:gd name="T1" fmla="*/ 0 h 14"/>
                <a:gd name="T2" fmla="*/ 0 w 14"/>
                <a:gd name="T3" fmla="*/ 7 h 14"/>
                <a:gd name="T4" fmla="*/ 7 w 14"/>
                <a:gd name="T5" fmla="*/ 14 h 14"/>
                <a:gd name="T6" fmla="*/ 14 w 14"/>
                <a:gd name="T7" fmla="*/ 7 h 14"/>
                <a:gd name="T8" fmla="*/ 7 w 14"/>
                <a:gd name="T9" fmla="*/ 0 h 14"/>
                <a:gd name="T10" fmla="*/ 7 w 14"/>
                <a:gd name="T11" fmla="*/ 13 h 14"/>
                <a:gd name="T12" fmla="*/ 1 w 14"/>
                <a:gd name="T13" fmla="*/ 7 h 14"/>
                <a:gd name="T14" fmla="*/ 7 w 14"/>
                <a:gd name="T15" fmla="*/ 1 h 14"/>
                <a:gd name="T16" fmla="*/ 13 w 14"/>
                <a:gd name="T17" fmla="*/ 7 h 14"/>
                <a:gd name="T18" fmla="*/ 7 w 14"/>
                <a:gd name="T1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4">
                  <a:moveTo>
                    <a:pt x="7" y="0"/>
                  </a:moveTo>
                  <a:cubicBezTo>
                    <a:pt x="3" y="0"/>
                    <a:pt x="0" y="3"/>
                    <a:pt x="0" y="7"/>
                  </a:cubicBezTo>
                  <a:cubicBezTo>
                    <a:pt x="0" y="11"/>
                    <a:pt x="3" y="14"/>
                    <a:pt x="7" y="14"/>
                  </a:cubicBezTo>
                  <a:cubicBezTo>
                    <a:pt x="11" y="14"/>
                    <a:pt x="14" y="11"/>
                    <a:pt x="14" y="7"/>
                  </a:cubicBezTo>
                  <a:cubicBezTo>
                    <a:pt x="14" y="3"/>
                    <a:pt x="11" y="0"/>
                    <a:pt x="7" y="0"/>
                  </a:cubicBezTo>
                  <a:close/>
                  <a:moveTo>
                    <a:pt x="7" y="13"/>
                  </a:moveTo>
                  <a:cubicBezTo>
                    <a:pt x="4" y="13"/>
                    <a:pt x="1" y="10"/>
                    <a:pt x="1" y="7"/>
                  </a:cubicBezTo>
                  <a:cubicBezTo>
                    <a:pt x="1" y="4"/>
                    <a:pt x="4" y="1"/>
                    <a:pt x="7" y="1"/>
                  </a:cubicBezTo>
                  <a:cubicBezTo>
                    <a:pt x="10" y="1"/>
                    <a:pt x="13" y="4"/>
                    <a:pt x="13" y="7"/>
                  </a:cubicBezTo>
                  <a:cubicBezTo>
                    <a:pt x="13" y="10"/>
                    <a:pt x="10" y="13"/>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73" name="Freeform 2465"/>
            <p:cNvSpPr>
              <a:spLocks noEditPoints="1"/>
            </p:cNvSpPr>
            <p:nvPr/>
          </p:nvSpPr>
          <p:spPr bwMode="auto">
            <a:xfrm>
              <a:off x="5773739" y="1431777"/>
              <a:ext cx="165100" cy="74613"/>
            </a:xfrm>
            <a:custGeom>
              <a:avLst/>
              <a:gdLst>
                <a:gd name="T0" fmla="*/ 39 w 44"/>
                <a:gd name="T1" fmla="*/ 0 h 20"/>
                <a:gd name="T2" fmla="*/ 6 w 44"/>
                <a:gd name="T3" fmla="*/ 0 h 20"/>
                <a:gd name="T4" fmla="*/ 0 w 44"/>
                <a:gd name="T5" fmla="*/ 5 h 20"/>
                <a:gd name="T6" fmla="*/ 0 w 44"/>
                <a:gd name="T7" fmla="*/ 15 h 20"/>
                <a:gd name="T8" fmla="*/ 5 w 44"/>
                <a:gd name="T9" fmla="*/ 20 h 20"/>
                <a:gd name="T10" fmla="*/ 39 w 44"/>
                <a:gd name="T11" fmla="*/ 20 h 20"/>
                <a:gd name="T12" fmla="*/ 44 w 44"/>
                <a:gd name="T13" fmla="*/ 14 h 20"/>
                <a:gd name="T14" fmla="*/ 44 w 44"/>
                <a:gd name="T15" fmla="*/ 6 h 20"/>
                <a:gd name="T16" fmla="*/ 39 w 44"/>
                <a:gd name="T17" fmla="*/ 0 h 20"/>
                <a:gd name="T18" fmla="*/ 23 w 44"/>
                <a:gd name="T19" fmla="*/ 17 h 20"/>
                <a:gd name="T20" fmla="*/ 15 w 44"/>
                <a:gd name="T21" fmla="*/ 10 h 20"/>
                <a:gd name="T22" fmla="*/ 23 w 44"/>
                <a:gd name="T23" fmla="*/ 3 h 20"/>
                <a:gd name="T24" fmla="*/ 30 w 44"/>
                <a:gd name="T25" fmla="*/ 10 h 20"/>
                <a:gd name="T26" fmla="*/ 23 w 44"/>
                <a:gd name="T27"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20">
                  <a:moveTo>
                    <a:pt x="39" y="0"/>
                  </a:moveTo>
                  <a:cubicBezTo>
                    <a:pt x="6" y="0"/>
                    <a:pt x="6" y="0"/>
                    <a:pt x="6" y="0"/>
                  </a:cubicBezTo>
                  <a:cubicBezTo>
                    <a:pt x="6" y="0"/>
                    <a:pt x="6" y="5"/>
                    <a:pt x="0" y="5"/>
                  </a:cubicBezTo>
                  <a:cubicBezTo>
                    <a:pt x="0" y="15"/>
                    <a:pt x="0" y="15"/>
                    <a:pt x="0" y="15"/>
                  </a:cubicBezTo>
                  <a:cubicBezTo>
                    <a:pt x="0" y="15"/>
                    <a:pt x="5" y="15"/>
                    <a:pt x="5" y="20"/>
                  </a:cubicBezTo>
                  <a:cubicBezTo>
                    <a:pt x="39" y="20"/>
                    <a:pt x="39" y="20"/>
                    <a:pt x="39" y="20"/>
                  </a:cubicBezTo>
                  <a:cubicBezTo>
                    <a:pt x="39" y="14"/>
                    <a:pt x="44" y="14"/>
                    <a:pt x="44" y="14"/>
                  </a:cubicBezTo>
                  <a:cubicBezTo>
                    <a:pt x="44" y="6"/>
                    <a:pt x="44" y="6"/>
                    <a:pt x="44" y="6"/>
                  </a:cubicBezTo>
                  <a:cubicBezTo>
                    <a:pt x="38" y="6"/>
                    <a:pt x="39" y="0"/>
                    <a:pt x="39" y="0"/>
                  </a:cubicBezTo>
                  <a:close/>
                  <a:moveTo>
                    <a:pt x="23" y="17"/>
                  </a:moveTo>
                  <a:cubicBezTo>
                    <a:pt x="19" y="17"/>
                    <a:pt x="15" y="14"/>
                    <a:pt x="15" y="10"/>
                  </a:cubicBezTo>
                  <a:cubicBezTo>
                    <a:pt x="15" y="6"/>
                    <a:pt x="19" y="3"/>
                    <a:pt x="23" y="3"/>
                  </a:cubicBezTo>
                  <a:cubicBezTo>
                    <a:pt x="27" y="3"/>
                    <a:pt x="30" y="6"/>
                    <a:pt x="30" y="10"/>
                  </a:cubicBezTo>
                  <a:cubicBezTo>
                    <a:pt x="30" y="14"/>
                    <a:pt x="27" y="17"/>
                    <a:pt x="2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74" name="Freeform 2466"/>
            <p:cNvSpPr>
              <a:spLocks noEditPoints="1"/>
            </p:cNvSpPr>
            <p:nvPr/>
          </p:nvSpPr>
          <p:spPr bwMode="auto">
            <a:xfrm>
              <a:off x="5729289" y="1398439"/>
              <a:ext cx="255588" cy="141288"/>
            </a:xfrm>
            <a:custGeom>
              <a:avLst/>
              <a:gdLst>
                <a:gd name="T0" fmla="*/ 0 w 161"/>
                <a:gd name="T1" fmla="*/ 89 h 89"/>
                <a:gd name="T2" fmla="*/ 161 w 161"/>
                <a:gd name="T3" fmla="*/ 89 h 89"/>
                <a:gd name="T4" fmla="*/ 161 w 161"/>
                <a:gd name="T5" fmla="*/ 0 h 89"/>
                <a:gd name="T6" fmla="*/ 0 w 161"/>
                <a:gd name="T7" fmla="*/ 0 h 89"/>
                <a:gd name="T8" fmla="*/ 0 w 161"/>
                <a:gd name="T9" fmla="*/ 89 h 89"/>
                <a:gd name="T10" fmla="*/ 14 w 161"/>
                <a:gd name="T11" fmla="*/ 11 h 89"/>
                <a:gd name="T12" fmla="*/ 147 w 161"/>
                <a:gd name="T13" fmla="*/ 11 h 89"/>
                <a:gd name="T14" fmla="*/ 147 w 161"/>
                <a:gd name="T15" fmla="*/ 78 h 89"/>
                <a:gd name="T16" fmla="*/ 14 w 161"/>
                <a:gd name="T17" fmla="*/ 78 h 89"/>
                <a:gd name="T18" fmla="*/ 14 w 161"/>
                <a:gd name="T19" fmla="*/ 1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1" h="89">
                  <a:moveTo>
                    <a:pt x="0" y="89"/>
                  </a:moveTo>
                  <a:lnTo>
                    <a:pt x="161" y="89"/>
                  </a:lnTo>
                  <a:lnTo>
                    <a:pt x="161" y="0"/>
                  </a:lnTo>
                  <a:lnTo>
                    <a:pt x="0" y="0"/>
                  </a:lnTo>
                  <a:lnTo>
                    <a:pt x="0" y="89"/>
                  </a:lnTo>
                  <a:close/>
                  <a:moveTo>
                    <a:pt x="14" y="11"/>
                  </a:moveTo>
                  <a:lnTo>
                    <a:pt x="147" y="11"/>
                  </a:lnTo>
                  <a:lnTo>
                    <a:pt x="147" y="78"/>
                  </a:lnTo>
                  <a:lnTo>
                    <a:pt x="14" y="78"/>
                  </a:lnTo>
                  <a:lnTo>
                    <a:pt x="14"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grpSp>
      <p:sp>
        <p:nvSpPr>
          <p:cNvPr id="275" name="Freeform 97"/>
          <p:cNvSpPr>
            <a:spLocks noEditPoints="1"/>
          </p:cNvSpPr>
          <p:nvPr/>
        </p:nvSpPr>
        <p:spPr bwMode="auto">
          <a:xfrm>
            <a:off x="8046349" y="2334982"/>
            <a:ext cx="492729" cy="303947"/>
          </a:xfrm>
          <a:custGeom>
            <a:avLst/>
            <a:gdLst>
              <a:gd name="T0" fmla="*/ 35 w 107"/>
              <a:gd name="T1" fmla="*/ 50 h 80"/>
              <a:gd name="T2" fmla="*/ 54 w 107"/>
              <a:gd name="T3" fmla="*/ 28 h 80"/>
              <a:gd name="T4" fmla="*/ 55 w 107"/>
              <a:gd name="T5" fmla="*/ 27 h 80"/>
              <a:gd name="T6" fmla="*/ 55 w 107"/>
              <a:gd name="T7" fmla="*/ 28 h 80"/>
              <a:gd name="T8" fmla="*/ 75 w 107"/>
              <a:gd name="T9" fmla="*/ 50 h 80"/>
              <a:gd name="T10" fmla="*/ 74 w 107"/>
              <a:gd name="T11" fmla="*/ 51 h 80"/>
              <a:gd name="T12" fmla="*/ 63 w 107"/>
              <a:gd name="T13" fmla="*/ 51 h 80"/>
              <a:gd name="T14" fmla="*/ 63 w 107"/>
              <a:gd name="T15" fmla="*/ 78 h 80"/>
              <a:gd name="T16" fmla="*/ 61 w 107"/>
              <a:gd name="T17" fmla="*/ 79 h 80"/>
              <a:gd name="T18" fmla="*/ 48 w 107"/>
              <a:gd name="T19" fmla="*/ 80 h 80"/>
              <a:gd name="T20" fmla="*/ 47 w 107"/>
              <a:gd name="T21" fmla="*/ 78 h 80"/>
              <a:gd name="T22" fmla="*/ 47 w 107"/>
              <a:gd name="T23" fmla="*/ 52 h 80"/>
              <a:gd name="T24" fmla="*/ 36 w 107"/>
              <a:gd name="T25" fmla="*/ 51 h 80"/>
              <a:gd name="T26" fmla="*/ 35 w 107"/>
              <a:gd name="T27" fmla="*/ 50 h 80"/>
              <a:gd name="T28" fmla="*/ 88 w 107"/>
              <a:gd name="T29" fmla="*/ 27 h 80"/>
              <a:gd name="T30" fmla="*/ 88 w 107"/>
              <a:gd name="T31" fmla="*/ 27 h 80"/>
              <a:gd name="T32" fmla="*/ 61 w 107"/>
              <a:gd name="T33" fmla="*/ 0 h 80"/>
              <a:gd name="T34" fmla="*/ 36 w 107"/>
              <a:gd name="T35" fmla="*/ 19 h 80"/>
              <a:gd name="T36" fmla="*/ 31 w 107"/>
              <a:gd name="T37" fmla="*/ 18 h 80"/>
              <a:gd name="T38" fmla="*/ 11 w 107"/>
              <a:gd name="T39" fmla="*/ 40 h 80"/>
              <a:gd name="T40" fmla="*/ 11 w 107"/>
              <a:gd name="T41" fmla="*/ 43 h 80"/>
              <a:gd name="T42" fmla="*/ 11 w 107"/>
              <a:gd name="T43" fmla="*/ 43 h 80"/>
              <a:gd name="T44" fmla="*/ 0 w 107"/>
              <a:gd name="T45" fmla="*/ 55 h 80"/>
              <a:gd name="T46" fmla="*/ 9 w 107"/>
              <a:gd name="T47" fmla="*/ 67 h 80"/>
              <a:gd name="T48" fmla="*/ 43 w 107"/>
              <a:gd name="T49" fmla="*/ 67 h 80"/>
              <a:gd name="T50" fmla="*/ 43 w 107"/>
              <a:gd name="T51" fmla="*/ 58 h 80"/>
              <a:gd name="T52" fmla="*/ 35 w 107"/>
              <a:gd name="T53" fmla="*/ 58 h 80"/>
              <a:gd name="T54" fmla="*/ 29 w 107"/>
              <a:gd name="T55" fmla="*/ 54 h 80"/>
              <a:gd name="T56" fmla="*/ 30 w 107"/>
              <a:gd name="T57" fmla="*/ 47 h 80"/>
              <a:gd name="T58" fmla="*/ 30 w 107"/>
              <a:gd name="T59" fmla="*/ 46 h 80"/>
              <a:gd name="T60" fmla="*/ 30 w 107"/>
              <a:gd name="T61" fmla="*/ 46 h 80"/>
              <a:gd name="T62" fmla="*/ 49 w 107"/>
              <a:gd name="T63" fmla="*/ 24 h 80"/>
              <a:gd name="T64" fmla="*/ 55 w 107"/>
              <a:gd name="T65" fmla="*/ 21 h 80"/>
              <a:gd name="T66" fmla="*/ 60 w 107"/>
              <a:gd name="T67" fmla="*/ 24 h 80"/>
              <a:gd name="T68" fmla="*/ 79 w 107"/>
              <a:gd name="T69" fmla="*/ 46 h 80"/>
              <a:gd name="T70" fmla="*/ 80 w 107"/>
              <a:gd name="T71" fmla="*/ 46 h 80"/>
              <a:gd name="T72" fmla="*/ 80 w 107"/>
              <a:gd name="T73" fmla="*/ 46 h 80"/>
              <a:gd name="T74" fmla="*/ 80 w 107"/>
              <a:gd name="T75" fmla="*/ 54 h 80"/>
              <a:gd name="T76" fmla="*/ 74 w 107"/>
              <a:gd name="T77" fmla="*/ 58 h 80"/>
              <a:gd name="T78" fmla="*/ 67 w 107"/>
              <a:gd name="T79" fmla="*/ 58 h 80"/>
              <a:gd name="T80" fmla="*/ 67 w 107"/>
              <a:gd name="T81" fmla="*/ 67 h 80"/>
              <a:gd name="T82" fmla="*/ 95 w 107"/>
              <a:gd name="T83" fmla="*/ 67 h 80"/>
              <a:gd name="T84" fmla="*/ 107 w 107"/>
              <a:gd name="T85" fmla="*/ 48 h 80"/>
              <a:gd name="T86" fmla="*/ 88 w 107"/>
              <a:gd name="T87" fmla="*/ 2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 h="80">
                <a:moveTo>
                  <a:pt x="35" y="50"/>
                </a:moveTo>
                <a:cubicBezTo>
                  <a:pt x="54" y="28"/>
                  <a:pt x="54" y="28"/>
                  <a:pt x="54" y="28"/>
                </a:cubicBezTo>
                <a:cubicBezTo>
                  <a:pt x="55" y="27"/>
                  <a:pt x="55" y="27"/>
                  <a:pt x="55" y="27"/>
                </a:cubicBezTo>
                <a:cubicBezTo>
                  <a:pt x="55" y="28"/>
                  <a:pt x="55" y="28"/>
                  <a:pt x="55" y="28"/>
                </a:cubicBezTo>
                <a:cubicBezTo>
                  <a:pt x="75" y="50"/>
                  <a:pt x="75" y="50"/>
                  <a:pt x="75" y="50"/>
                </a:cubicBezTo>
                <a:cubicBezTo>
                  <a:pt x="75" y="51"/>
                  <a:pt x="75" y="51"/>
                  <a:pt x="74" y="51"/>
                </a:cubicBezTo>
                <a:cubicBezTo>
                  <a:pt x="63" y="51"/>
                  <a:pt x="63" y="51"/>
                  <a:pt x="63" y="51"/>
                </a:cubicBezTo>
                <a:cubicBezTo>
                  <a:pt x="63" y="78"/>
                  <a:pt x="63" y="78"/>
                  <a:pt x="63" y="78"/>
                </a:cubicBezTo>
                <a:cubicBezTo>
                  <a:pt x="63" y="79"/>
                  <a:pt x="62" y="79"/>
                  <a:pt x="61" y="79"/>
                </a:cubicBezTo>
                <a:cubicBezTo>
                  <a:pt x="48" y="80"/>
                  <a:pt x="48" y="80"/>
                  <a:pt x="48" y="80"/>
                </a:cubicBezTo>
                <a:cubicBezTo>
                  <a:pt x="47" y="80"/>
                  <a:pt x="47" y="79"/>
                  <a:pt x="47" y="78"/>
                </a:cubicBezTo>
                <a:cubicBezTo>
                  <a:pt x="47" y="52"/>
                  <a:pt x="47" y="52"/>
                  <a:pt x="47" y="52"/>
                </a:cubicBezTo>
                <a:cubicBezTo>
                  <a:pt x="36" y="51"/>
                  <a:pt x="36" y="51"/>
                  <a:pt x="36" y="51"/>
                </a:cubicBezTo>
                <a:cubicBezTo>
                  <a:pt x="35" y="51"/>
                  <a:pt x="35" y="51"/>
                  <a:pt x="35" y="50"/>
                </a:cubicBezTo>
                <a:close/>
                <a:moveTo>
                  <a:pt x="88" y="27"/>
                </a:moveTo>
                <a:cubicBezTo>
                  <a:pt x="88" y="27"/>
                  <a:pt x="88" y="27"/>
                  <a:pt x="88" y="27"/>
                </a:cubicBezTo>
                <a:cubicBezTo>
                  <a:pt x="88" y="12"/>
                  <a:pt x="76" y="0"/>
                  <a:pt x="61" y="0"/>
                </a:cubicBezTo>
                <a:cubicBezTo>
                  <a:pt x="49" y="0"/>
                  <a:pt x="39" y="8"/>
                  <a:pt x="36" y="19"/>
                </a:cubicBezTo>
                <a:cubicBezTo>
                  <a:pt x="34" y="18"/>
                  <a:pt x="33" y="18"/>
                  <a:pt x="31" y="18"/>
                </a:cubicBezTo>
                <a:cubicBezTo>
                  <a:pt x="20" y="18"/>
                  <a:pt x="11" y="29"/>
                  <a:pt x="11" y="40"/>
                </a:cubicBezTo>
                <a:cubicBezTo>
                  <a:pt x="11" y="41"/>
                  <a:pt x="11" y="39"/>
                  <a:pt x="11" y="43"/>
                </a:cubicBezTo>
                <a:cubicBezTo>
                  <a:pt x="11" y="43"/>
                  <a:pt x="11" y="43"/>
                  <a:pt x="11" y="43"/>
                </a:cubicBezTo>
                <a:cubicBezTo>
                  <a:pt x="5" y="43"/>
                  <a:pt x="0" y="49"/>
                  <a:pt x="0" y="55"/>
                </a:cubicBezTo>
                <a:cubicBezTo>
                  <a:pt x="0" y="61"/>
                  <a:pt x="3" y="67"/>
                  <a:pt x="9" y="67"/>
                </a:cubicBezTo>
                <a:cubicBezTo>
                  <a:pt x="12" y="67"/>
                  <a:pt x="27" y="67"/>
                  <a:pt x="43" y="67"/>
                </a:cubicBezTo>
                <a:cubicBezTo>
                  <a:pt x="43" y="58"/>
                  <a:pt x="43" y="58"/>
                  <a:pt x="43" y="58"/>
                </a:cubicBezTo>
                <a:cubicBezTo>
                  <a:pt x="35" y="58"/>
                  <a:pt x="35" y="58"/>
                  <a:pt x="35" y="58"/>
                </a:cubicBezTo>
                <a:cubicBezTo>
                  <a:pt x="33" y="58"/>
                  <a:pt x="30" y="56"/>
                  <a:pt x="29" y="54"/>
                </a:cubicBezTo>
                <a:cubicBezTo>
                  <a:pt x="28" y="52"/>
                  <a:pt x="28" y="49"/>
                  <a:pt x="30" y="47"/>
                </a:cubicBezTo>
                <a:cubicBezTo>
                  <a:pt x="30" y="46"/>
                  <a:pt x="30" y="46"/>
                  <a:pt x="30" y="46"/>
                </a:cubicBezTo>
                <a:cubicBezTo>
                  <a:pt x="30" y="46"/>
                  <a:pt x="30" y="46"/>
                  <a:pt x="30" y="46"/>
                </a:cubicBezTo>
                <a:cubicBezTo>
                  <a:pt x="49" y="24"/>
                  <a:pt x="49" y="24"/>
                  <a:pt x="49" y="24"/>
                </a:cubicBezTo>
                <a:cubicBezTo>
                  <a:pt x="50" y="22"/>
                  <a:pt x="52" y="21"/>
                  <a:pt x="55" y="21"/>
                </a:cubicBezTo>
                <a:cubicBezTo>
                  <a:pt x="57" y="21"/>
                  <a:pt x="59" y="22"/>
                  <a:pt x="60" y="24"/>
                </a:cubicBezTo>
                <a:cubicBezTo>
                  <a:pt x="79" y="46"/>
                  <a:pt x="79" y="46"/>
                  <a:pt x="79" y="46"/>
                </a:cubicBezTo>
                <a:cubicBezTo>
                  <a:pt x="80" y="46"/>
                  <a:pt x="80" y="46"/>
                  <a:pt x="80" y="46"/>
                </a:cubicBezTo>
                <a:cubicBezTo>
                  <a:pt x="80" y="46"/>
                  <a:pt x="80" y="46"/>
                  <a:pt x="80" y="46"/>
                </a:cubicBezTo>
                <a:cubicBezTo>
                  <a:pt x="81" y="49"/>
                  <a:pt x="82" y="51"/>
                  <a:pt x="80" y="54"/>
                </a:cubicBezTo>
                <a:cubicBezTo>
                  <a:pt x="79" y="56"/>
                  <a:pt x="77" y="58"/>
                  <a:pt x="74" y="58"/>
                </a:cubicBezTo>
                <a:cubicBezTo>
                  <a:pt x="67" y="58"/>
                  <a:pt x="67" y="58"/>
                  <a:pt x="67" y="58"/>
                </a:cubicBezTo>
                <a:cubicBezTo>
                  <a:pt x="67" y="67"/>
                  <a:pt x="67" y="67"/>
                  <a:pt x="67" y="67"/>
                </a:cubicBezTo>
                <a:cubicBezTo>
                  <a:pt x="81" y="67"/>
                  <a:pt x="95" y="67"/>
                  <a:pt x="95" y="67"/>
                </a:cubicBezTo>
                <a:cubicBezTo>
                  <a:pt x="102" y="63"/>
                  <a:pt x="107" y="56"/>
                  <a:pt x="107" y="48"/>
                </a:cubicBezTo>
                <a:cubicBezTo>
                  <a:pt x="107" y="37"/>
                  <a:pt x="98" y="28"/>
                  <a:pt x="88" y="27"/>
                </a:cubicBezTo>
                <a:close/>
              </a:path>
            </a:pathLst>
          </a:custGeom>
          <a:solidFill>
            <a:srgbClr val="005EB8"/>
          </a:solidFill>
          <a:ln>
            <a:noFill/>
          </a:ln>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000000"/>
              </a:solidFill>
              <a:effectLst/>
              <a:uLnTx/>
              <a:uFillTx/>
              <a:latin typeface="Arial"/>
              <a:ea typeface="+mn-ea"/>
              <a:cs typeface="+mn-cs"/>
            </a:endParaRPr>
          </a:p>
        </p:txBody>
      </p:sp>
      <p:sp>
        <p:nvSpPr>
          <p:cNvPr id="276" name="Flowchart: Punched Tape 275"/>
          <p:cNvSpPr/>
          <p:nvPr/>
        </p:nvSpPr>
        <p:spPr>
          <a:xfrm>
            <a:off x="5909065" y="-13267"/>
            <a:ext cx="4911594" cy="704568"/>
          </a:xfrm>
          <a:prstGeom prst="flowChartPunchedTap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3600" b="1" i="0" u="none" strike="noStrike" kern="1200" cap="none" spc="0" normalizeH="0" baseline="0" noProof="0" dirty="0">
                <a:ln>
                  <a:noFill/>
                </a:ln>
                <a:solidFill>
                  <a:srgbClr val="FFFFFF"/>
                </a:solidFill>
                <a:effectLst/>
                <a:uLnTx/>
                <a:uFillTx/>
                <a:latin typeface="Arial"/>
                <a:ea typeface="+mn-ea"/>
                <a:cs typeface="+mn-cs"/>
              </a:rPr>
              <a:t>2030 Vision</a:t>
            </a:r>
          </a:p>
        </p:txBody>
      </p:sp>
      <p:sp>
        <p:nvSpPr>
          <p:cNvPr id="363" name="object 4"/>
          <p:cNvSpPr/>
          <p:nvPr/>
        </p:nvSpPr>
        <p:spPr>
          <a:xfrm>
            <a:off x="301083" y="2769591"/>
            <a:ext cx="5627685" cy="4006858"/>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srgbClr val="000000"/>
              </a:solidFill>
              <a:effectLst/>
              <a:uLnTx/>
              <a:uFillTx/>
              <a:latin typeface="Arial"/>
              <a:ea typeface="+mn-ea"/>
              <a:cs typeface="+mn-cs"/>
            </a:endParaRPr>
          </a:p>
        </p:txBody>
      </p:sp>
      <p:sp>
        <p:nvSpPr>
          <p:cNvPr id="364" name="TextBox 363"/>
          <p:cNvSpPr txBox="1"/>
          <p:nvPr/>
        </p:nvSpPr>
        <p:spPr>
          <a:xfrm>
            <a:off x="718707" y="242745"/>
            <a:ext cx="4077977" cy="2297171"/>
          </a:xfrm>
          <a:prstGeom prst="rect">
            <a:avLst/>
          </a:prstGeom>
          <a:solidFill>
            <a:schemeClr val="accent1"/>
          </a:solidFill>
          <a:ln>
            <a:solidFill>
              <a:schemeClr val="accent1"/>
            </a:solidFill>
          </a:ln>
        </p:spPr>
        <p:txBody>
          <a:bodyPr wrap="square" lIns="0" tIns="0" rIns="0" bIns="0" rtlCol="0"/>
          <a:lstStyle>
            <a:defPPr>
              <a:defRPr lang="en-US"/>
            </a:defPPr>
            <a:lvl1pPr>
              <a:defRPr sz="105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1050" b="0" i="0" u="none" strike="noStrike" kern="1200" cap="none" spc="0" normalizeH="0" baseline="0" noProof="0" dirty="0">
                <a:ln>
                  <a:noFill/>
                </a:ln>
                <a:solidFill>
                  <a:srgbClr val="FFFFFF"/>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E" sz="2000" b="0" i="0" u="none" strike="noStrike" kern="1200" cap="none" spc="0" normalizeH="0" baseline="0" noProof="0" dirty="0">
                <a:ln>
                  <a:noFill/>
                </a:ln>
                <a:solidFill>
                  <a:srgbClr val="FFFFFF"/>
                </a:solidFill>
                <a:effectLst/>
                <a:uLnTx/>
                <a:uFillTx/>
                <a:latin typeface="Arial"/>
                <a:ea typeface="+mn-ea"/>
                <a:cs typeface="+mn-cs"/>
              </a:rPr>
              <a:t>GNI owns and operates one of the most </a:t>
            </a:r>
            <a:r>
              <a:rPr kumimoji="0" lang="en-IE" sz="2000" b="1" i="0" u="none" strike="noStrike" kern="1200" cap="none" spc="0" normalizeH="0" baseline="0" noProof="0" dirty="0">
                <a:ln>
                  <a:noFill/>
                </a:ln>
                <a:solidFill>
                  <a:srgbClr val="FFFFFF"/>
                </a:solidFill>
                <a:effectLst/>
                <a:uLnTx/>
                <a:uFillTx/>
                <a:latin typeface="Arial"/>
                <a:ea typeface="+mn-ea"/>
                <a:cs typeface="+mn-cs"/>
              </a:rPr>
              <a:t>strategically important energy assets </a:t>
            </a:r>
            <a:r>
              <a:rPr kumimoji="0" lang="en-IE" sz="2000" b="0" i="0" u="none" strike="noStrike" kern="1200" cap="none" spc="0" normalizeH="0" baseline="0" noProof="0" dirty="0">
                <a:ln>
                  <a:noFill/>
                </a:ln>
                <a:solidFill>
                  <a:srgbClr val="FFFFFF"/>
                </a:solidFill>
                <a:effectLst/>
                <a:uLnTx/>
                <a:uFillTx/>
                <a:latin typeface="Arial"/>
                <a:ea typeface="+mn-ea"/>
                <a:cs typeface="+mn-cs"/>
              </a:rPr>
              <a:t>in the country. GNI has a vision to utilise this strategic asset to assist Ireland in achieving a number of core national objectives.</a:t>
            </a:r>
          </a:p>
        </p:txBody>
      </p:sp>
      <p:sp>
        <p:nvSpPr>
          <p:cNvPr id="365" name="object 3"/>
          <p:cNvSpPr/>
          <p:nvPr/>
        </p:nvSpPr>
        <p:spPr>
          <a:xfrm>
            <a:off x="361584" y="242745"/>
            <a:ext cx="238417" cy="149366"/>
          </a:xfrm>
          <a:custGeom>
            <a:avLst/>
            <a:gdLst/>
            <a:ahLst/>
            <a:cxnLst/>
            <a:rect l="l" t="t" r="r" b="b"/>
            <a:pathLst>
              <a:path w="1586229" h="1094105">
                <a:moveTo>
                  <a:pt x="1438236" y="0"/>
                </a:moveTo>
                <a:lnTo>
                  <a:pt x="1385095" y="10602"/>
                </a:lnTo>
                <a:lnTo>
                  <a:pt x="1333761" y="24213"/>
                </a:lnTo>
                <a:lnTo>
                  <a:pt x="1284234" y="40833"/>
                </a:lnTo>
                <a:lnTo>
                  <a:pt x="1236513" y="60462"/>
                </a:lnTo>
                <a:lnTo>
                  <a:pt x="1190599" y="83100"/>
                </a:lnTo>
                <a:lnTo>
                  <a:pt x="1146491" y="108748"/>
                </a:lnTo>
                <a:lnTo>
                  <a:pt x="1104188" y="137406"/>
                </a:lnTo>
                <a:lnTo>
                  <a:pt x="1063690" y="169073"/>
                </a:lnTo>
                <a:lnTo>
                  <a:pt x="1024998" y="203751"/>
                </a:lnTo>
                <a:lnTo>
                  <a:pt x="988110" y="241439"/>
                </a:lnTo>
                <a:lnTo>
                  <a:pt x="953920" y="281002"/>
                </a:lnTo>
                <a:lnTo>
                  <a:pt x="923328" y="321312"/>
                </a:lnTo>
                <a:lnTo>
                  <a:pt x="896335" y="362368"/>
                </a:lnTo>
                <a:lnTo>
                  <a:pt x="872940" y="404171"/>
                </a:lnTo>
                <a:lnTo>
                  <a:pt x="853144" y="446720"/>
                </a:lnTo>
                <a:lnTo>
                  <a:pt x="836947" y="490016"/>
                </a:lnTo>
                <a:lnTo>
                  <a:pt x="824349" y="534058"/>
                </a:lnTo>
                <a:lnTo>
                  <a:pt x="815350" y="578846"/>
                </a:lnTo>
                <a:lnTo>
                  <a:pt x="809951" y="624381"/>
                </a:lnTo>
                <a:lnTo>
                  <a:pt x="808151" y="670661"/>
                </a:lnTo>
                <a:lnTo>
                  <a:pt x="808422" y="689040"/>
                </a:lnTo>
                <a:lnTo>
                  <a:pt x="812484" y="742182"/>
                </a:lnTo>
                <a:lnTo>
                  <a:pt x="821421" y="792333"/>
                </a:lnTo>
                <a:lnTo>
                  <a:pt x="835232" y="839492"/>
                </a:lnTo>
                <a:lnTo>
                  <a:pt x="853919" y="883659"/>
                </a:lnTo>
                <a:lnTo>
                  <a:pt x="877482" y="924834"/>
                </a:lnTo>
                <a:lnTo>
                  <a:pt x="905919" y="963017"/>
                </a:lnTo>
                <a:lnTo>
                  <a:pt x="938740" y="997681"/>
                </a:lnTo>
                <a:lnTo>
                  <a:pt x="974352" y="1027122"/>
                </a:lnTo>
                <a:lnTo>
                  <a:pt x="1012635" y="1051211"/>
                </a:lnTo>
                <a:lnTo>
                  <a:pt x="1053591" y="1069949"/>
                </a:lnTo>
                <a:lnTo>
                  <a:pt x="1097219" y="1083333"/>
                </a:lnTo>
                <a:lnTo>
                  <a:pt x="1143519" y="1091364"/>
                </a:lnTo>
                <a:lnTo>
                  <a:pt x="1192491" y="1094041"/>
                </a:lnTo>
                <a:lnTo>
                  <a:pt x="1208930" y="1093744"/>
                </a:lnTo>
                <a:lnTo>
                  <a:pt x="1256591" y="1089307"/>
                </a:lnTo>
                <a:lnTo>
                  <a:pt x="1301976" y="1079543"/>
                </a:lnTo>
                <a:lnTo>
                  <a:pt x="1345057" y="1064452"/>
                </a:lnTo>
                <a:lnTo>
                  <a:pt x="1385833" y="1044032"/>
                </a:lnTo>
                <a:lnTo>
                  <a:pt x="1424305" y="1018285"/>
                </a:lnTo>
                <a:lnTo>
                  <a:pt x="1460474" y="987208"/>
                </a:lnTo>
                <a:lnTo>
                  <a:pt x="1493700" y="951446"/>
                </a:lnTo>
                <a:lnTo>
                  <a:pt x="1521943" y="913083"/>
                </a:lnTo>
                <a:lnTo>
                  <a:pt x="1545053" y="872278"/>
                </a:lnTo>
                <a:lnTo>
                  <a:pt x="1563028" y="829031"/>
                </a:lnTo>
                <a:lnTo>
                  <a:pt x="1575868" y="783342"/>
                </a:lnTo>
                <a:lnTo>
                  <a:pt x="1583572" y="735213"/>
                </a:lnTo>
                <a:lnTo>
                  <a:pt x="1586141" y="684644"/>
                </a:lnTo>
                <a:lnTo>
                  <a:pt x="1585363" y="657121"/>
                </a:lnTo>
                <a:lnTo>
                  <a:pt x="1579144" y="604893"/>
                </a:lnTo>
                <a:lnTo>
                  <a:pt x="1566684" y="556359"/>
                </a:lnTo>
                <a:lnTo>
                  <a:pt x="1548050" y="511704"/>
                </a:lnTo>
                <a:lnTo>
                  <a:pt x="1523174" y="470742"/>
                </a:lnTo>
                <a:lnTo>
                  <a:pt x="1492079" y="433537"/>
                </a:lnTo>
                <a:lnTo>
                  <a:pt x="1454764" y="400087"/>
                </a:lnTo>
                <a:lnTo>
                  <a:pt x="1411229" y="370392"/>
                </a:lnTo>
                <a:lnTo>
                  <a:pt x="1361475" y="344453"/>
                </a:lnTo>
                <a:lnTo>
                  <a:pt x="1305501" y="322268"/>
                </a:lnTo>
                <a:lnTo>
                  <a:pt x="1275181" y="312585"/>
                </a:lnTo>
                <a:lnTo>
                  <a:pt x="1277634" y="293002"/>
                </a:lnTo>
                <a:lnTo>
                  <a:pt x="1284669" y="255307"/>
                </a:lnTo>
                <a:lnTo>
                  <a:pt x="1300547" y="202437"/>
                </a:lnTo>
                <a:lnTo>
                  <a:pt x="1322819" y="153975"/>
                </a:lnTo>
                <a:lnTo>
                  <a:pt x="1351486" y="109922"/>
                </a:lnTo>
                <a:lnTo>
                  <a:pt x="1386549" y="70276"/>
                </a:lnTo>
                <a:lnTo>
                  <a:pt x="1428009" y="35038"/>
                </a:lnTo>
                <a:lnTo>
                  <a:pt x="1459204" y="13995"/>
                </a:lnTo>
                <a:lnTo>
                  <a:pt x="1438236" y="0"/>
                </a:lnTo>
                <a:close/>
              </a:path>
              <a:path w="1586229" h="1094105">
                <a:moveTo>
                  <a:pt x="630085" y="0"/>
                </a:moveTo>
                <a:lnTo>
                  <a:pt x="576943" y="10602"/>
                </a:lnTo>
                <a:lnTo>
                  <a:pt x="525608" y="24214"/>
                </a:lnTo>
                <a:lnTo>
                  <a:pt x="476080" y="40835"/>
                </a:lnTo>
                <a:lnTo>
                  <a:pt x="428357" y="60466"/>
                </a:lnTo>
                <a:lnTo>
                  <a:pt x="382441" y="83105"/>
                </a:lnTo>
                <a:lnTo>
                  <a:pt x="338331" y="108754"/>
                </a:lnTo>
                <a:lnTo>
                  <a:pt x="296026" y="137411"/>
                </a:lnTo>
                <a:lnTo>
                  <a:pt x="255527" y="169078"/>
                </a:lnTo>
                <a:lnTo>
                  <a:pt x="216834" y="203754"/>
                </a:lnTo>
                <a:lnTo>
                  <a:pt x="179946" y="241439"/>
                </a:lnTo>
                <a:lnTo>
                  <a:pt x="145759" y="281002"/>
                </a:lnTo>
                <a:lnTo>
                  <a:pt x="115170" y="321312"/>
                </a:lnTo>
                <a:lnTo>
                  <a:pt x="88179" y="362368"/>
                </a:lnTo>
                <a:lnTo>
                  <a:pt x="64786" y="404171"/>
                </a:lnTo>
                <a:lnTo>
                  <a:pt x="44991" y="446720"/>
                </a:lnTo>
                <a:lnTo>
                  <a:pt x="28795" y="490016"/>
                </a:lnTo>
                <a:lnTo>
                  <a:pt x="16197" y="534058"/>
                </a:lnTo>
                <a:lnTo>
                  <a:pt x="7199" y="578846"/>
                </a:lnTo>
                <a:lnTo>
                  <a:pt x="1799" y="624381"/>
                </a:lnTo>
                <a:lnTo>
                  <a:pt x="0" y="670661"/>
                </a:lnTo>
                <a:lnTo>
                  <a:pt x="270" y="689040"/>
                </a:lnTo>
                <a:lnTo>
                  <a:pt x="4332" y="742182"/>
                </a:lnTo>
                <a:lnTo>
                  <a:pt x="13269" y="792333"/>
                </a:lnTo>
                <a:lnTo>
                  <a:pt x="27081" y="839492"/>
                </a:lnTo>
                <a:lnTo>
                  <a:pt x="45767" y="883659"/>
                </a:lnTo>
                <a:lnTo>
                  <a:pt x="69330" y="924834"/>
                </a:lnTo>
                <a:lnTo>
                  <a:pt x="97768" y="963017"/>
                </a:lnTo>
                <a:lnTo>
                  <a:pt x="130584" y="997684"/>
                </a:lnTo>
                <a:lnTo>
                  <a:pt x="166193" y="1027127"/>
                </a:lnTo>
                <a:lnTo>
                  <a:pt x="204474" y="1051217"/>
                </a:lnTo>
                <a:lnTo>
                  <a:pt x="245430" y="1069953"/>
                </a:lnTo>
                <a:lnTo>
                  <a:pt x="289059" y="1083335"/>
                </a:lnTo>
                <a:lnTo>
                  <a:pt x="335362" y="1091365"/>
                </a:lnTo>
                <a:lnTo>
                  <a:pt x="384340" y="1094041"/>
                </a:lnTo>
                <a:lnTo>
                  <a:pt x="400775" y="1093744"/>
                </a:lnTo>
                <a:lnTo>
                  <a:pt x="448434" y="1089307"/>
                </a:lnTo>
                <a:lnTo>
                  <a:pt x="493818" y="1079543"/>
                </a:lnTo>
                <a:lnTo>
                  <a:pt x="536898" y="1064452"/>
                </a:lnTo>
                <a:lnTo>
                  <a:pt x="577674" y="1044032"/>
                </a:lnTo>
                <a:lnTo>
                  <a:pt x="616145" y="1018285"/>
                </a:lnTo>
                <a:lnTo>
                  <a:pt x="652311" y="987208"/>
                </a:lnTo>
                <a:lnTo>
                  <a:pt x="685539" y="951446"/>
                </a:lnTo>
                <a:lnTo>
                  <a:pt x="713786" y="913085"/>
                </a:lnTo>
                <a:lnTo>
                  <a:pt x="736898" y="872281"/>
                </a:lnTo>
                <a:lnTo>
                  <a:pt x="754875" y="829036"/>
                </a:lnTo>
                <a:lnTo>
                  <a:pt x="767716" y="783348"/>
                </a:lnTo>
                <a:lnTo>
                  <a:pt x="775421" y="735217"/>
                </a:lnTo>
                <a:lnTo>
                  <a:pt x="777989" y="684644"/>
                </a:lnTo>
                <a:lnTo>
                  <a:pt x="777211" y="657121"/>
                </a:lnTo>
                <a:lnTo>
                  <a:pt x="770993" y="604893"/>
                </a:lnTo>
                <a:lnTo>
                  <a:pt x="758532" y="556359"/>
                </a:lnTo>
                <a:lnTo>
                  <a:pt x="739898" y="511704"/>
                </a:lnTo>
                <a:lnTo>
                  <a:pt x="715021" y="470742"/>
                </a:lnTo>
                <a:lnTo>
                  <a:pt x="683925" y="433537"/>
                </a:lnTo>
                <a:lnTo>
                  <a:pt x="646609" y="400087"/>
                </a:lnTo>
                <a:lnTo>
                  <a:pt x="603072" y="370392"/>
                </a:lnTo>
                <a:lnTo>
                  <a:pt x="553316" y="344453"/>
                </a:lnTo>
                <a:lnTo>
                  <a:pt x="497338" y="322268"/>
                </a:lnTo>
                <a:lnTo>
                  <a:pt x="467017" y="312585"/>
                </a:lnTo>
                <a:lnTo>
                  <a:pt x="469469" y="293002"/>
                </a:lnTo>
                <a:lnTo>
                  <a:pt x="476505" y="255307"/>
                </a:lnTo>
                <a:lnTo>
                  <a:pt x="492385" y="202437"/>
                </a:lnTo>
                <a:lnTo>
                  <a:pt x="514659" y="153975"/>
                </a:lnTo>
                <a:lnTo>
                  <a:pt x="543327" y="109922"/>
                </a:lnTo>
                <a:lnTo>
                  <a:pt x="578389" y="70276"/>
                </a:lnTo>
                <a:lnTo>
                  <a:pt x="619847" y="35038"/>
                </a:lnTo>
                <a:lnTo>
                  <a:pt x="651040" y="13995"/>
                </a:lnTo>
                <a:lnTo>
                  <a:pt x="630085" y="0"/>
                </a:lnTo>
                <a:close/>
              </a:path>
            </a:pathLst>
          </a:custGeom>
          <a:solidFill>
            <a:schemeClr val="bg1">
              <a:lumMod val="85000"/>
            </a:schemeClr>
          </a:solidFill>
          <a:ln>
            <a:solidFill>
              <a:schemeClr val="bg1">
                <a:lumMod val="5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750" b="0" i="0" u="none" strike="noStrike" kern="1200" cap="none" spc="0" normalizeH="0" baseline="0" noProof="0" dirty="0">
              <a:ln>
                <a:noFill/>
              </a:ln>
              <a:solidFill>
                <a:srgbClr val="FFFFFF"/>
              </a:solidFill>
              <a:effectLst/>
              <a:uLnTx/>
              <a:uFillTx/>
              <a:latin typeface="Arial"/>
              <a:ea typeface="+mn-ea"/>
              <a:cs typeface="+mn-cs"/>
            </a:endParaRPr>
          </a:p>
        </p:txBody>
      </p:sp>
      <p:sp>
        <p:nvSpPr>
          <p:cNvPr id="366" name="object 4"/>
          <p:cNvSpPr/>
          <p:nvPr/>
        </p:nvSpPr>
        <p:spPr>
          <a:xfrm>
            <a:off x="4771918" y="1958522"/>
            <a:ext cx="238949" cy="148939"/>
          </a:xfrm>
          <a:custGeom>
            <a:avLst/>
            <a:gdLst/>
            <a:ahLst/>
            <a:cxnLst/>
            <a:rect l="l" t="t" r="r" b="b"/>
            <a:pathLst>
              <a:path w="553720" h="382269">
                <a:moveTo>
                  <a:pt x="127032" y="0"/>
                </a:moveTo>
                <a:lnTo>
                  <a:pt x="78897" y="12643"/>
                </a:lnTo>
                <a:lnTo>
                  <a:pt x="46003" y="35189"/>
                </a:lnTo>
                <a:lnTo>
                  <a:pt x="21297" y="64306"/>
                </a:lnTo>
                <a:lnTo>
                  <a:pt x="3704" y="110335"/>
                </a:lnTo>
                <a:lnTo>
                  <a:pt x="0" y="154660"/>
                </a:lnTo>
                <a:lnTo>
                  <a:pt x="1534" y="167878"/>
                </a:lnTo>
                <a:lnTo>
                  <a:pt x="18915" y="214506"/>
                </a:lnTo>
                <a:lnTo>
                  <a:pt x="43680" y="243506"/>
                </a:lnTo>
                <a:lnTo>
                  <a:pt x="78419" y="268016"/>
                </a:lnTo>
                <a:lnTo>
                  <a:pt x="107083" y="282139"/>
                </a:lnTo>
                <a:lnTo>
                  <a:pt x="104333" y="295648"/>
                </a:lnTo>
                <a:lnTo>
                  <a:pt x="89691" y="331765"/>
                </a:lnTo>
                <a:lnTo>
                  <a:pt x="65457" y="361273"/>
                </a:lnTo>
                <a:lnTo>
                  <a:pt x="43970" y="377276"/>
                </a:lnTo>
                <a:lnTo>
                  <a:pt x="51298" y="382165"/>
                </a:lnTo>
                <a:lnTo>
                  <a:pt x="98163" y="370288"/>
                </a:lnTo>
                <a:lnTo>
                  <a:pt x="143306" y="349538"/>
                </a:lnTo>
                <a:lnTo>
                  <a:pt x="175158" y="327826"/>
                </a:lnTo>
                <a:lnTo>
                  <a:pt x="205672" y="300410"/>
                </a:lnTo>
                <a:lnTo>
                  <a:pt x="231502" y="269458"/>
                </a:lnTo>
                <a:lnTo>
                  <a:pt x="255309" y="225608"/>
                </a:lnTo>
                <a:lnTo>
                  <a:pt x="268417" y="176299"/>
                </a:lnTo>
                <a:lnTo>
                  <a:pt x="271190" y="134580"/>
                </a:lnTo>
                <a:lnTo>
                  <a:pt x="269838" y="120868"/>
                </a:lnTo>
                <a:lnTo>
                  <a:pt x="260037" y="83204"/>
                </a:lnTo>
                <a:lnTo>
                  <a:pt x="233502" y="41019"/>
                </a:lnTo>
                <a:lnTo>
                  <a:pt x="194896" y="12461"/>
                </a:lnTo>
                <a:lnTo>
                  <a:pt x="157375" y="1866"/>
                </a:lnTo>
                <a:lnTo>
                  <a:pt x="142792" y="411"/>
                </a:lnTo>
                <a:lnTo>
                  <a:pt x="127032" y="0"/>
                </a:lnTo>
                <a:close/>
              </a:path>
              <a:path w="553720" h="382269">
                <a:moveTo>
                  <a:pt x="409580" y="0"/>
                </a:moveTo>
                <a:lnTo>
                  <a:pt x="361446" y="12644"/>
                </a:lnTo>
                <a:lnTo>
                  <a:pt x="328552" y="35189"/>
                </a:lnTo>
                <a:lnTo>
                  <a:pt x="303841" y="64306"/>
                </a:lnTo>
                <a:lnTo>
                  <a:pt x="286251" y="110335"/>
                </a:lnTo>
                <a:lnTo>
                  <a:pt x="282549" y="154660"/>
                </a:lnTo>
                <a:lnTo>
                  <a:pt x="284083" y="167878"/>
                </a:lnTo>
                <a:lnTo>
                  <a:pt x="301464" y="214506"/>
                </a:lnTo>
                <a:lnTo>
                  <a:pt x="326230" y="243506"/>
                </a:lnTo>
                <a:lnTo>
                  <a:pt x="360969" y="268016"/>
                </a:lnTo>
                <a:lnTo>
                  <a:pt x="389633" y="282139"/>
                </a:lnTo>
                <a:lnTo>
                  <a:pt x="386883" y="295648"/>
                </a:lnTo>
                <a:lnTo>
                  <a:pt x="372240" y="331765"/>
                </a:lnTo>
                <a:lnTo>
                  <a:pt x="348007" y="361273"/>
                </a:lnTo>
                <a:lnTo>
                  <a:pt x="326520" y="377276"/>
                </a:lnTo>
                <a:lnTo>
                  <a:pt x="333848" y="382165"/>
                </a:lnTo>
                <a:lnTo>
                  <a:pt x="380706" y="370289"/>
                </a:lnTo>
                <a:lnTo>
                  <a:pt x="425855" y="349538"/>
                </a:lnTo>
                <a:lnTo>
                  <a:pt x="457707" y="327827"/>
                </a:lnTo>
                <a:lnTo>
                  <a:pt x="488216" y="300417"/>
                </a:lnTo>
                <a:lnTo>
                  <a:pt x="514044" y="269467"/>
                </a:lnTo>
                <a:lnTo>
                  <a:pt x="537850" y="225615"/>
                </a:lnTo>
                <a:lnTo>
                  <a:pt x="550956" y="176307"/>
                </a:lnTo>
                <a:lnTo>
                  <a:pt x="553728" y="134590"/>
                </a:lnTo>
                <a:lnTo>
                  <a:pt x="552376" y="120876"/>
                </a:lnTo>
                <a:lnTo>
                  <a:pt x="542577" y="83209"/>
                </a:lnTo>
                <a:lnTo>
                  <a:pt x="516046" y="41027"/>
                </a:lnTo>
                <a:lnTo>
                  <a:pt x="477453" y="12463"/>
                </a:lnTo>
                <a:lnTo>
                  <a:pt x="439928" y="1867"/>
                </a:lnTo>
                <a:lnTo>
                  <a:pt x="425342" y="412"/>
                </a:lnTo>
                <a:lnTo>
                  <a:pt x="409580" y="0"/>
                </a:lnTo>
                <a:close/>
              </a:path>
            </a:pathLst>
          </a:custGeom>
          <a:solidFill>
            <a:schemeClr val="bg1">
              <a:lumMod val="85000"/>
            </a:schemeClr>
          </a:solidFill>
          <a:ln>
            <a:solidFill>
              <a:schemeClr val="bg1">
                <a:lumMod val="50000"/>
              </a:schemeClr>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750" b="0" i="0" u="none" strike="noStrike" kern="1200" cap="none" spc="0" normalizeH="0" baseline="0" noProof="0" dirty="0">
              <a:ln>
                <a:noFill/>
              </a:ln>
              <a:solidFill>
                <a:srgbClr val="FFFFFF"/>
              </a:solidFill>
              <a:effectLst/>
              <a:uLnTx/>
              <a:uFillTx/>
              <a:latin typeface="Arial"/>
              <a:ea typeface="+mn-ea"/>
              <a:cs typeface="+mn-cs"/>
            </a:endParaRPr>
          </a:p>
        </p:txBody>
      </p:sp>
      <p:sp>
        <p:nvSpPr>
          <p:cNvPr id="178" name="TextBox 177"/>
          <p:cNvSpPr txBox="1"/>
          <p:nvPr/>
        </p:nvSpPr>
        <p:spPr>
          <a:xfrm>
            <a:off x="8196510" y="1062029"/>
            <a:ext cx="2598541" cy="431046"/>
          </a:xfrm>
          <a:prstGeom prst="rect">
            <a:avLst/>
          </a:prstGeom>
          <a:noFill/>
        </p:spPr>
        <p:txBody>
          <a:bodyPr wrap="square" lIns="40958" tIns="40958" rIns="40958" bIns="40958" rtlCol="0">
            <a:noAutofit/>
          </a:bodyPr>
          <a:lstStyle/>
          <a:p>
            <a:pPr marL="0" marR="0" lvl="0" indent="0" algn="ctr" defTabSz="914400" rtl="0" eaLnBrk="1" fontAlgn="auto" latinLnBrk="0" hangingPunct="1">
              <a:lnSpc>
                <a:spcPct val="100000"/>
              </a:lnSpc>
              <a:spcBef>
                <a:spcPts val="0"/>
              </a:spcBef>
              <a:spcAft>
                <a:spcPts val="450"/>
              </a:spcAft>
              <a:buClrTx/>
              <a:buSzTx/>
              <a:buFontTx/>
              <a:buNone/>
              <a:tabLst/>
              <a:defRPr/>
            </a:pPr>
            <a:r>
              <a:rPr kumimoji="0" lang="en-IE" sz="1800" b="1" i="0" u="none" strike="noStrike" kern="0" cap="none" spc="0" normalizeH="0" baseline="0" noProof="0" dirty="0">
                <a:ln>
                  <a:noFill/>
                </a:ln>
                <a:solidFill>
                  <a:prstClr val="white"/>
                </a:solidFill>
                <a:effectLst/>
                <a:uLnTx/>
                <a:uFillTx/>
                <a:latin typeface="Arial"/>
                <a:ea typeface="+mn-ea"/>
                <a:cs typeface="+mn-cs"/>
              </a:rPr>
              <a:t>9.5 </a:t>
            </a:r>
            <a:r>
              <a:rPr kumimoji="0" lang="en-IE" sz="1800" b="1" i="0" u="none" strike="noStrike" kern="0" cap="none" spc="0" normalizeH="0" baseline="0" noProof="0" dirty="0" err="1">
                <a:ln>
                  <a:noFill/>
                </a:ln>
                <a:solidFill>
                  <a:prstClr val="white"/>
                </a:solidFill>
                <a:effectLst/>
                <a:uLnTx/>
                <a:uFillTx/>
                <a:latin typeface="Arial"/>
                <a:ea typeface="+mn-ea"/>
                <a:cs typeface="+mn-cs"/>
              </a:rPr>
              <a:t>TWh</a:t>
            </a:r>
            <a:r>
              <a:rPr kumimoji="0" lang="en-IE" sz="1800" b="1" i="0" u="none" strike="noStrike" kern="0" cap="none" spc="0" normalizeH="0" baseline="0" noProof="0" dirty="0">
                <a:ln>
                  <a:noFill/>
                </a:ln>
                <a:solidFill>
                  <a:prstClr val="white"/>
                </a:solidFill>
                <a:effectLst/>
                <a:uLnTx/>
                <a:uFillTx/>
                <a:latin typeface="Arial"/>
                <a:ea typeface="+mn-ea"/>
                <a:cs typeface="+mn-cs"/>
              </a:rPr>
              <a:t> from </a:t>
            </a:r>
            <a:r>
              <a:rPr kumimoji="0" lang="en-IE" sz="1800" b="1" i="0" u="none" strike="noStrike" kern="0" cap="none" spc="0" normalizeH="0" baseline="0" noProof="0" dirty="0" err="1">
                <a:ln>
                  <a:noFill/>
                </a:ln>
                <a:solidFill>
                  <a:prstClr val="white"/>
                </a:solidFill>
                <a:effectLst/>
                <a:uLnTx/>
                <a:uFillTx/>
                <a:latin typeface="Arial"/>
                <a:ea typeface="+mn-ea"/>
                <a:cs typeface="+mn-cs"/>
              </a:rPr>
              <a:t>Agri</a:t>
            </a:r>
            <a:r>
              <a:rPr kumimoji="0" lang="en-IE" sz="1800" b="1" i="0" u="none" strike="noStrike" kern="0" cap="none" spc="0" normalizeH="0" baseline="0" noProof="0" dirty="0">
                <a:ln>
                  <a:noFill/>
                </a:ln>
                <a:solidFill>
                  <a:prstClr val="white"/>
                </a:solidFill>
                <a:effectLst/>
                <a:uLnTx/>
                <a:uFillTx/>
                <a:latin typeface="Arial"/>
                <a:ea typeface="+mn-ea"/>
                <a:cs typeface="+mn-cs"/>
              </a:rPr>
              <a:t>-AD</a:t>
            </a:r>
          </a:p>
        </p:txBody>
      </p:sp>
    </p:spTree>
    <p:extLst>
      <p:ext uri="{BB962C8B-B14F-4D97-AF65-F5344CB8AC3E}">
        <p14:creationId xmlns:p14="http://schemas.microsoft.com/office/powerpoint/2010/main" val="116229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lede 9">
            <a:extLst>
              <a:ext uri="{FF2B5EF4-FFF2-40B4-BE49-F238E27FC236}">
                <a16:creationId xmlns:a16="http://schemas.microsoft.com/office/drawing/2014/main" id="{D2E5D731-50D7-4A9C-BCE9-AF8FD058088B}"/>
              </a:ext>
            </a:extLst>
          </p:cNvPr>
          <p:cNvPicPr>
            <a:picLocks noChangeAspect="1"/>
          </p:cNvPicPr>
          <p:nvPr/>
        </p:nvPicPr>
        <p:blipFill>
          <a:blip r:embed="rId3"/>
          <a:stretch>
            <a:fillRect/>
          </a:stretch>
        </p:blipFill>
        <p:spPr>
          <a:xfrm>
            <a:off x="8278179" y="1365150"/>
            <a:ext cx="3750723" cy="2902570"/>
          </a:xfrm>
          <a:prstGeom prst="rect">
            <a:avLst/>
          </a:prstGeom>
        </p:spPr>
      </p:pic>
      <p:sp>
        <p:nvSpPr>
          <p:cNvPr id="12" name="Rektangel 11">
            <a:extLst>
              <a:ext uri="{FF2B5EF4-FFF2-40B4-BE49-F238E27FC236}">
                <a16:creationId xmlns:a16="http://schemas.microsoft.com/office/drawing/2014/main" id="{DE1802A7-5615-403F-9B87-386D901AF497}"/>
              </a:ext>
            </a:extLst>
          </p:cNvPr>
          <p:cNvSpPr/>
          <p:nvPr/>
        </p:nvSpPr>
        <p:spPr>
          <a:xfrm>
            <a:off x="6408851" y="1632174"/>
            <a:ext cx="3750723"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1" u="none" strike="noStrike" kern="1200" cap="none" spc="0" normalizeH="0" baseline="0" noProof="0" dirty="0">
                <a:ln>
                  <a:noFill/>
                </a:ln>
                <a:solidFill>
                  <a:srgbClr val="000000"/>
                </a:solidFill>
                <a:effectLst/>
                <a:uLnTx/>
                <a:uFillTx/>
                <a:latin typeface="Calibri Light"/>
                <a:ea typeface="+mn-ea"/>
                <a:cs typeface="+mn-cs"/>
              </a:rPr>
              <a:t>70-150 GW ifrom wind in 20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1" u="none" strike="noStrike" kern="1200" cap="none" spc="0" normalizeH="0" baseline="0" noProof="0" dirty="0">
                <a:ln>
                  <a:noFill/>
                </a:ln>
                <a:solidFill>
                  <a:srgbClr val="000000"/>
                </a:solidFill>
                <a:effectLst/>
                <a:uLnTx/>
                <a:uFillTx/>
                <a:latin typeface="Calibri Light"/>
                <a:ea typeface="+mn-ea"/>
                <a:cs typeface="+mn-cs"/>
              </a:rPr>
              <a:t>App. 7-15 x current capacity</a:t>
            </a:r>
          </a:p>
        </p:txBody>
      </p:sp>
      <p:sp>
        <p:nvSpPr>
          <p:cNvPr id="22" name="TextBox 21">
            <a:extLst>
              <a:ext uri="{FF2B5EF4-FFF2-40B4-BE49-F238E27FC236}">
                <a16:creationId xmlns:a16="http://schemas.microsoft.com/office/drawing/2014/main" id="{9BF6B2AC-79DD-43ED-B4B4-6ED8DF8ACE16}"/>
              </a:ext>
            </a:extLst>
          </p:cNvPr>
          <p:cNvSpPr txBox="1"/>
          <p:nvPr/>
        </p:nvSpPr>
        <p:spPr>
          <a:xfrm>
            <a:off x="355699" y="406632"/>
            <a:ext cx="9021038" cy="830997"/>
          </a:xfrm>
          <a:prstGeom prst="rect">
            <a:avLst/>
          </a:prstGeom>
        </p:spPr>
        <p:txBody>
          <a:bodyPr/>
          <a:lstStyle>
            <a:defPPr>
              <a:defRPr lang="en-US"/>
            </a:defPPr>
            <a:lvl1pPr eaLnBrk="0" hangingPunct="0">
              <a:defRPr sz="2800" b="1" kern="0">
                <a:solidFill>
                  <a:schemeClr val="bg1"/>
                </a:solidFill>
                <a:latin typeface="Calibri" panose="020F0502020204030204" pitchFamily="34" charset="0"/>
                <a:ea typeface="+mj-ea"/>
                <a:cs typeface="Calibri" panose="020F0502020204030204" pitchFamily="34" charset="0"/>
              </a:defRPr>
            </a:lvl1pPr>
            <a:lvl2pPr algn="ctr" eaLnBrk="0" hangingPunct="0">
              <a:defRPr sz="4000">
                <a:solidFill>
                  <a:srgbClr val="000099"/>
                </a:solidFill>
                <a:latin typeface="Myriad Roman" charset="0"/>
              </a:defRPr>
            </a:lvl2pPr>
            <a:lvl3pPr algn="ctr" eaLnBrk="0" hangingPunct="0">
              <a:defRPr sz="4000">
                <a:solidFill>
                  <a:srgbClr val="000099"/>
                </a:solidFill>
                <a:latin typeface="Myriad Roman" charset="0"/>
              </a:defRPr>
            </a:lvl3pPr>
            <a:lvl4pPr algn="ctr" eaLnBrk="0" hangingPunct="0">
              <a:defRPr sz="4000">
                <a:solidFill>
                  <a:srgbClr val="000099"/>
                </a:solidFill>
                <a:latin typeface="Myriad Roman" charset="0"/>
              </a:defRPr>
            </a:lvl4pPr>
            <a:lvl5pPr algn="ctr" eaLnBrk="0" hangingPunct="0">
              <a:defRPr sz="4000">
                <a:solidFill>
                  <a:srgbClr val="000099"/>
                </a:solidFill>
                <a:latin typeface="Myriad Roman" charset="0"/>
              </a:defRPr>
            </a:lvl5pPr>
            <a:lvl6pPr marL="457200" algn="ctr" fontAlgn="base">
              <a:spcBef>
                <a:spcPct val="0"/>
              </a:spcBef>
              <a:spcAft>
                <a:spcPct val="0"/>
              </a:spcAft>
              <a:defRPr sz="4000">
                <a:solidFill>
                  <a:srgbClr val="000099"/>
                </a:solidFill>
                <a:latin typeface="Myriad Roman" charset="0"/>
              </a:defRPr>
            </a:lvl6pPr>
            <a:lvl7pPr marL="914400" algn="ctr" fontAlgn="base">
              <a:spcBef>
                <a:spcPct val="0"/>
              </a:spcBef>
              <a:spcAft>
                <a:spcPct val="0"/>
              </a:spcAft>
              <a:defRPr sz="4000">
                <a:solidFill>
                  <a:srgbClr val="000099"/>
                </a:solidFill>
                <a:latin typeface="Myriad Roman" charset="0"/>
              </a:defRPr>
            </a:lvl7pPr>
            <a:lvl8pPr marL="1371600" algn="ctr" fontAlgn="base">
              <a:spcBef>
                <a:spcPct val="0"/>
              </a:spcBef>
              <a:spcAft>
                <a:spcPct val="0"/>
              </a:spcAft>
              <a:defRPr sz="4000">
                <a:solidFill>
                  <a:srgbClr val="000099"/>
                </a:solidFill>
                <a:latin typeface="Myriad Roman" charset="0"/>
              </a:defRPr>
            </a:lvl8pPr>
            <a:lvl9pPr marL="1828800" algn="ctr" fontAlgn="base">
              <a:spcBef>
                <a:spcPct val="0"/>
              </a:spcBef>
              <a:spcAft>
                <a:spcPct val="0"/>
              </a:spcAft>
              <a:defRPr sz="4000">
                <a:solidFill>
                  <a:srgbClr val="000099"/>
                </a:solidFill>
                <a:latin typeface="Myriad Roman" charset="0"/>
              </a:defRPr>
            </a:lvl9pPr>
          </a:lstStyle>
          <a:p>
            <a:r>
              <a:rPr lang="en-US" dirty="0"/>
              <a:t>Denmark – PTX increases value of wind/PV</a:t>
            </a:r>
            <a:br>
              <a:rPr lang="en-US" dirty="0"/>
            </a:br>
            <a:endParaRPr lang="en-US" dirty="0"/>
          </a:p>
        </p:txBody>
      </p:sp>
      <p:grpSp>
        <p:nvGrpSpPr>
          <p:cNvPr id="29" name="Group 28">
            <a:extLst>
              <a:ext uri="{FF2B5EF4-FFF2-40B4-BE49-F238E27FC236}">
                <a16:creationId xmlns:a16="http://schemas.microsoft.com/office/drawing/2014/main" id="{98351868-3241-4CDC-80C4-EED5EE673808}"/>
              </a:ext>
            </a:extLst>
          </p:cNvPr>
          <p:cNvGrpSpPr/>
          <p:nvPr/>
        </p:nvGrpSpPr>
        <p:grpSpPr>
          <a:xfrm>
            <a:off x="6029348" y="4339160"/>
            <a:ext cx="6101774" cy="2626241"/>
            <a:chOff x="1198296" y="1532383"/>
            <a:chExt cx="9840763" cy="4244086"/>
          </a:xfrm>
        </p:grpSpPr>
        <p:graphicFrame>
          <p:nvGraphicFramePr>
            <p:cNvPr id="30" name="Diagram 10">
              <a:extLst>
                <a:ext uri="{FF2B5EF4-FFF2-40B4-BE49-F238E27FC236}">
                  <a16:creationId xmlns:a16="http://schemas.microsoft.com/office/drawing/2014/main" id="{E7ECECE3-0514-4D10-8523-F92A8F3BDBB3}"/>
                </a:ext>
              </a:extLst>
            </p:cNvPr>
            <p:cNvGraphicFramePr>
              <a:graphicFrameLocks/>
            </p:cNvGraphicFramePr>
            <p:nvPr>
              <p:extLst>
                <p:ext uri="{D42A27DB-BD31-4B8C-83A1-F6EECF244321}">
                  <p14:modId xmlns:p14="http://schemas.microsoft.com/office/powerpoint/2010/main" val="4174667891"/>
                </p:ext>
              </p:extLst>
            </p:nvPr>
          </p:nvGraphicFramePr>
          <p:xfrm>
            <a:off x="1198296" y="1532383"/>
            <a:ext cx="7943600" cy="4244086"/>
          </p:xfrm>
          <a:graphic>
            <a:graphicData uri="http://schemas.openxmlformats.org/drawingml/2006/chart">
              <c:chart xmlns:c="http://schemas.openxmlformats.org/drawingml/2006/chart" xmlns:r="http://schemas.openxmlformats.org/officeDocument/2006/relationships" r:id="rId4"/>
            </a:graphicData>
          </a:graphic>
        </p:graphicFrame>
        <p:sp>
          <p:nvSpPr>
            <p:cNvPr id="31" name="Tekstboks 8">
              <a:extLst>
                <a:ext uri="{FF2B5EF4-FFF2-40B4-BE49-F238E27FC236}">
                  <a16:creationId xmlns:a16="http://schemas.microsoft.com/office/drawing/2014/main" id="{B0BF54F9-B0B6-481D-BAA0-33635008A18F}"/>
                </a:ext>
              </a:extLst>
            </p:cNvPr>
            <p:cNvSpPr txBox="1"/>
            <p:nvPr/>
          </p:nvSpPr>
          <p:spPr>
            <a:xfrm>
              <a:off x="2488758" y="3963745"/>
              <a:ext cx="1463625" cy="215444"/>
            </a:xfrm>
            <a:prstGeom prst="rect">
              <a:avLst/>
            </a:prstGeom>
            <a:noFill/>
            <a:ln w="12700">
              <a:noFill/>
              <a:tailEnd type="triangle"/>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Light"/>
                  <a:ea typeface="+mn-ea"/>
                  <a:cs typeface="+mn-cs"/>
                </a:rPr>
                <a:t>GCA 2040 </a:t>
              </a:r>
              <a:r>
                <a:rPr kumimoji="0" lang="en-US" sz="1400" b="0" i="0" u="none" strike="noStrike" kern="1200" cap="none" spc="0" normalizeH="0" baseline="0" noProof="0" dirty="0" err="1">
                  <a:ln>
                    <a:noFill/>
                  </a:ln>
                  <a:solidFill>
                    <a:srgbClr val="000000"/>
                  </a:solidFill>
                  <a:effectLst/>
                  <a:uLnTx/>
                  <a:uFillTx/>
                  <a:latin typeface="Calibri Light"/>
                  <a:ea typeface="+mn-ea"/>
                  <a:cs typeface="+mn-cs"/>
                </a:rPr>
                <a:t>basecase</a:t>
              </a:r>
              <a:endParaRPr kumimoji="0" lang="en-US" sz="1400" b="0" i="0" u="none" strike="noStrike" kern="1200" cap="none" spc="0" normalizeH="0" baseline="0" noProof="0" dirty="0">
                <a:ln>
                  <a:noFill/>
                </a:ln>
                <a:solidFill>
                  <a:srgbClr val="000000"/>
                </a:solidFill>
                <a:effectLst/>
                <a:uLnTx/>
                <a:uFillTx/>
                <a:latin typeface="Calibri Light"/>
                <a:ea typeface="+mn-ea"/>
                <a:cs typeface="+mn-cs"/>
              </a:endParaRPr>
            </a:p>
          </p:txBody>
        </p:sp>
        <p:cxnSp>
          <p:nvCxnSpPr>
            <p:cNvPr id="32" name="Lige pilforbindelse 9">
              <a:extLst>
                <a:ext uri="{FF2B5EF4-FFF2-40B4-BE49-F238E27FC236}">
                  <a16:creationId xmlns:a16="http://schemas.microsoft.com/office/drawing/2014/main" id="{3A512445-8431-4BCF-99FC-87A7C44EE6C8}"/>
                </a:ext>
              </a:extLst>
            </p:cNvPr>
            <p:cNvCxnSpPr/>
            <p:nvPr/>
          </p:nvCxnSpPr>
          <p:spPr>
            <a:xfrm>
              <a:off x="3952383" y="4086889"/>
              <a:ext cx="389029" cy="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3" name="Tekstboks 22">
              <a:extLst>
                <a:ext uri="{FF2B5EF4-FFF2-40B4-BE49-F238E27FC236}">
                  <a16:creationId xmlns:a16="http://schemas.microsoft.com/office/drawing/2014/main" id="{E0D67BC3-7DDD-48B8-974F-7C992B70D869}"/>
                </a:ext>
              </a:extLst>
            </p:cNvPr>
            <p:cNvSpPr txBox="1"/>
            <p:nvPr/>
          </p:nvSpPr>
          <p:spPr>
            <a:xfrm>
              <a:off x="5185498" y="2984821"/>
              <a:ext cx="1684429"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Light"/>
                  <a:ea typeface="+mn-ea"/>
                  <a:cs typeface="+mn-cs"/>
                </a:rPr>
                <a:t>+ </a:t>
              </a:r>
              <a:r>
                <a:rPr kumimoji="0" lang="en-US" sz="1400" b="0" i="0" u="none" strike="noStrike" kern="1200" cap="none" spc="0" normalizeH="0" baseline="0" noProof="0" dirty="0" err="1">
                  <a:ln>
                    <a:noFill/>
                  </a:ln>
                  <a:solidFill>
                    <a:srgbClr val="000000"/>
                  </a:solidFill>
                  <a:effectLst/>
                  <a:uLnTx/>
                  <a:uFillTx/>
                  <a:latin typeface="Calibri Light"/>
                  <a:ea typeface="+mn-ea"/>
                  <a:cs typeface="+mn-cs"/>
                </a:rPr>
                <a:t>elektrolysis</a:t>
              </a:r>
              <a:r>
                <a:rPr kumimoji="0" lang="en-US" sz="1400" b="0" i="0" u="none" strike="noStrike" kern="1200" cap="none" spc="0" normalizeH="0" baseline="0" noProof="0" dirty="0">
                  <a:ln>
                    <a:noFill/>
                  </a:ln>
                  <a:solidFill>
                    <a:srgbClr val="000000"/>
                  </a:solidFill>
                  <a:effectLst/>
                  <a:uLnTx/>
                  <a:uFillTx/>
                  <a:latin typeface="Calibri Light"/>
                  <a:ea typeface="+mn-ea"/>
                  <a:cs typeface="+mn-cs"/>
                </a:rPr>
                <a:t> (</a:t>
              </a:r>
              <a:r>
                <a:rPr kumimoji="0" lang="en-US" sz="1400" b="0" i="0" u="none" strike="noStrike" kern="1200" cap="none" spc="0" normalizeH="0" baseline="0" noProof="0" dirty="0" err="1">
                  <a:ln>
                    <a:noFill/>
                  </a:ln>
                  <a:solidFill>
                    <a:srgbClr val="000000"/>
                  </a:solidFill>
                  <a:effectLst/>
                  <a:uLnTx/>
                  <a:uFillTx/>
                  <a:latin typeface="Calibri Light"/>
                  <a:ea typeface="+mn-ea"/>
                  <a:cs typeface="+mn-cs"/>
                </a:rPr>
                <a:t>PtX</a:t>
              </a:r>
              <a:r>
                <a:rPr kumimoji="0" lang="en-US" sz="1400" b="0" i="0" u="none" strike="noStrike" kern="1200" cap="none" spc="0" normalizeH="0" baseline="0" noProof="0" dirty="0">
                  <a:ln>
                    <a:noFill/>
                  </a:ln>
                  <a:solidFill>
                    <a:srgbClr val="000000"/>
                  </a:solidFill>
                  <a:effectLst/>
                  <a:uLnTx/>
                  <a:uFillTx/>
                  <a:latin typeface="Calibri Light"/>
                  <a:ea typeface="+mn-ea"/>
                  <a:cs typeface="+mn-cs"/>
                </a:rPr>
                <a:t>)</a:t>
              </a:r>
            </a:p>
          </p:txBody>
        </p:sp>
        <p:cxnSp>
          <p:nvCxnSpPr>
            <p:cNvPr id="34" name="Lige pilforbindelse 23">
              <a:extLst>
                <a:ext uri="{FF2B5EF4-FFF2-40B4-BE49-F238E27FC236}">
                  <a16:creationId xmlns:a16="http://schemas.microsoft.com/office/drawing/2014/main" id="{A3CC881D-C1E9-4105-8B3D-46F5E4C152CC}"/>
                </a:ext>
              </a:extLst>
            </p:cNvPr>
            <p:cNvCxnSpPr/>
            <p:nvPr/>
          </p:nvCxnSpPr>
          <p:spPr>
            <a:xfrm>
              <a:off x="6061702" y="3559781"/>
              <a:ext cx="0" cy="184084"/>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5" name="Tekstboks 29">
              <a:extLst>
                <a:ext uri="{FF2B5EF4-FFF2-40B4-BE49-F238E27FC236}">
                  <a16:creationId xmlns:a16="http://schemas.microsoft.com/office/drawing/2014/main" id="{E0F5A38A-D4ED-43B3-94DF-38E30172814E}"/>
                </a:ext>
              </a:extLst>
            </p:cNvPr>
            <p:cNvSpPr txBox="1"/>
            <p:nvPr/>
          </p:nvSpPr>
          <p:spPr>
            <a:xfrm>
              <a:off x="8876171" y="4791444"/>
              <a:ext cx="216288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Light"/>
                  <a:ea typeface="+mn-ea"/>
                  <a:cs typeface="+mn-cs"/>
                </a:rPr>
                <a:t>Hours</a:t>
              </a:r>
            </a:p>
          </p:txBody>
        </p:sp>
      </p:grpSp>
      <p:sp>
        <p:nvSpPr>
          <p:cNvPr id="44" name="Rectangle: Rounded Corners 43">
            <a:extLst>
              <a:ext uri="{FF2B5EF4-FFF2-40B4-BE49-F238E27FC236}">
                <a16:creationId xmlns:a16="http://schemas.microsoft.com/office/drawing/2014/main" id="{1EA624FD-2919-49E5-9DB7-89D25D7BF2C4}"/>
              </a:ext>
            </a:extLst>
          </p:cNvPr>
          <p:cNvSpPr/>
          <p:nvPr/>
        </p:nvSpPr>
        <p:spPr>
          <a:xfrm>
            <a:off x="277403" y="1875725"/>
            <a:ext cx="5505748" cy="4632504"/>
          </a:xfrm>
          <a:prstGeom prst="roundRect">
            <a:avLst/>
          </a:prstGeom>
          <a:solidFill>
            <a:srgbClr val="CADDE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400" dirty="0">
                <a:solidFill>
                  <a:schemeClr val="tx1"/>
                </a:solidFill>
              </a:rPr>
              <a:t>The existing DK energy system</a:t>
            </a:r>
            <a:r>
              <a:rPr lang="en-US" sz="2400" b="1" dirty="0">
                <a:solidFill>
                  <a:schemeClr val="tx1"/>
                </a:solidFill>
              </a:rPr>
              <a:t> cannot deliver without change</a:t>
            </a:r>
          </a:p>
          <a:p>
            <a:pPr marL="342900" indent="-342900">
              <a:buFont typeface="Arial" panose="020B0604020202020204" pitchFamily="34" charset="0"/>
              <a:buChar char="•"/>
            </a:pPr>
            <a:r>
              <a:rPr lang="en-US" sz="2400" dirty="0">
                <a:solidFill>
                  <a:schemeClr val="tx1"/>
                </a:solidFill>
              </a:rPr>
              <a:t>North Sea is an important resource – 70-150 MW in 2040 (7-15 x current capacity)</a:t>
            </a:r>
          </a:p>
          <a:p>
            <a:pPr marL="342900" indent="-342900">
              <a:buFont typeface="Arial" panose="020B0604020202020204" pitchFamily="34" charset="0"/>
              <a:buChar char="•"/>
            </a:pPr>
            <a:r>
              <a:rPr lang="en-US" sz="2400" b="1" dirty="0">
                <a:solidFill>
                  <a:schemeClr val="tx1"/>
                </a:solidFill>
              </a:rPr>
              <a:t>PTX can increase the value of wind and PV-scenario:</a:t>
            </a:r>
          </a:p>
          <a:p>
            <a:pPr marL="800100" lvl="1" indent="-342900">
              <a:buFontTx/>
              <a:buChar char="-"/>
            </a:pPr>
            <a:r>
              <a:rPr lang="en-US" sz="2400" dirty="0">
                <a:solidFill>
                  <a:schemeClr val="tx1"/>
                </a:solidFill>
              </a:rPr>
              <a:t>Average market value for wind power and PV increases from </a:t>
            </a:r>
            <a:r>
              <a:rPr lang="en-US" sz="2400" dirty="0" err="1">
                <a:solidFill>
                  <a:schemeClr val="tx1"/>
                </a:solidFill>
              </a:rPr>
              <a:t>approx</a:t>
            </a:r>
            <a:r>
              <a:rPr lang="en-US" sz="2400" dirty="0">
                <a:solidFill>
                  <a:schemeClr val="tx1"/>
                </a:solidFill>
              </a:rPr>
              <a:t> 0.02 €/kWh in base case to 0.04 €/kWh in </a:t>
            </a:r>
            <a:r>
              <a:rPr lang="en-US" sz="2400" dirty="0" err="1">
                <a:solidFill>
                  <a:schemeClr val="tx1"/>
                </a:solidFill>
              </a:rPr>
              <a:t>PtX</a:t>
            </a:r>
            <a:r>
              <a:rPr lang="en-US" sz="2400" dirty="0">
                <a:solidFill>
                  <a:schemeClr val="tx1"/>
                </a:solidFill>
              </a:rPr>
              <a:t>-scenario</a:t>
            </a:r>
            <a:endParaRPr lang="en-GB" sz="2400" b="1" dirty="0">
              <a:solidFill>
                <a:schemeClr val="tx1"/>
              </a:solidFill>
            </a:endParaRPr>
          </a:p>
          <a:p>
            <a:endParaRPr lang="en-GB" sz="2400" dirty="0">
              <a:solidFill>
                <a:schemeClr val="tx1"/>
              </a:solidFill>
            </a:endParaRPr>
          </a:p>
        </p:txBody>
      </p:sp>
    </p:spTree>
    <p:extLst>
      <p:ext uri="{BB962C8B-B14F-4D97-AF65-F5344CB8AC3E}">
        <p14:creationId xmlns:p14="http://schemas.microsoft.com/office/powerpoint/2010/main" val="4094089928"/>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hteck 9">
            <a:extLst>
              <a:ext uri="{FF2B5EF4-FFF2-40B4-BE49-F238E27FC236}">
                <a16:creationId xmlns:a16="http://schemas.microsoft.com/office/drawing/2014/main" id="{6DBBDF84-0406-487D-ADD6-1309D4F447FD}"/>
              </a:ext>
            </a:extLst>
          </p:cNvPr>
          <p:cNvSpPr/>
          <p:nvPr/>
        </p:nvSpPr>
        <p:spPr>
          <a:xfrm>
            <a:off x="5641297" y="2270358"/>
            <a:ext cx="5933246" cy="1570583"/>
          </a:xfrm>
          <a:prstGeom prst="rect">
            <a:avLst/>
          </a:prstGeom>
          <a:solidFill>
            <a:schemeClr val="bg1"/>
          </a:solidFill>
          <a:ln w="12700">
            <a:solidFill>
              <a:schemeClr val="bg1">
                <a:lumMod val="65000"/>
              </a:schemeClr>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sz="1400" b="1">
              <a:solidFill>
                <a:schemeClr val="accent1"/>
              </a:solidFill>
            </a:endParaRPr>
          </a:p>
        </p:txBody>
      </p:sp>
      <p:cxnSp>
        <p:nvCxnSpPr>
          <p:cNvPr id="104" name="Gewinkelter Verbinder 10">
            <a:extLst>
              <a:ext uri="{FF2B5EF4-FFF2-40B4-BE49-F238E27FC236}">
                <a16:creationId xmlns:a16="http://schemas.microsoft.com/office/drawing/2014/main" id="{BF80EDC8-C1F3-46D5-BE1F-45FFFB84D992}"/>
              </a:ext>
            </a:extLst>
          </p:cNvPr>
          <p:cNvCxnSpPr>
            <a:cxnSpLocks/>
          </p:cNvCxnSpPr>
          <p:nvPr/>
        </p:nvCxnSpPr>
        <p:spPr>
          <a:xfrm flipH="1">
            <a:off x="4225065" y="3084643"/>
            <a:ext cx="1419225" cy="954852"/>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5" name="Gewinkelter Verbinder 14">
            <a:extLst>
              <a:ext uri="{FF2B5EF4-FFF2-40B4-BE49-F238E27FC236}">
                <a16:creationId xmlns:a16="http://schemas.microsoft.com/office/drawing/2014/main" id="{31CE1585-F024-49CF-9611-8B533BD3ED83}"/>
              </a:ext>
            </a:extLst>
          </p:cNvPr>
          <p:cNvCxnSpPr>
            <a:cxnSpLocks/>
          </p:cNvCxnSpPr>
          <p:nvPr/>
        </p:nvCxnSpPr>
        <p:spPr>
          <a:xfrm flipH="1" flipV="1">
            <a:off x="4215657" y="4030089"/>
            <a:ext cx="1438040" cy="850313"/>
          </a:xfrm>
          <a:prstGeom prst="bentConnector3">
            <a:avLst>
              <a:gd name="adj1" fmla="val 50000"/>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6" name="Rechteck 21">
            <a:extLst>
              <a:ext uri="{FF2B5EF4-FFF2-40B4-BE49-F238E27FC236}">
                <a16:creationId xmlns:a16="http://schemas.microsoft.com/office/drawing/2014/main" id="{2B1A5FE8-60CF-49BC-A035-A3F2FFB32E0D}"/>
              </a:ext>
            </a:extLst>
          </p:cNvPr>
          <p:cNvSpPr/>
          <p:nvPr/>
        </p:nvSpPr>
        <p:spPr>
          <a:xfrm>
            <a:off x="5641298" y="4020318"/>
            <a:ext cx="5933245" cy="1600079"/>
          </a:xfrm>
          <a:prstGeom prst="rect">
            <a:avLst/>
          </a:prstGeom>
          <a:solidFill>
            <a:schemeClr val="bg1"/>
          </a:solidFill>
          <a:ln w="12700">
            <a:solidFill>
              <a:schemeClr val="bg1">
                <a:lumMod val="65000"/>
              </a:schemeClr>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sz="1400" b="1">
              <a:solidFill>
                <a:schemeClr val="accent1"/>
              </a:solidFill>
            </a:endParaRPr>
          </a:p>
        </p:txBody>
      </p:sp>
      <p:sp>
        <p:nvSpPr>
          <p:cNvPr id="107" name="Rectangle 106">
            <a:extLst>
              <a:ext uri="{FF2B5EF4-FFF2-40B4-BE49-F238E27FC236}">
                <a16:creationId xmlns:a16="http://schemas.microsoft.com/office/drawing/2014/main" id="{0B00DE20-F45D-4AE3-A1E4-91124F3B4895}"/>
              </a:ext>
            </a:extLst>
          </p:cNvPr>
          <p:cNvSpPr/>
          <p:nvPr/>
        </p:nvSpPr>
        <p:spPr>
          <a:xfrm>
            <a:off x="5744780" y="4408768"/>
            <a:ext cx="3517796" cy="815558"/>
          </a:xfrm>
          <a:prstGeom prst="rect">
            <a:avLst/>
          </a:prstGeom>
          <a:solidFill>
            <a:srgbClr val="D7ED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lumMod val="65000"/>
                    <a:lumOff val="35000"/>
                  </a:schemeClr>
                </a:solidFill>
              </a:rPr>
              <a:t>Facilitates increased energy efficiency</a:t>
            </a:r>
            <a:r>
              <a:rPr lang="en-US" sz="1600" b="1" dirty="0">
                <a:solidFill>
                  <a:schemeClr val="tx1">
                    <a:lumMod val="65000"/>
                    <a:lumOff val="35000"/>
                  </a:schemeClr>
                </a:solidFill>
                <a:cs typeface="Arial"/>
              </a:rPr>
              <a:t> with gas technology</a:t>
            </a:r>
          </a:p>
        </p:txBody>
      </p:sp>
      <p:sp>
        <p:nvSpPr>
          <p:cNvPr id="108" name="Rectangle 107">
            <a:extLst>
              <a:ext uri="{FF2B5EF4-FFF2-40B4-BE49-F238E27FC236}">
                <a16:creationId xmlns:a16="http://schemas.microsoft.com/office/drawing/2014/main" id="{9ED777EF-71B2-4DCA-812B-D557081827D9}"/>
              </a:ext>
            </a:extLst>
          </p:cNvPr>
          <p:cNvSpPr/>
          <p:nvPr/>
        </p:nvSpPr>
        <p:spPr>
          <a:xfrm>
            <a:off x="5744777" y="2674876"/>
            <a:ext cx="3517799" cy="815558"/>
          </a:xfrm>
          <a:prstGeom prst="rect">
            <a:avLst/>
          </a:prstGeom>
          <a:solidFill>
            <a:srgbClr val="D7ED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lumMod val="65000"/>
                    <a:lumOff val="35000"/>
                  </a:schemeClr>
                </a:solidFill>
              </a:rPr>
              <a:t>Gas</a:t>
            </a:r>
            <a:r>
              <a:rPr lang="en-US" sz="1600" b="1" dirty="0">
                <a:solidFill>
                  <a:schemeClr val="tx1">
                    <a:lumMod val="65000"/>
                    <a:lumOff val="35000"/>
                  </a:schemeClr>
                </a:solidFill>
                <a:cs typeface="Arial"/>
              </a:rPr>
              <a:t> infrastructure can accommodate renewable &amp; decarbonised gases</a:t>
            </a:r>
            <a:endParaRPr lang="en-US" sz="1600" dirty="0">
              <a:solidFill>
                <a:schemeClr val="tx1">
                  <a:lumMod val="65000"/>
                  <a:lumOff val="35000"/>
                </a:schemeClr>
              </a:solidFill>
            </a:endParaRPr>
          </a:p>
        </p:txBody>
      </p:sp>
      <p:sp>
        <p:nvSpPr>
          <p:cNvPr id="109" name="Rectangle 108">
            <a:extLst>
              <a:ext uri="{FF2B5EF4-FFF2-40B4-BE49-F238E27FC236}">
                <a16:creationId xmlns:a16="http://schemas.microsoft.com/office/drawing/2014/main" id="{7ECA971D-402D-4DF3-B591-1E102DF11A3E}"/>
              </a:ext>
            </a:extLst>
          </p:cNvPr>
          <p:cNvSpPr/>
          <p:nvPr/>
        </p:nvSpPr>
        <p:spPr>
          <a:xfrm>
            <a:off x="965757" y="3630738"/>
            <a:ext cx="3257550" cy="815558"/>
          </a:xfrm>
          <a:prstGeom prst="rect">
            <a:avLst/>
          </a:prstGeom>
          <a:solidFill>
            <a:srgbClr val="C6DB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solidFill>
                  <a:schemeClr val="tx1"/>
                </a:solidFill>
              </a:rPr>
              <a:t>innovation</a:t>
            </a:r>
            <a:endParaRPr lang="nl-BE" sz="2800" b="1">
              <a:solidFill>
                <a:schemeClr val="tx1"/>
              </a:solidFill>
            </a:endParaRPr>
          </a:p>
        </p:txBody>
      </p:sp>
      <p:pic>
        <p:nvPicPr>
          <p:cNvPr id="110" name="Picture 109" descr="A close up of a wheel&#10;&#10;Description generated with high confidence">
            <a:extLst>
              <a:ext uri="{FF2B5EF4-FFF2-40B4-BE49-F238E27FC236}">
                <a16:creationId xmlns:a16="http://schemas.microsoft.com/office/drawing/2014/main" id="{71ED5B7F-48D1-43C8-9021-8E65707A0B6D}"/>
              </a:ext>
            </a:extLst>
          </p:cNvPr>
          <p:cNvPicPr>
            <a:picLocks noChangeAspect="1"/>
          </p:cNvPicPr>
          <p:nvPr/>
        </p:nvPicPr>
        <p:blipFill>
          <a:blip r:embed="rId3"/>
          <a:stretch>
            <a:fillRect/>
          </a:stretch>
        </p:blipFill>
        <p:spPr>
          <a:xfrm>
            <a:off x="2024646" y="4549924"/>
            <a:ext cx="1226908" cy="1199505"/>
          </a:xfrm>
          <a:prstGeom prst="rect">
            <a:avLst/>
          </a:prstGeom>
        </p:spPr>
      </p:pic>
      <p:pic>
        <p:nvPicPr>
          <p:cNvPr id="111" name="Picture 110" descr="A picture containing sky&#10;&#10;Description generated with very high confidence">
            <a:extLst>
              <a:ext uri="{FF2B5EF4-FFF2-40B4-BE49-F238E27FC236}">
                <a16:creationId xmlns:a16="http://schemas.microsoft.com/office/drawing/2014/main" id="{9192FB9A-4EBD-4CC4-B1A2-411AFE878D9D}"/>
              </a:ext>
            </a:extLst>
          </p:cNvPr>
          <p:cNvPicPr>
            <a:picLocks noChangeAspect="1"/>
          </p:cNvPicPr>
          <p:nvPr/>
        </p:nvPicPr>
        <p:blipFill>
          <a:blip r:embed="rId4"/>
          <a:stretch>
            <a:fillRect/>
          </a:stretch>
        </p:blipFill>
        <p:spPr>
          <a:xfrm>
            <a:off x="3212907" y="4523777"/>
            <a:ext cx="1226908" cy="1199505"/>
          </a:xfrm>
          <a:prstGeom prst="rect">
            <a:avLst/>
          </a:prstGeom>
        </p:spPr>
      </p:pic>
      <p:pic>
        <p:nvPicPr>
          <p:cNvPr id="112" name="Picture 111" descr="A close up of a building&#10;&#10;Description generated with high confidence">
            <a:extLst>
              <a:ext uri="{FF2B5EF4-FFF2-40B4-BE49-F238E27FC236}">
                <a16:creationId xmlns:a16="http://schemas.microsoft.com/office/drawing/2014/main" id="{ACFC485A-408B-4100-9498-92F97FBD6F63}"/>
              </a:ext>
            </a:extLst>
          </p:cNvPr>
          <p:cNvPicPr>
            <a:picLocks noChangeAspect="1"/>
          </p:cNvPicPr>
          <p:nvPr/>
        </p:nvPicPr>
        <p:blipFill>
          <a:blip r:embed="rId5"/>
          <a:stretch>
            <a:fillRect/>
          </a:stretch>
        </p:blipFill>
        <p:spPr>
          <a:xfrm>
            <a:off x="813914" y="4546017"/>
            <a:ext cx="1226908" cy="1199504"/>
          </a:xfrm>
          <a:prstGeom prst="rect">
            <a:avLst/>
          </a:prstGeom>
        </p:spPr>
      </p:pic>
      <p:pic>
        <p:nvPicPr>
          <p:cNvPr id="113" name="Picture 112" descr="A close up of a device&#10;&#10;Description generated with high confidence">
            <a:extLst>
              <a:ext uri="{FF2B5EF4-FFF2-40B4-BE49-F238E27FC236}">
                <a16:creationId xmlns:a16="http://schemas.microsoft.com/office/drawing/2014/main" id="{A6BE45CE-C64F-4084-BA14-933AD713EA90}"/>
              </a:ext>
            </a:extLst>
          </p:cNvPr>
          <p:cNvPicPr>
            <a:picLocks noChangeAspect="1"/>
          </p:cNvPicPr>
          <p:nvPr/>
        </p:nvPicPr>
        <p:blipFill>
          <a:blip r:embed="rId6"/>
          <a:stretch>
            <a:fillRect/>
          </a:stretch>
        </p:blipFill>
        <p:spPr>
          <a:xfrm>
            <a:off x="9262575" y="4005470"/>
            <a:ext cx="2295197" cy="1619250"/>
          </a:xfrm>
          <a:prstGeom prst="rect">
            <a:avLst/>
          </a:prstGeom>
        </p:spPr>
      </p:pic>
      <p:pic>
        <p:nvPicPr>
          <p:cNvPr id="114" name="Picture 113">
            <a:extLst>
              <a:ext uri="{FF2B5EF4-FFF2-40B4-BE49-F238E27FC236}">
                <a16:creationId xmlns:a16="http://schemas.microsoft.com/office/drawing/2014/main" id="{0588E6E7-408E-4FE1-B27D-5380A9B3B5AA}"/>
              </a:ext>
            </a:extLst>
          </p:cNvPr>
          <p:cNvPicPr>
            <a:picLocks noChangeAspect="1"/>
          </p:cNvPicPr>
          <p:nvPr/>
        </p:nvPicPr>
        <p:blipFill>
          <a:blip r:embed="rId7"/>
          <a:stretch>
            <a:fillRect/>
          </a:stretch>
        </p:blipFill>
        <p:spPr>
          <a:xfrm>
            <a:off x="9660968" y="2366977"/>
            <a:ext cx="1515184" cy="1481342"/>
          </a:xfrm>
          <a:prstGeom prst="rect">
            <a:avLst/>
          </a:prstGeom>
        </p:spPr>
      </p:pic>
    </p:spTree>
    <p:extLst>
      <p:ext uri="{BB962C8B-B14F-4D97-AF65-F5344CB8AC3E}">
        <p14:creationId xmlns:p14="http://schemas.microsoft.com/office/powerpoint/2010/main" val="1456607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a:extLst>
              <a:ext uri="{FF2B5EF4-FFF2-40B4-BE49-F238E27FC236}">
                <a16:creationId xmlns:a16="http://schemas.microsoft.com/office/drawing/2014/main" id="{ABBEC292-8364-45BF-A64A-46F033FAAE86}"/>
              </a:ext>
            </a:extLst>
          </p:cNvPr>
          <p:cNvSpPr/>
          <p:nvPr/>
        </p:nvSpPr>
        <p:spPr>
          <a:xfrm>
            <a:off x="11542308" y="5733256"/>
            <a:ext cx="578670" cy="72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C5FD9764-2FB4-4FC4-87F2-5C14D64D20D4}"/>
              </a:ext>
            </a:extLst>
          </p:cNvPr>
          <p:cNvSpPr txBox="1"/>
          <p:nvPr/>
        </p:nvSpPr>
        <p:spPr>
          <a:xfrm>
            <a:off x="10310237" y="6553695"/>
            <a:ext cx="2144441" cy="307777"/>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Source: DBI 2018</a:t>
            </a: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2A4C21D5-5386-4BA8-A526-AAFB9EF2F685}"/>
              </a:ext>
            </a:extLst>
          </p:cNvPr>
          <p:cNvSpPr txBox="1"/>
          <p:nvPr/>
        </p:nvSpPr>
        <p:spPr>
          <a:xfrm>
            <a:off x="355699" y="406632"/>
            <a:ext cx="9021038" cy="830997"/>
          </a:xfrm>
          <a:prstGeom prst="rect">
            <a:avLst/>
          </a:prstGeom>
        </p:spPr>
        <p:txBody>
          <a:bodyPr/>
          <a:lstStyle>
            <a:defPPr>
              <a:defRPr lang="en-US"/>
            </a:defPPr>
            <a:lvl1pPr eaLnBrk="0" hangingPunct="0">
              <a:defRPr sz="2800" b="1" kern="0">
                <a:solidFill>
                  <a:schemeClr val="bg1"/>
                </a:solidFill>
                <a:latin typeface="Calibri" panose="020F0502020204030204" pitchFamily="34" charset="0"/>
                <a:ea typeface="+mj-ea"/>
                <a:cs typeface="Calibri" panose="020F0502020204030204" pitchFamily="34" charset="0"/>
              </a:defRPr>
            </a:lvl1pPr>
            <a:lvl2pPr algn="ctr" eaLnBrk="0" hangingPunct="0">
              <a:defRPr sz="4000">
                <a:solidFill>
                  <a:srgbClr val="000099"/>
                </a:solidFill>
                <a:latin typeface="Myriad Roman" charset="0"/>
              </a:defRPr>
            </a:lvl2pPr>
            <a:lvl3pPr algn="ctr" eaLnBrk="0" hangingPunct="0">
              <a:defRPr sz="4000">
                <a:solidFill>
                  <a:srgbClr val="000099"/>
                </a:solidFill>
                <a:latin typeface="Myriad Roman" charset="0"/>
              </a:defRPr>
            </a:lvl3pPr>
            <a:lvl4pPr algn="ctr" eaLnBrk="0" hangingPunct="0">
              <a:defRPr sz="4000">
                <a:solidFill>
                  <a:srgbClr val="000099"/>
                </a:solidFill>
                <a:latin typeface="Myriad Roman" charset="0"/>
              </a:defRPr>
            </a:lvl4pPr>
            <a:lvl5pPr algn="ctr" eaLnBrk="0" hangingPunct="0">
              <a:defRPr sz="4000">
                <a:solidFill>
                  <a:srgbClr val="000099"/>
                </a:solidFill>
                <a:latin typeface="Myriad Roman" charset="0"/>
              </a:defRPr>
            </a:lvl5pPr>
            <a:lvl6pPr marL="457200" algn="ctr" fontAlgn="base">
              <a:spcBef>
                <a:spcPct val="0"/>
              </a:spcBef>
              <a:spcAft>
                <a:spcPct val="0"/>
              </a:spcAft>
              <a:defRPr sz="4000">
                <a:solidFill>
                  <a:srgbClr val="000099"/>
                </a:solidFill>
                <a:latin typeface="Myriad Roman" charset="0"/>
              </a:defRPr>
            </a:lvl6pPr>
            <a:lvl7pPr marL="914400" algn="ctr" fontAlgn="base">
              <a:spcBef>
                <a:spcPct val="0"/>
              </a:spcBef>
              <a:spcAft>
                <a:spcPct val="0"/>
              </a:spcAft>
              <a:defRPr sz="4000">
                <a:solidFill>
                  <a:srgbClr val="000099"/>
                </a:solidFill>
                <a:latin typeface="Myriad Roman" charset="0"/>
              </a:defRPr>
            </a:lvl7pPr>
            <a:lvl8pPr marL="1371600" algn="ctr" fontAlgn="base">
              <a:spcBef>
                <a:spcPct val="0"/>
              </a:spcBef>
              <a:spcAft>
                <a:spcPct val="0"/>
              </a:spcAft>
              <a:defRPr sz="4000">
                <a:solidFill>
                  <a:srgbClr val="000099"/>
                </a:solidFill>
                <a:latin typeface="Myriad Roman" charset="0"/>
              </a:defRPr>
            </a:lvl8pPr>
            <a:lvl9pPr marL="1828800" algn="ctr" fontAlgn="base">
              <a:spcBef>
                <a:spcPct val="0"/>
              </a:spcBef>
              <a:spcAft>
                <a:spcPct val="0"/>
              </a:spcAft>
              <a:defRPr sz="4000">
                <a:solidFill>
                  <a:srgbClr val="000099"/>
                </a:solidFill>
                <a:latin typeface="Myriad Roman" charset="0"/>
              </a:defRPr>
            </a:lvl9pPr>
          </a:lstStyle>
          <a:p>
            <a:r>
              <a:rPr lang="en-US" dirty="0"/>
              <a:t>  Innovation - gas system can accommodate hydrogen</a:t>
            </a:r>
            <a:br>
              <a:rPr lang="en-US" dirty="0"/>
            </a:br>
            <a:endParaRPr lang="en-US" dirty="0"/>
          </a:p>
        </p:txBody>
      </p:sp>
      <p:sp>
        <p:nvSpPr>
          <p:cNvPr id="5" name="TextBox 4">
            <a:extLst>
              <a:ext uri="{FF2B5EF4-FFF2-40B4-BE49-F238E27FC236}">
                <a16:creationId xmlns:a16="http://schemas.microsoft.com/office/drawing/2014/main" id="{A07690B1-E80F-46C8-A35C-63C3F2FC9B1F}"/>
              </a:ext>
            </a:extLst>
          </p:cNvPr>
          <p:cNvSpPr txBox="1"/>
          <p:nvPr/>
        </p:nvSpPr>
        <p:spPr>
          <a:xfrm>
            <a:off x="137585" y="1934522"/>
            <a:ext cx="3894607" cy="30863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a:rPr>
              <a:t>No technical/physical bottlenecks to transporting hydrogen have been removed.</a:t>
            </a:r>
          </a:p>
          <a:p>
            <a:pPr marL="0" marR="0" lvl="0" indent="0" algn="l" defTabSz="914400" rtl="0" eaLnBrk="1" fontAlgn="auto" latinLnBrk="0" hangingPunct="1">
              <a:lnSpc>
                <a:spcPct val="100000"/>
              </a:lnSpc>
              <a:spcBef>
                <a:spcPts val="0"/>
              </a:spcBef>
              <a:spcAft>
                <a:spcPts val="0"/>
              </a:spcAft>
              <a:buClrTx/>
              <a:buSzTx/>
              <a:buFont typeface="Arial,Sans-Serif"/>
              <a:buChar char="•"/>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lang="en-US" dirty="0">
                <a:solidFill>
                  <a:prstClr val="black"/>
                </a:solidFill>
                <a:latin typeface="Arial" panose="020B0604020202020204"/>
                <a:cs typeface="Arial"/>
              </a:rPr>
              <a:t>Max in EU is Germany at</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Arial"/>
              </a:rPr>
              <a:t> 10% allowed; </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full-scale tests aim for 20-2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Hydrogen transport within the gas grid creates a new </a:t>
            </a:r>
            <a:r>
              <a:rPr kumimoji="0" lang="en-US" sz="1800" b="0" i="1" u="none" strike="noStrike" kern="1200" cap="none" spc="0" normalizeH="0" baseline="0" noProof="0" dirty="0">
                <a:ln>
                  <a:noFill/>
                </a:ln>
                <a:solidFill>
                  <a:prstClr val="black"/>
                </a:solidFill>
                <a:effectLst/>
                <a:uLnTx/>
                <a:uFillTx/>
                <a:latin typeface="Arial" panose="020B0604020202020204"/>
                <a:ea typeface="+mn-ea"/>
                <a:cs typeface="+mn-cs"/>
              </a:rPr>
              <a:t>virtual energy grid </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throughout Europe.</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Arial"/>
            </a:endParaRPr>
          </a:p>
        </p:txBody>
      </p:sp>
      <p:pic>
        <p:nvPicPr>
          <p:cNvPr id="9" name="Grafik 7">
            <a:extLst>
              <a:ext uri="{FF2B5EF4-FFF2-40B4-BE49-F238E27FC236}">
                <a16:creationId xmlns:a16="http://schemas.microsoft.com/office/drawing/2014/main" id="{A4A80AD0-0B70-4BB0-9225-E180C3A07ED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23487" y="4413425"/>
            <a:ext cx="2636623" cy="2140270"/>
          </a:xfrm>
          <a:prstGeom prst="rect">
            <a:avLst/>
          </a:prstGeom>
        </p:spPr>
      </p:pic>
      <p:pic>
        <p:nvPicPr>
          <p:cNvPr id="3" name="Picture 2">
            <a:extLst>
              <a:ext uri="{FF2B5EF4-FFF2-40B4-BE49-F238E27FC236}">
                <a16:creationId xmlns:a16="http://schemas.microsoft.com/office/drawing/2014/main" id="{DA168C66-5F92-43E1-A6CE-2DCBD60A9E3B}"/>
              </a:ext>
            </a:extLst>
          </p:cNvPr>
          <p:cNvPicPr>
            <a:picLocks noChangeAspect="1"/>
          </p:cNvPicPr>
          <p:nvPr/>
        </p:nvPicPr>
        <p:blipFill>
          <a:blip r:embed="rId4"/>
          <a:stretch>
            <a:fillRect/>
          </a:stretch>
        </p:blipFill>
        <p:spPr>
          <a:xfrm>
            <a:off x="4326673" y="1703917"/>
            <a:ext cx="7727742" cy="4814356"/>
          </a:xfrm>
          <a:prstGeom prst="rect">
            <a:avLst/>
          </a:prstGeom>
          <a:ln w="9525">
            <a:solidFill>
              <a:schemeClr val="tx1"/>
            </a:solidFill>
          </a:ln>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D83D7CEF-5BEE-4FB9-973F-7CFAE3309EF9}"/>
              </a:ext>
            </a:extLst>
          </p:cNvPr>
          <p:cNvSpPr txBox="1"/>
          <p:nvPr/>
        </p:nvSpPr>
        <p:spPr>
          <a:xfrm>
            <a:off x="71022" y="5476477"/>
            <a:ext cx="1757778" cy="1077218"/>
          </a:xfrm>
          <a:prstGeom prst="rect">
            <a:avLst/>
          </a:prstGeom>
          <a:noFill/>
        </p:spPr>
        <p:txBody>
          <a:bodyPr wrap="square" rtlCol="0">
            <a:spAutoFit/>
          </a:bodyPr>
          <a:lstStyle/>
          <a:p>
            <a:r>
              <a:rPr lang="en-GB" sz="1600" dirty="0">
                <a:latin typeface="Times New Roman" pitchFamily="18" charset="0"/>
              </a:rPr>
              <a:t>H2 pipeline carries 5x energy that electricity cable (</a:t>
            </a:r>
            <a:r>
              <a:rPr lang="en-GB" sz="1600" dirty="0" err="1">
                <a:latin typeface="Times New Roman" pitchFamily="18" charset="0"/>
              </a:rPr>
              <a:t>nat</a:t>
            </a:r>
            <a:r>
              <a:rPr lang="en-GB" sz="1600" dirty="0">
                <a:latin typeface="Times New Roman" pitchFamily="18" charset="0"/>
              </a:rPr>
              <a:t> gas x 15).  </a:t>
            </a:r>
            <a:endParaRPr lang="en-US" dirty="0">
              <a:cs typeface="Calibri"/>
            </a:endParaRPr>
          </a:p>
        </p:txBody>
      </p:sp>
    </p:spTree>
    <p:extLst>
      <p:ext uri="{BB962C8B-B14F-4D97-AF65-F5344CB8AC3E}">
        <p14:creationId xmlns:p14="http://schemas.microsoft.com/office/powerpoint/2010/main" val="2064195751"/>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E90E086E-5E74-46F8-891C-05DF1278E123}"/>
              </a:ext>
            </a:extLst>
          </p:cNvPr>
          <p:cNvSpPr txBox="1">
            <a:spLocks/>
          </p:cNvSpPr>
          <p:nvPr/>
        </p:nvSpPr>
        <p:spPr>
          <a:xfrm>
            <a:off x="238536" y="422275"/>
            <a:ext cx="9610725" cy="596900"/>
          </a:xfrm>
          <a:prstGeom prst="rect">
            <a:avLst/>
          </a:prstGeom>
        </p:spPr>
        <p:txBody>
          <a:bodyPr/>
          <a:lstStyle>
            <a:lvl1pPr marL="342900" indent="-342900" algn="l" rtl="0" eaLnBrk="0" fontAlgn="base" hangingPunct="0">
              <a:spcBef>
                <a:spcPct val="20000"/>
              </a:spcBef>
              <a:spcAft>
                <a:spcPct val="0"/>
              </a:spcAft>
              <a:buChar char="•"/>
              <a:defRPr sz="3200">
                <a:solidFill>
                  <a:schemeClr val="bg2"/>
                </a:solidFill>
                <a:latin typeface="+mn-lt"/>
                <a:ea typeface="+mn-ea"/>
                <a:cs typeface="+mn-cs"/>
              </a:defRPr>
            </a:lvl1pPr>
            <a:lvl2pPr marL="742950" indent="-285750" algn="l" rtl="0" eaLnBrk="0" fontAlgn="base" hangingPunct="0">
              <a:spcBef>
                <a:spcPct val="20000"/>
              </a:spcBef>
              <a:spcAft>
                <a:spcPct val="0"/>
              </a:spcAft>
              <a:buChar char="–"/>
              <a:defRPr sz="2800">
                <a:solidFill>
                  <a:schemeClr val="bg2"/>
                </a:solidFill>
                <a:latin typeface="+mn-lt"/>
              </a:defRPr>
            </a:lvl2pPr>
            <a:lvl3pPr marL="1143000" indent="-228600" algn="l" rtl="0" eaLnBrk="0" fontAlgn="base" hangingPunct="0">
              <a:spcBef>
                <a:spcPct val="20000"/>
              </a:spcBef>
              <a:spcAft>
                <a:spcPct val="0"/>
              </a:spcAft>
              <a:buChar char="•"/>
              <a:defRPr sz="2400">
                <a:solidFill>
                  <a:schemeClr val="bg2"/>
                </a:solidFill>
                <a:latin typeface="+mn-lt"/>
              </a:defRPr>
            </a:lvl3pPr>
            <a:lvl4pPr marL="1600200" indent="-228600" algn="l" rtl="0" eaLnBrk="0" fontAlgn="base" hangingPunct="0">
              <a:spcBef>
                <a:spcPct val="20000"/>
              </a:spcBef>
              <a:spcAft>
                <a:spcPct val="0"/>
              </a:spcAft>
              <a:buChar char="–"/>
              <a:defRPr sz="2000">
                <a:solidFill>
                  <a:schemeClr val="bg2"/>
                </a:solidFill>
                <a:latin typeface="+mn-lt"/>
              </a:defRPr>
            </a:lvl4pPr>
            <a:lvl5pPr marL="2057400" indent="-228600" algn="l" rtl="0" eaLnBrk="0" fontAlgn="base" hangingPunct="0">
              <a:spcBef>
                <a:spcPct val="20000"/>
              </a:spcBef>
              <a:spcAft>
                <a:spcPct val="0"/>
              </a:spcAft>
              <a:buChar char="»"/>
              <a:defRPr sz="2000">
                <a:solidFill>
                  <a:schemeClr val="bg2"/>
                </a:solidFill>
                <a:latin typeface="+mn-lt"/>
              </a:defRPr>
            </a:lvl5pPr>
            <a:lvl6pPr marL="2514600" indent="-228600" algn="l" rtl="0" fontAlgn="base">
              <a:spcBef>
                <a:spcPct val="20000"/>
              </a:spcBef>
              <a:spcAft>
                <a:spcPct val="0"/>
              </a:spcAft>
              <a:buChar char="»"/>
              <a:defRPr sz="2000">
                <a:solidFill>
                  <a:schemeClr val="bg2"/>
                </a:solidFill>
                <a:latin typeface="+mn-lt"/>
              </a:defRPr>
            </a:lvl6pPr>
            <a:lvl7pPr marL="2971800" indent="-228600" algn="l" rtl="0" fontAlgn="base">
              <a:spcBef>
                <a:spcPct val="20000"/>
              </a:spcBef>
              <a:spcAft>
                <a:spcPct val="0"/>
              </a:spcAft>
              <a:buChar char="»"/>
              <a:defRPr sz="2000">
                <a:solidFill>
                  <a:schemeClr val="bg2"/>
                </a:solidFill>
                <a:latin typeface="+mn-lt"/>
              </a:defRPr>
            </a:lvl7pPr>
            <a:lvl8pPr marL="3429000" indent="-228600" algn="l" rtl="0" fontAlgn="base">
              <a:spcBef>
                <a:spcPct val="20000"/>
              </a:spcBef>
              <a:spcAft>
                <a:spcPct val="0"/>
              </a:spcAft>
              <a:buChar char="»"/>
              <a:defRPr sz="2000">
                <a:solidFill>
                  <a:schemeClr val="bg2"/>
                </a:solidFill>
                <a:latin typeface="+mn-lt"/>
              </a:defRPr>
            </a:lvl8pPr>
            <a:lvl9pPr marL="3886200" indent="-228600" algn="l" rtl="0" fontAlgn="base">
              <a:spcBef>
                <a:spcPct val="20000"/>
              </a:spcBef>
              <a:spcAft>
                <a:spcPct val="0"/>
              </a:spcAft>
              <a:buChar char="»"/>
              <a:defRPr sz="2000">
                <a:solidFill>
                  <a:schemeClr val="bg2"/>
                </a:solidFill>
                <a:latin typeface="+mn-lt"/>
              </a:defRPr>
            </a:lvl9pPr>
          </a:lstStyle>
          <a:p>
            <a:pPr marL="0" indent="0">
              <a:buFontTx/>
              <a:buNone/>
            </a:pPr>
            <a:r>
              <a:rPr lang="en-US" sz="2800" b="1" kern="0" dirty="0">
                <a:solidFill>
                  <a:schemeClr val="bg1"/>
                </a:solidFill>
                <a:latin typeface="Gill Sans MT" panose="020B0502020104020203" pitchFamily="34" charset="0"/>
              </a:rPr>
              <a:t>Role of the gas infrastructure in </a:t>
            </a:r>
            <a:r>
              <a:rPr lang="en-US" sz="2800" b="1" kern="0" dirty="0" err="1">
                <a:solidFill>
                  <a:schemeClr val="bg1"/>
                </a:solidFill>
                <a:latin typeface="Gill Sans MT" panose="020B0502020104020203" pitchFamily="34" charset="0"/>
              </a:rPr>
              <a:t>decarbonising</a:t>
            </a:r>
            <a:r>
              <a:rPr lang="en-US" sz="2800" b="1" kern="0" dirty="0">
                <a:solidFill>
                  <a:schemeClr val="bg1"/>
                </a:solidFill>
                <a:latin typeface="Gill Sans MT" panose="020B0502020104020203" pitchFamily="34" charset="0"/>
              </a:rPr>
              <a:t> energy</a:t>
            </a:r>
          </a:p>
          <a:p>
            <a:pPr marL="0" indent="0">
              <a:buFontTx/>
              <a:buNone/>
            </a:pPr>
            <a:endParaRPr lang="en-US" b="1" kern="0" dirty="0">
              <a:solidFill>
                <a:schemeClr val="bg1"/>
              </a:solidFill>
              <a:latin typeface="Gill Sans MT" panose="020B0502020104020203" pitchFamily="34" charset="0"/>
            </a:endParaRPr>
          </a:p>
          <a:p>
            <a:pPr marL="0" indent="0">
              <a:buFontTx/>
              <a:buNone/>
            </a:pPr>
            <a:r>
              <a:rPr lang="en-US" b="1" kern="0" dirty="0">
                <a:solidFill>
                  <a:schemeClr val="bg1"/>
                </a:solidFill>
                <a:latin typeface="Gill Sans MT" panose="020B0502020104020203" pitchFamily="34" charset="0"/>
              </a:rPr>
              <a:t>C</a:t>
            </a:r>
          </a:p>
        </p:txBody>
      </p:sp>
      <p:graphicFrame>
        <p:nvGraphicFramePr>
          <p:cNvPr id="6" name="Diagram 5">
            <a:extLst>
              <a:ext uri="{FF2B5EF4-FFF2-40B4-BE49-F238E27FC236}">
                <a16:creationId xmlns:a16="http://schemas.microsoft.com/office/drawing/2014/main" id="{4D88F30C-5FD3-4A81-808B-892169FAB288}"/>
              </a:ext>
            </a:extLst>
          </p:cNvPr>
          <p:cNvGraphicFramePr/>
          <p:nvPr>
            <p:extLst/>
          </p:nvPr>
        </p:nvGraphicFramePr>
        <p:xfrm>
          <a:off x="-52637" y="2438400"/>
          <a:ext cx="6148637" cy="38340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A9E63C57-C988-4854-888C-B7AD3C17584D}"/>
              </a:ext>
            </a:extLst>
          </p:cNvPr>
          <p:cNvGraphicFramePr/>
          <p:nvPr>
            <p:extLst/>
          </p:nvPr>
        </p:nvGraphicFramePr>
        <p:xfrm>
          <a:off x="4036279" y="1840041"/>
          <a:ext cx="8842123" cy="393761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TextBox 7">
            <a:extLst>
              <a:ext uri="{FF2B5EF4-FFF2-40B4-BE49-F238E27FC236}">
                <a16:creationId xmlns:a16="http://schemas.microsoft.com/office/drawing/2014/main" id="{9225C98A-E287-4F81-A331-C8EC371BD1B8}"/>
              </a:ext>
            </a:extLst>
          </p:cNvPr>
          <p:cNvSpPr txBox="1"/>
          <p:nvPr/>
        </p:nvSpPr>
        <p:spPr>
          <a:xfrm>
            <a:off x="470042" y="1627346"/>
            <a:ext cx="5381111" cy="461665"/>
          </a:xfrm>
          <a:prstGeom prst="rect">
            <a:avLst/>
          </a:prstGeom>
          <a:noFill/>
        </p:spPr>
        <p:txBody>
          <a:bodyPr wrap="square" rtlCol="0">
            <a:spAutoFit/>
          </a:bodyPr>
          <a:lstStyle/>
          <a:p>
            <a:r>
              <a:rPr lang="en-US" sz="2400" b="1" dirty="0"/>
              <a:t>Essential now …</a:t>
            </a:r>
            <a:endParaRPr lang="en-GB" sz="2400" b="1" dirty="0"/>
          </a:p>
        </p:txBody>
      </p:sp>
      <p:sp>
        <p:nvSpPr>
          <p:cNvPr id="9" name="TextBox 8">
            <a:extLst>
              <a:ext uri="{FF2B5EF4-FFF2-40B4-BE49-F238E27FC236}">
                <a16:creationId xmlns:a16="http://schemas.microsoft.com/office/drawing/2014/main" id="{4AEF1831-E2C0-45D6-B32A-27C2036ADED1}"/>
              </a:ext>
            </a:extLst>
          </p:cNvPr>
          <p:cNvSpPr txBox="1"/>
          <p:nvPr/>
        </p:nvSpPr>
        <p:spPr>
          <a:xfrm>
            <a:off x="6234917" y="1527855"/>
            <a:ext cx="4163722" cy="461665"/>
          </a:xfrm>
          <a:prstGeom prst="rect">
            <a:avLst/>
          </a:prstGeom>
          <a:noFill/>
        </p:spPr>
        <p:txBody>
          <a:bodyPr wrap="square" rtlCol="0">
            <a:spAutoFit/>
          </a:bodyPr>
          <a:lstStyle/>
          <a:p>
            <a:r>
              <a:rPr lang="en-US" sz="2400" b="1" dirty="0"/>
              <a:t>… and beyond 2050</a:t>
            </a:r>
            <a:endParaRPr lang="en-GB" sz="2400" b="1" dirty="0"/>
          </a:p>
        </p:txBody>
      </p:sp>
    </p:spTree>
    <p:extLst>
      <p:ext uri="{BB962C8B-B14F-4D97-AF65-F5344CB8AC3E}">
        <p14:creationId xmlns:p14="http://schemas.microsoft.com/office/powerpoint/2010/main" val="297049095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1"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E4B2D3-C02B-46D4-8DB6-C85E6254C372}"/>
              </a:ext>
            </a:extLst>
          </p:cNvPr>
          <p:cNvSpPr/>
          <p:nvPr/>
        </p:nvSpPr>
        <p:spPr>
          <a:xfrm>
            <a:off x="2392208" y="3747824"/>
            <a:ext cx="2746265" cy="707886"/>
          </a:xfrm>
          <a:prstGeom prst="rect">
            <a:avLst/>
          </a:prstGeom>
        </p:spPr>
        <p:txBody>
          <a:bodyPr wrap="none" anchor="t">
            <a:spAutoFit/>
          </a:bodyPr>
          <a:lstStyle/>
          <a:p>
            <a:r>
              <a:rPr lang="en-US" sz="4000" b="1" dirty="0">
                <a:solidFill>
                  <a:schemeClr val="accent2">
                    <a:lumMod val="75000"/>
                  </a:schemeClr>
                </a:solidFill>
                <a:cs typeface="Arial"/>
              </a:rPr>
              <a:t>Thank you</a:t>
            </a:r>
          </a:p>
        </p:txBody>
      </p:sp>
      <p:pic>
        <p:nvPicPr>
          <p:cNvPr id="3" name="Picture 2">
            <a:extLst>
              <a:ext uri="{FF2B5EF4-FFF2-40B4-BE49-F238E27FC236}">
                <a16:creationId xmlns:a16="http://schemas.microsoft.com/office/drawing/2014/main" id="{BE09EB09-E12F-4921-8AC5-95D927BDBC1A}"/>
              </a:ext>
            </a:extLst>
          </p:cNvPr>
          <p:cNvPicPr>
            <a:picLocks noChangeAspect="1"/>
          </p:cNvPicPr>
          <p:nvPr/>
        </p:nvPicPr>
        <p:blipFill>
          <a:blip r:embed="rId3"/>
          <a:stretch>
            <a:fillRect/>
          </a:stretch>
        </p:blipFill>
        <p:spPr>
          <a:xfrm>
            <a:off x="3957565" y="513656"/>
            <a:ext cx="3874377" cy="1950190"/>
          </a:xfrm>
          <a:prstGeom prst="rect">
            <a:avLst/>
          </a:prstGeom>
        </p:spPr>
      </p:pic>
      <p:pic>
        <p:nvPicPr>
          <p:cNvPr id="5" name="Picture 3" descr="A close up of a box&#10;&#10;Description generated with high confidence">
            <a:extLst>
              <a:ext uri="{FF2B5EF4-FFF2-40B4-BE49-F238E27FC236}">
                <a16:creationId xmlns:a16="http://schemas.microsoft.com/office/drawing/2014/main" id="{705A0948-275C-47CF-A63E-4BB3CDF78294}"/>
              </a:ext>
            </a:extLst>
          </p:cNvPr>
          <p:cNvPicPr>
            <a:picLocks noChangeAspect="1"/>
          </p:cNvPicPr>
          <p:nvPr/>
        </p:nvPicPr>
        <p:blipFill>
          <a:blip r:embed="rId4"/>
          <a:stretch>
            <a:fillRect/>
          </a:stretch>
        </p:blipFill>
        <p:spPr>
          <a:xfrm rot="21356344">
            <a:off x="5955633" y="2402092"/>
            <a:ext cx="6043977" cy="4247231"/>
          </a:xfrm>
          <a:prstGeom prst="rect">
            <a:avLst/>
          </a:prstGeom>
        </p:spPr>
      </p:pic>
      <p:pic>
        <p:nvPicPr>
          <p:cNvPr id="6" name="Picture 13" descr="image002">
            <a:extLst>
              <a:ext uri="{FF2B5EF4-FFF2-40B4-BE49-F238E27FC236}">
                <a16:creationId xmlns:a16="http://schemas.microsoft.com/office/drawing/2014/main" id="{7BFB1C7D-0E6F-4A04-9DBC-EE5D0633946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11223" y="6237826"/>
            <a:ext cx="675700" cy="526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57090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Bildergebnis fÃ¼r unfccc paris target">
            <a:extLst>
              <a:ext uri="{FF2B5EF4-FFF2-40B4-BE49-F238E27FC236}">
                <a16:creationId xmlns:a16="http://schemas.microsoft.com/office/drawing/2014/main" id="{9AD1CBBC-137D-405F-BDA1-1C4B65CA8D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69495" y="1855754"/>
            <a:ext cx="6383959" cy="3644550"/>
          </a:xfrm>
          <a:prstGeom prst="rect">
            <a:avLst/>
          </a:prstGeom>
          <a:noFill/>
        </p:spPr>
      </p:pic>
      <p:sp>
        <p:nvSpPr>
          <p:cNvPr id="14" name="TextBox 1">
            <a:extLst>
              <a:ext uri="{FF2B5EF4-FFF2-40B4-BE49-F238E27FC236}">
                <a16:creationId xmlns:a16="http://schemas.microsoft.com/office/drawing/2014/main" id="{055EFB25-B0CD-401F-B6CF-91FFE7495EBD}"/>
              </a:ext>
            </a:extLst>
          </p:cNvPr>
          <p:cNvSpPr txBox="1"/>
          <p:nvPr/>
        </p:nvSpPr>
        <p:spPr>
          <a:xfrm>
            <a:off x="266049" y="421144"/>
            <a:ext cx="9372450" cy="954107"/>
          </a:xfrm>
          <a:prstGeom prst="rect">
            <a:avLst/>
          </a:prstGeom>
        </p:spPr>
        <p:txBody>
          <a:bodyPr/>
          <a:lstStyle>
            <a:defPPr>
              <a:defRPr lang="en-US"/>
            </a:defPPr>
            <a:lvl1pPr marL="0" indent="0" eaLnBrk="0" hangingPunct="0">
              <a:spcBef>
                <a:spcPct val="20000"/>
              </a:spcBef>
              <a:buNone/>
              <a:defRPr sz="2800" b="1">
                <a:solidFill>
                  <a:schemeClr val="bg1"/>
                </a:solidFill>
                <a:latin typeface="Gill Sans MT" panose="020B0502020104020203" pitchFamily="34" charset="0"/>
              </a:defRPr>
            </a:lvl1pPr>
            <a:lvl2pPr marL="742950" indent="-285750" eaLnBrk="0" hangingPunct="0">
              <a:spcBef>
                <a:spcPct val="20000"/>
              </a:spcBef>
              <a:buChar char="–"/>
              <a:defRPr sz="2800">
                <a:solidFill>
                  <a:schemeClr val="bg2"/>
                </a:solidFill>
                <a:latin typeface="+mn-lt"/>
              </a:defRPr>
            </a:lvl2pPr>
            <a:lvl3pPr marL="1143000" indent="-228600" eaLnBrk="0" hangingPunct="0">
              <a:spcBef>
                <a:spcPct val="20000"/>
              </a:spcBef>
              <a:buChar char="•"/>
              <a:defRPr sz="2400">
                <a:solidFill>
                  <a:schemeClr val="bg2"/>
                </a:solidFill>
                <a:latin typeface="+mn-lt"/>
              </a:defRPr>
            </a:lvl3pPr>
            <a:lvl4pPr marL="1600200" indent="-228600" eaLnBrk="0" hangingPunct="0">
              <a:spcBef>
                <a:spcPct val="20000"/>
              </a:spcBef>
              <a:buChar char="–"/>
              <a:defRPr sz="2000">
                <a:solidFill>
                  <a:schemeClr val="bg2"/>
                </a:solidFill>
                <a:latin typeface="+mn-lt"/>
              </a:defRPr>
            </a:lvl4pPr>
            <a:lvl5pPr marL="2057400" indent="-228600" eaLnBrk="0" hangingPunct="0">
              <a:spcBef>
                <a:spcPct val="20000"/>
              </a:spcBef>
              <a:buChar char="»"/>
              <a:defRPr sz="2000">
                <a:solidFill>
                  <a:schemeClr val="bg2"/>
                </a:solidFill>
                <a:latin typeface="+mn-lt"/>
              </a:defRPr>
            </a:lvl5pPr>
            <a:lvl6pPr marL="2514600" indent="-228600" fontAlgn="base">
              <a:spcBef>
                <a:spcPct val="20000"/>
              </a:spcBef>
              <a:spcAft>
                <a:spcPct val="0"/>
              </a:spcAft>
              <a:buChar char="»"/>
              <a:defRPr sz="2000">
                <a:solidFill>
                  <a:schemeClr val="bg2"/>
                </a:solidFill>
                <a:latin typeface="+mn-lt"/>
              </a:defRPr>
            </a:lvl6pPr>
            <a:lvl7pPr marL="2971800" indent="-228600" fontAlgn="base">
              <a:spcBef>
                <a:spcPct val="20000"/>
              </a:spcBef>
              <a:spcAft>
                <a:spcPct val="0"/>
              </a:spcAft>
              <a:buChar char="»"/>
              <a:defRPr sz="2000">
                <a:solidFill>
                  <a:schemeClr val="bg2"/>
                </a:solidFill>
                <a:latin typeface="+mn-lt"/>
              </a:defRPr>
            </a:lvl7pPr>
            <a:lvl8pPr marL="3429000" indent="-228600" fontAlgn="base">
              <a:spcBef>
                <a:spcPct val="20000"/>
              </a:spcBef>
              <a:spcAft>
                <a:spcPct val="0"/>
              </a:spcAft>
              <a:buChar char="»"/>
              <a:defRPr sz="2000">
                <a:solidFill>
                  <a:schemeClr val="bg2"/>
                </a:solidFill>
                <a:latin typeface="+mn-lt"/>
              </a:defRPr>
            </a:lvl8pPr>
            <a:lvl9pPr marL="3886200" indent="-228600" fontAlgn="base">
              <a:spcBef>
                <a:spcPct val="20000"/>
              </a:spcBef>
              <a:spcAft>
                <a:spcPct val="0"/>
              </a:spcAft>
              <a:buChar char="»"/>
              <a:defRPr sz="2000">
                <a:solidFill>
                  <a:schemeClr val="bg2"/>
                </a:solidFill>
                <a:latin typeface="+mn-lt"/>
              </a:defRPr>
            </a:lvl9pPr>
          </a:lstStyle>
          <a:p>
            <a:r>
              <a:rPr lang="en-US" dirty="0"/>
              <a:t> </a:t>
            </a:r>
            <a:r>
              <a:rPr lang="en-US" sz="3200" dirty="0"/>
              <a:t>Gas</a:t>
            </a:r>
            <a:r>
              <a:rPr lang="en-US" dirty="0"/>
              <a:t> infrastructure is essential to decarbonise energy</a:t>
            </a:r>
            <a:br>
              <a:rPr lang="en-US" dirty="0"/>
            </a:br>
            <a:endParaRPr lang="en-US" dirty="0"/>
          </a:p>
        </p:txBody>
      </p:sp>
      <p:sp>
        <p:nvSpPr>
          <p:cNvPr id="12" name="Rectangle 11">
            <a:extLst>
              <a:ext uri="{FF2B5EF4-FFF2-40B4-BE49-F238E27FC236}">
                <a16:creationId xmlns:a16="http://schemas.microsoft.com/office/drawing/2014/main" id="{962BE0A2-F5E9-4FCC-A0D4-97356C9295C0}"/>
              </a:ext>
            </a:extLst>
          </p:cNvPr>
          <p:cNvSpPr/>
          <p:nvPr/>
        </p:nvSpPr>
        <p:spPr>
          <a:xfrm>
            <a:off x="364762" y="2360983"/>
            <a:ext cx="5304733" cy="3139321"/>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lumMod val="75000"/>
                  </a:srgbClr>
                </a:solidFill>
                <a:effectLst/>
                <a:uLnTx/>
                <a:uFillTx/>
                <a:latin typeface="Arial" panose="020B0604020202020204"/>
                <a:ea typeface="+mn-ea"/>
                <a:cs typeface="Arial"/>
              </a:rPr>
              <a:t>Paris Agreement COP21 - </a:t>
            </a:r>
            <a:r>
              <a:rPr kumimoji="0" lang="en-GB" sz="1800" b="0" i="0" u="none" strike="noStrike" kern="1200" cap="none" spc="0" normalizeH="0" baseline="0" noProof="0" dirty="0">
                <a:ln>
                  <a:noFill/>
                </a:ln>
                <a:solidFill>
                  <a:srgbClr val="4472C4">
                    <a:lumMod val="75000"/>
                  </a:srgbClr>
                </a:solidFill>
                <a:effectLst/>
                <a:uLnTx/>
                <a:uFillTx/>
                <a:latin typeface="Arial" panose="020B0604020202020204"/>
                <a:ea typeface="+mn-ea"/>
                <a:cs typeface="Arial"/>
              </a:rPr>
              <a:t>195 countries agreed to limit global warming to well below 2C </a:t>
            </a:r>
            <a:r>
              <a:rPr kumimoji="0" lang="en-GB" sz="1800" b="0" i="0" u="none" strike="noStrike" kern="1200" cap="none" spc="0" normalizeH="0" baseline="0" noProof="0" dirty="0" err="1">
                <a:ln>
                  <a:noFill/>
                </a:ln>
                <a:solidFill>
                  <a:srgbClr val="4472C4">
                    <a:lumMod val="75000"/>
                  </a:srgbClr>
                </a:solidFill>
                <a:effectLst/>
                <a:uLnTx/>
                <a:uFillTx/>
                <a:latin typeface="Arial" panose="020B0604020202020204"/>
                <a:ea typeface="+mn-ea"/>
                <a:cs typeface="Arial"/>
              </a:rPr>
              <a:t>cf</a:t>
            </a:r>
            <a:r>
              <a:rPr kumimoji="0" lang="en-GB" sz="1800" b="0" i="0" u="none" strike="noStrike" kern="1200" cap="none" spc="0" normalizeH="0" baseline="0" noProof="0" dirty="0">
                <a:ln>
                  <a:noFill/>
                </a:ln>
                <a:solidFill>
                  <a:srgbClr val="4472C4">
                    <a:lumMod val="75000"/>
                  </a:srgbClr>
                </a:solidFill>
                <a:effectLst/>
                <a:uLnTx/>
                <a:uFillTx/>
                <a:latin typeface="Arial" panose="020B0604020202020204"/>
                <a:ea typeface="+mn-ea"/>
                <a:cs typeface="Arial"/>
              </a:rPr>
              <a:t> 1990 temps</a:t>
            </a:r>
            <a:br>
              <a:rPr kumimoji="0" lang="en-GB" sz="1800" b="0" i="0" u="none" strike="noStrike" kern="1200" cap="none" spc="0" normalizeH="0" baseline="0" noProof="0" dirty="0">
                <a:ln>
                  <a:noFill/>
                </a:ln>
                <a:solidFill>
                  <a:srgbClr val="4472C4">
                    <a:lumMod val="75000"/>
                  </a:srgbClr>
                </a:solidFill>
                <a:effectLst/>
                <a:uLnTx/>
                <a:uFillTx/>
                <a:latin typeface="Arial" panose="020B0604020202020204"/>
                <a:ea typeface="+mn-ea"/>
                <a:cs typeface="Arial"/>
              </a:rPr>
            </a:br>
            <a:endParaRPr kumimoji="0" lang="en-US" sz="1800" b="0" i="0" u="none" strike="noStrike" kern="1200" cap="none" spc="0" normalizeH="0" baseline="0" noProof="0" dirty="0">
              <a:ln>
                <a:noFill/>
              </a:ln>
              <a:solidFill>
                <a:srgbClr val="4472C4">
                  <a:lumMod val="75000"/>
                </a:srgbClr>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4472C4">
                    <a:lumMod val="75000"/>
                  </a:srgbClr>
                </a:solidFill>
                <a:effectLst/>
                <a:uLnTx/>
                <a:uFillTx/>
                <a:latin typeface="Arial" panose="020B0604020202020204"/>
                <a:ea typeface="+mn-ea"/>
                <a:cs typeface="Arial"/>
              </a:rPr>
              <a:t>Challenge</a:t>
            </a:r>
            <a:r>
              <a:rPr kumimoji="0" lang="en-AU" sz="1800" b="0" i="0" u="none" strike="noStrike" kern="1200" cap="none" spc="0" normalizeH="0" baseline="0" noProof="0" dirty="0">
                <a:ln>
                  <a:noFill/>
                </a:ln>
                <a:solidFill>
                  <a:srgbClr val="4472C4">
                    <a:lumMod val="75000"/>
                  </a:srgbClr>
                </a:solidFill>
                <a:effectLst/>
                <a:uLnTx/>
                <a:uFillTx/>
                <a:latin typeface="Arial" panose="020B0604020202020204"/>
                <a:ea typeface="+mn-ea"/>
                <a:cs typeface="Arial"/>
              </a:rPr>
              <a:t> - net-zero carbon emissions by 205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4472C4">
                  <a:lumMod val="75000"/>
                </a:srgbClr>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4472C4">
                    <a:lumMod val="75000"/>
                  </a:srgbClr>
                </a:solidFill>
                <a:effectLst/>
                <a:uLnTx/>
                <a:uFillTx/>
                <a:latin typeface="Arial" panose="020B0604020202020204"/>
                <a:ea typeface="+mn-ea"/>
                <a:cs typeface="Arial"/>
              </a:rPr>
              <a:t>Problem</a:t>
            </a:r>
            <a:r>
              <a:rPr kumimoji="0" lang="en-AU" sz="1800" b="0" i="0" u="none" strike="noStrike" kern="1200" cap="none" spc="0" normalizeH="0" baseline="0" noProof="0" dirty="0">
                <a:ln>
                  <a:noFill/>
                </a:ln>
                <a:solidFill>
                  <a:srgbClr val="4472C4">
                    <a:lumMod val="75000"/>
                  </a:srgbClr>
                </a:solidFill>
                <a:effectLst/>
                <a:uLnTx/>
                <a:uFillTx/>
                <a:latin typeface="Arial" panose="020B0604020202020204"/>
                <a:ea typeface="+mn-ea"/>
                <a:cs typeface="Arial"/>
              </a:rPr>
              <a:t> – EU responsible for 10% global GHG emissions and energy responsible for 75% GHG emissions (and demand is grow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4472C4">
                  <a:lumMod val="75000"/>
                </a:srgbClr>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4472C4">
                    <a:lumMod val="75000"/>
                  </a:srgbClr>
                </a:solidFill>
                <a:effectLst/>
                <a:uLnTx/>
                <a:uFillTx/>
                <a:latin typeface="Arial" panose="020B0604020202020204"/>
                <a:ea typeface="+mn-ea"/>
                <a:cs typeface="Arial"/>
              </a:rPr>
              <a:t>Solution</a:t>
            </a:r>
            <a:r>
              <a:rPr kumimoji="0" lang="en-AU" sz="1800" b="0" i="0" u="none" strike="noStrike" kern="1200" cap="none" spc="0" normalizeH="0" baseline="0" noProof="0" dirty="0">
                <a:ln>
                  <a:noFill/>
                </a:ln>
                <a:solidFill>
                  <a:srgbClr val="4472C4">
                    <a:lumMod val="75000"/>
                  </a:srgbClr>
                </a:solidFill>
                <a:effectLst/>
                <a:uLnTx/>
                <a:uFillTx/>
                <a:latin typeface="Arial" panose="020B0604020202020204"/>
                <a:ea typeface="+mn-ea"/>
                <a:cs typeface="Arial"/>
              </a:rPr>
              <a:t> – decarbonised energy (gas and </a:t>
            </a:r>
            <a:r>
              <a:rPr kumimoji="0" lang="en-AU" sz="1800" b="0" i="0" u="none" strike="noStrike" kern="1200" cap="none" spc="0" normalizeH="0" baseline="0" noProof="0" dirty="0" err="1">
                <a:ln>
                  <a:noFill/>
                </a:ln>
                <a:solidFill>
                  <a:srgbClr val="4472C4">
                    <a:lumMod val="75000"/>
                  </a:srgbClr>
                </a:solidFill>
                <a:effectLst/>
                <a:uLnTx/>
                <a:uFillTx/>
                <a:latin typeface="Arial" panose="020B0604020202020204"/>
                <a:ea typeface="+mn-ea"/>
                <a:cs typeface="Arial"/>
              </a:rPr>
              <a:t>elec</a:t>
            </a:r>
            <a:r>
              <a:rPr kumimoji="0" lang="en-AU" sz="1800" b="0" i="0" u="none" strike="noStrike" kern="1200" cap="none" spc="0" normalizeH="0" baseline="0" noProof="0" dirty="0">
                <a:ln>
                  <a:noFill/>
                </a:ln>
                <a:solidFill>
                  <a:srgbClr val="4472C4">
                    <a:lumMod val="75000"/>
                  </a:srgbClr>
                </a:solidFill>
                <a:effectLst/>
                <a:uLnTx/>
                <a:uFillTx/>
                <a:latin typeface="Arial" panose="020B0604020202020204"/>
                <a:ea typeface="+mn-ea"/>
                <a:cs typeface="Arial"/>
              </a:rPr>
              <a:t>)</a:t>
            </a:r>
          </a:p>
        </p:txBody>
      </p:sp>
      <p:sp>
        <p:nvSpPr>
          <p:cNvPr id="10" name="Arrow: Right 9">
            <a:extLst>
              <a:ext uri="{FF2B5EF4-FFF2-40B4-BE49-F238E27FC236}">
                <a16:creationId xmlns:a16="http://schemas.microsoft.com/office/drawing/2014/main" id="{B16E6DB1-2E48-40C7-AD54-2BF2B9E82534}"/>
              </a:ext>
            </a:extLst>
          </p:cNvPr>
          <p:cNvSpPr/>
          <p:nvPr/>
        </p:nvSpPr>
        <p:spPr>
          <a:xfrm>
            <a:off x="0" y="6157385"/>
            <a:ext cx="978408" cy="484632"/>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259A1B1B-CEAF-46D1-AF7A-4D8E3966525B}"/>
              </a:ext>
            </a:extLst>
          </p:cNvPr>
          <p:cNvSpPr/>
          <p:nvPr/>
        </p:nvSpPr>
        <p:spPr>
          <a:xfrm>
            <a:off x="974143" y="6150486"/>
            <a:ext cx="1097568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2400" b="1" dirty="0">
                <a:solidFill>
                  <a:srgbClr val="2F4D99"/>
                </a:solidFill>
                <a:latin typeface="Calibri" panose="020F0502020204030204"/>
                <a:cs typeface="Arial"/>
              </a:rPr>
              <a:t>Affordable d</a:t>
            </a:r>
            <a:r>
              <a:rPr kumimoji="0" lang="en-AU" sz="2400" b="1" i="0" u="none" strike="noStrike" kern="1200" cap="none" spc="0" normalizeH="0" baseline="0" noProof="0" dirty="0" err="1">
                <a:ln>
                  <a:noFill/>
                </a:ln>
                <a:solidFill>
                  <a:srgbClr val="2F4D99"/>
                </a:solidFill>
                <a:effectLst/>
                <a:uLnTx/>
                <a:uFillTx/>
                <a:latin typeface="Calibri" panose="020F0502020204030204"/>
                <a:cs typeface="Arial"/>
              </a:rPr>
              <a:t>ecarbonisation</a:t>
            </a:r>
            <a:r>
              <a:rPr kumimoji="0" lang="en-AU" sz="2400" b="1" i="0" u="none" strike="noStrike" kern="1200" cap="none" spc="0" normalizeH="0" baseline="0" noProof="0" dirty="0">
                <a:ln>
                  <a:noFill/>
                </a:ln>
                <a:solidFill>
                  <a:srgbClr val="2F4D99"/>
                </a:solidFill>
                <a:effectLst/>
                <a:uLnTx/>
                <a:uFillTx/>
                <a:latin typeface="Calibri" panose="020F0502020204030204"/>
                <a:cs typeface="Arial"/>
              </a:rPr>
              <a:t> cannot be achieved without using the gas infrastructure</a:t>
            </a:r>
          </a:p>
        </p:txBody>
      </p:sp>
    </p:spTree>
    <p:extLst>
      <p:ext uri="{BB962C8B-B14F-4D97-AF65-F5344CB8AC3E}">
        <p14:creationId xmlns:p14="http://schemas.microsoft.com/office/powerpoint/2010/main" val="424855750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3">
            <a:extLst>
              <a:ext uri="{FF2B5EF4-FFF2-40B4-BE49-F238E27FC236}">
                <a16:creationId xmlns:a16="http://schemas.microsoft.com/office/drawing/2014/main" id="{77C9862A-B955-4610-A9A8-A169B111C671}"/>
              </a:ext>
            </a:extLst>
          </p:cNvPr>
          <p:cNvSpPr txBox="1">
            <a:spLocks/>
          </p:cNvSpPr>
          <p:nvPr/>
        </p:nvSpPr>
        <p:spPr>
          <a:xfrm>
            <a:off x="399984" y="421820"/>
            <a:ext cx="9611524" cy="598088"/>
          </a:xfrm>
          <a:prstGeom prst="rect">
            <a:avLst/>
          </a:prstGeom>
        </p:spPr>
        <p:txBody>
          <a:bodyPr/>
          <a:lstStyle>
            <a:lvl1pPr marL="342900" indent="-342900" algn="l" rtl="0" eaLnBrk="0" fontAlgn="base" hangingPunct="0">
              <a:spcBef>
                <a:spcPct val="20000"/>
              </a:spcBef>
              <a:spcAft>
                <a:spcPct val="0"/>
              </a:spcAft>
              <a:buChar char="•"/>
              <a:defRPr sz="3200">
                <a:solidFill>
                  <a:schemeClr val="bg2"/>
                </a:solidFill>
                <a:latin typeface="+mn-lt"/>
                <a:ea typeface="+mn-ea"/>
                <a:cs typeface="+mn-cs"/>
              </a:defRPr>
            </a:lvl1pPr>
            <a:lvl2pPr marL="742950" indent="-285750" algn="l" rtl="0" eaLnBrk="0" fontAlgn="base" hangingPunct="0">
              <a:spcBef>
                <a:spcPct val="20000"/>
              </a:spcBef>
              <a:spcAft>
                <a:spcPct val="0"/>
              </a:spcAft>
              <a:buChar char="–"/>
              <a:defRPr sz="2800">
                <a:solidFill>
                  <a:schemeClr val="bg2"/>
                </a:solidFill>
                <a:latin typeface="+mn-lt"/>
              </a:defRPr>
            </a:lvl2pPr>
            <a:lvl3pPr marL="1143000" indent="-228600" algn="l" rtl="0" eaLnBrk="0" fontAlgn="base" hangingPunct="0">
              <a:spcBef>
                <a:spcPct val="20000"/>
              </a:spcBef>
              <a:spcAft>
                <a:spcPct val="0"/>
              </a:spcAft>
              <a:buChar char="•"/>
              <a:defRPr sz="2400">
                <a:solidFill>
                  <a:schemeClr val="bg2"/>
                </a:solidFill>
                <a:latin typeface="+mn-lt"/>
              </a:defRPr>
            </a:lvl3pPr>
            <a:lvl4pPr marL="1600200" indent="-228600" algn="l" rtl="0" eaLnBrk="0" fontAlgn="base" hangingPunct="0">
              <a:spcBef>
                <a:spcPct val="20000"/>
              </a:spcBef>
              <a:spcAft>
                <a:spcPct val="0"/>
              </a:spcAft>
              <a:buChar char="–"/>
              <a:defRPr sz="2000">
                <a:solidFill>
                  <a:schemeClr val="bg2"/>
                </a:solidFill>
                <a:latin typeface="+mn-lt"/>
              </a:defRPr>
            </a:lvl4pPr>
            <a:lvl5pPr marL="2057400" indent="-228600" algn="l" rtl="0" eaLnBrk="0" fontAlgn="base" hangingPunct="0">
              <a:spcBef>
                <a:spcPct val="20000"/>
              </a:spcBef>
              <a:spcAft>
                <a:spcPct val="0"/>
              </a:spcAft>
              <a:buChar char="»"/>
              <a:defRPr sz="2000">
                <a:solidFill>
                  <a:schemeClr val="bg2"/>
                </a:solidFill>
                <a:latin typeface="+mn-lt"/>
              </a:defRPr>
            </a:lvl5pPr>
            <a:lvl6pPr marL="2514600" indent="-228600" algn="l" rtl="0" fontAlgn="base">
              <a:spcBef>
                <a:spcPct val="20000"/>
              </a:spcBef>
              <a:spcAft>
                <a:spcPct val="0"/>
              </a:spcAft>
              <a:buChar char="»"/>
              <a:defRPr sz="2000">
                <a:solidFill>
                  <a:schemeClr val="bg2"/>
                </a:solidFill>
                <a:latin typeface="+mn-lt"/>
              </a:defRPr>
            </a:lvl6pPr>
            <a:lvl7pPr marL="2971800" indent="-228600" algn="l" rtl="0" fontAlgn="base">
              <a:spcBef>
                <a:spcPct val="20000"/>
              </a:spcBef>
              <a:spcAft>
                <a:spcPct val="0"/>
              </a:spcAft>
              <a:buChar char="»"/>
              <a:defRPr sz="2000">
                <a:solidFill>
                  <a:schemeClr val="bg2"/>
                </a:solidFill>
                <a:latin typeface="+mn-lt"/>
              </a:defRPr>
            </a:lvl7pPr>
            <a:lvl8pPr marL="3429000" indent="-228600" algn="l" rtl="0" fontAlgn="base">
              <a:spcBef>
                <a:spcPct val="20000"/>
              </a:spcBef>
              <a:spcAft>
                <a:spcPct val="0"/>
              </a:spcAft>
              <a:buChar char="»"/>
              <a:defRPr sz="2000">
                <a:solidFill>
                  <a:schemeClr val="bg2"/>
                </a:solidFill>
                <a:latin typeface="+mn-lt"/>
              </a:defRPr>
            </a:lvl8pPr>
            <a:lvl9pPr marL="3886200" indent="-228600" algn="l" rtl="0" fontAlgn="base">
              <a:spcBef>
                <a:spcPct val="20000"/>
              </a:spcBef>
              <a:spcAft>
                <a:spcPct val="0"/>
              </a:spcAft>
              <a:buChar char="»"/>
              <a:defRPr sz="2000">
                <a:solidFill>
                  <a:schemeClr val="bg2"/>
                </a:solidFill>
                <a:latin typeface="+mn-lt"/>
              </a:defRPr>
            </a:lvl9pPr>
          </a:lstStyle>
          <a:p>
            <a:pPr marL="0" indent="0">
              <a:buFontTx/>
              <a:buNone/>
            </a:pPr>
            <a:r>
              <a:rPr lang="en-GB" b="1" kern="0" dirty="0">
                <a:solidFill>
                  <a:schemeClr val="bg1"/>
                </a:solidFill>
                <a:latin typeface="Gill Sans MT" panose="020B0502020104020203" pitchFamily="34" charset="0"/>
              </a:rPr>
              <a:t>Update on EU methane emissions study</a:t>
            </a:r>
            <a:endParaRPr lang="en-US" b="1" kern="0" dirty="0">
              <a:solidFill>
                <a:schemeClr val="bg1"/>
              </a:solidFill>
              <a:latin typeface="Gill Sans MT" panose="020B0502020104020203" pitchFamily="34" charset="0"/>
            </a:endParaRPr>
          </a:p>
        </p:txBody>
      </p:sp>
      <p:pic>
        <p:nvPicPr>
          <p:cNvPr id="3" name="Imagen 2"/>
          <p:cNvPicPr/>
          <p:nvPr/>
        </p:nvPicPr>
        <p:blipFill rotWithShape="1">
          <a:blip r:embed="rId3" cstate="print">
            <a:extLst>
              <a:ext uri="{28A0092B-C50C-407E-A947-70E740481C1C}">
                <a14:useLocalDpi xmlns:a14="http://schemas.microsoft.com/office/drawing/2010/main" val="0"/>
              </a:ext>
            </a:extLst>
          </a:blip>
          <a:srcRect l="11024" t="3766" r="15150" b="22789"/>
          <a:stretch/>
        </p:blipFill>
        <p:spPr bwMode="auto">
          <a:xfrm>
            <a:off x="216777" y="3178571"/>
            <a:ext cx="3791008" cy="2697944"/>
          </a:xfrm>
          <a:prstGeom prst="rect">
            <a:avLst/>
          </a:prstGeom>
          <a:noFill/>
          <a:ln>
            <a:noFill/>
          </a:ln>
          <a:extLst>
            <a:ext uri="{53640926-AAD7-44D8-BBD7-CCE9431645EC}">
              <a14:shadowObscured xmlns:a14="http://schemas.microsoft.com/office/drawing/2010/main"/>
            </a:ext>
          </a:extLst>
        </p:spPr>
      </p:pic>
      <p:sp>
        <p:nvSpPr>
          <p:cNvPr id="4" name="Rectángulo 3"/>
          <p:cNvSpPr/>
          <p:nvPr/>
        </p:nvSpPr>
        <p:spPr>
          <a:xfrm>
            <a:off x="192278" y="1908988"/>
            <a:ext cx="3444430" cy="830997"/>
          </a:xfrm>
          <a:prstGeom prst="rect">
            <a:avLst/>
          </a:prstGeom>
        </p:spPr>
        <p:txBody>
          <a:bodyPr wrap="square">
            <a:spAutoFit/>
          </a:bodyPr>
          <a:lstStyle/>
          <a:p>
            <a:pPr algn="ctr"/>
            <a:r>
              <a:rPr lang="en-GB" sz="2400" b="1" dirty="0">
                <a:solidFill>
                  <a:srgbClr val="0070C0"/>
                </a:solidFill>
                <a:latin typeface="Calibri" panose="020F0502020204030204" pitchFamily="34" charset="0"/>
                <a:ea typeface="Calibri" panose="020F0502020204030204" pitchFamily="34" charset="0"/>
                <a:cs typeface="Arial" panose="020B0604020202020204" pitchFamily="34" charset="0"/>
              </a:rPr>
              <a:t>Total EU GHG emissions (in CO</a:t>
            </a:r>
            <a:r>
              <a:rPr lang="en-GB" sz="2400" b="1" baseline="-25000" dirty="0">
                <a:solidFill>
                  <a:srgbClr val="0070C0"/>
                </a:solidFill>
                <a:latin typeface="Calibri" panose="020F0502020204030204" pitchFamily="34" charset="0"/>
                <a:ea typeface="Calibri" panose="020F0502020204030204" pitchFamily="34" charset="0"/>
                <a:cs typeface="Arial" panose="020B0604020202020204" pitchFamily="34" charset="0"/>
              </a:rPr>
              <a:t>2-eq</a:t>
            </a:r>
            <a:r>
              <a:rPr lang="en-GB" sz="2400" b="1" dirty="0">
                <a:solidFill>
                  <a:srgbClr val="0070C0"/>
                </a:solidFill>
                <a:latin typeface="Calibri" panose="020F0502020204030204" pitchFamily="34" charset="0"/>
                <a:ea typeface="Calibri" panose="020F0502020204030204" pitchFamily="34" charset="0"/>
                <a:cs typeface="Arial" panose="020B0604020202020204" pitchFamily="34" charset="0"/>
              </a:rPr>
              <a:t>)</a:t>
            </a:r>
            <a:endParaRPr lang="es-ES" sz="2400" b="1" dirty="0">
              <a:solidFill>
                <a:srgbClr val="0070C0"/>
              </a:solidFill>
            </a:endParaRPr>
          </a:p>
        </p:txBody>
      </p:sp>
      <p:sp>
        <p:nvSpPr>
          <p:cNvPr id="11" name="Rectángulo 10"/>
          <p:cNvSpPr/>
          <p:nvPr/>
        </p:nvSpPr>
        <p:spPr>
          <a:xfrm>
            <a:off x="1611175" y="6350107"/>
            <a:ext cx="9133025" cy="584775"/>
          </a:xfrm>
          <a:prstGeom prst="rect">
            <a:avLst/>
          </a:prstGeom>
        </p:spPr>
        <p:txBody>
          <a:bodyPr wrap="square">
            <a:spAutoFit/>
          </a:bodyPr>
          <a:lstStyle/>
          <a:p>
            <a:pPr algn="ctr"/>
            <a:r>
              <a:rPr lang="en-GB" sz="1600" b="1" dirty="0">
                <a:solidFill>
                  <a:schemeClr val="bg2">
                    <a:lumMod val="50000"/>
                  </a:schemeClr>
                </a:solidFill>
                <a:latin typeface="Calibri" panose="020F0502020204030204" pitchFamily="34" charset="0"/>
                <a:ea typeface="Calibri" panose="020F0502020204030204" pitchFamily="34" charset="0"/>
                <a:cs typeface="Arial" panose="020B0604020202020204" pitchFamily="34" charset="0"/>
              </a:rPr>
              <a:t>Source: </a:t>
            </a:r>
            <a:r>
              <a:rPr lang="en-US" sz="1600" dirty="0">
                <a:solidFill>
                  <a:schemeClr val="bg2">
                    <a:lumMod val="50000"/>
                  </a:schemeClr>
                </a:solidFill>
                <a:latin typeface="Calibri" panose="020F0502020204030204" pitchFamily="34" charset="0"/>
                <a:ea typeface="Calibri" panose="020F0502020204030204" pitchFamily="34" charset="0"/>
                <a:cs typeface="Arial" panose="020B0604020202020204" pitchFamily="34" charset="0"/>
              </a:rPr>
              <a:t>Elaborated by the authors based on European </a:t>
            </a:r>
            <a:r>
              <a:rPr lang="en-US" sz="1600" dirty="0" err="1">
                <a:solidFill>
                  <a:schemeClr val="bg2">
                    <a:lumMod val="50000"/>
                  </a:schemeClr>
                </a:solidFill>
                <a:latin typeface="Calibri" panose="020F0502020204030204" pitchFamily="34" charset="0"/>
                <a:ea typeface="Calibri" panose="020F0502020204030204" pitchFamily="34" charset="0"/>
                <a:cs typeface="Arial" panose="020B0604020202020204" pitchFamily="34" charset="0"/>
              </a:rPr>
              <a:t>European</a:t>
            </a:r>
            <a:r>
              <a:rPr lang="en-US" sz="1600" dirty="0">
                <a:solidFill>
                  <a:schemeClr val="bg2">
                    <a:lumMod val="50000"/>
                  </a:schemeClr>
                </a:solidFill>
                <a:latin typeface="Calibri" panose="020F0502020204030204" pitchFamily="34" charset="0"/>
                <a:ea typeface="Calibri" panose="020F0502020204030204" pitchFamily="34" charset="0"/>
                <a:cs typeface="Arial" panose="020B0604020202020204" pitchFamily="34" charset="0"/>
              </a:rPr>
              <a:t> Environment Agency GHG report and 2016 data </a:t>
            </a:r>
            <a:endParaRPr lang="es-ES" sz="1600" dirty="0">
              <a:solidFill>
                <a:schemeClr val="bg2">
                  <a:lumMod val="50000"/>
                </a:schemeClr>
              </a:solidFill>
            </a:endParaRPr>
          </a:p>
        </p:txBody>
      </p:sp>
      <p:sp>
        <p:nvSpPr>
          <p:cNvPr id="9" name="Rectángulo 8"/>
          <p:cNvSpPr/>
          <p:nvPr/>
        </p:nvSpPr>
        <p:spPr>
          <a:xfrm>
            <a:off x="3236658" y="1911860"/>
            <a:ext cx="4725928" cy="461665"/>
          </a:xfrm>
          <a:prstGeom prst="rect">
            <a:avLst/>
          </a:prstGeom>
        </p:spPr>
        <p:txBody>
          <a:bodyPr wrap="square">
            <a:spAutoFit/>
          </a:bodyPr>
          <a:lstStyle/>
          <a:p>
            <a:pPr algn="ctr"/>
            <a:r>
              <a:rPr lang="en-GB" sz="2400" b="1" dirty="0">
                <a:solidFill>
                  <a:srgbClr val="0070C0"/>
                </a:solidFill>
                <a:latin typeface="Calibri" panose="020F0502020204030204" pitchFamily="34" charset="0"/>
                <a:cs typeface="Calibri" panose="020F0502020204030204" pitchFamily="34" charset="0"/>
              </a:rPr>
              <a:t>CH</a:t>
            </a:r>
            <a:r>
              <a:rPr lang="en-GB" sz="2400" b="1" baseline="-25000" dirty="0">
                <a:solidFill>
                  <a:srgbClr val="0070C0"/>
                </a:solidFill>
                <a:latin typeface="Calibri" panose="020F0502020204030204" pitchFamily="34" charset="0"/>
                <a:cs typeface="Calibri" panose="020F0502020204030204" pitchFamily="34" charset="0"/>
              </a:rPr>
              <a:t>4</a:t>
            </a:r>
            <a:r>
              <a:rPr lang="en-GB" sz="2400" b="1" dirty="0">
                <a:solidFill>
                  <a:srgbClr val="0070C0"/>
                </a:solidFill>
                <a:latin typeface="Calibri" panose="020F0502020204030204" pitchFamily="34" charset="0"/>
                <a:cs typeface="Calibri" panose="020F0502020204030204" pitchFamily="34" charset="0"/>
              </a:rPr>
              <a:t> emissions per source</a:t>
            </a:r>
            <a:endParaRPr lang="es-ES" sz="2400" b="1" dirty="0">
              <a:solidFill>
                <a:srgbClr val="0070C0"/>
              </a:solidFill>
              <a:latin typeface="Calibri" panose="020F0502020204030204" pitchFamily="34" charset="0"/>
              <a:cs typeface="Calibri" panose="020F0502020204030204" pitchFamily="34" charset="0"/>
            </a:endParaRPr>
          </a:p>
        </p:txBody>
      </p:sp>
      <p:pic>
        <p:nvPicPr>
          <p:cNvPr id="10" name="Imagen 9"/>
          <p:cNvPicPr/>
          <p:nvPr/>
        </p:nvPicPr>
        <p:blipFill>
          <a:blip r:embed="rId4"/>
          <a:stretch>
            <a:fillRect/>
          </a:stretch>
        </p:blipFill>
        <p:spPr>
          <a:xfrm>
            <a:off x="4200496" y="2847807"/>
            <a:ext cx="3791008" cy="2862821"/>
          </a:xfrm>
          <a:prstGeom prst="rect">
            <a:avLst/>
          </a:prstGeom>
        </p:spPr>
      </p:pic>
      <p:pic>
        <p:nvPicPr>
          <p:cNvPr id="12" name="Picture 11">
            <a:extLst>
              <a:ext uri="{FF2B5EF4-FFF2-40B4-BE49-F238E27FC236}">
                <a16:creationId xmlns:a16="http://schemas.microsoft.com/office/drawing/2014/main" id="{E2741906-9D6A-449D-AC51-256064A6E383}"/>
              </a:ext>
            </a:extLst>
          </p:cNvPr>
          <p:cNvPicPr>
            <a:picLocks noChangeAspect="1"/>
          </p:cNvPicPr>
          <p:nvPr/>
        </p:nvPicPr>
        <p:blipFill>
          <a:blip r:embed="rId5"/>
          <a:stretch>
            <a:fillRect/>
          </a:stretch>
        </p:blipFill>
        <p:spPr>
          <a:xfrm rot="169129">
            <a:off x="8654859" y="1701509"/>
            <a:ext cx="2964495" cy="4122108"/>
          </a:xfrm>
          <a:prstGeom prst="rect">
            <a:avLst/>
          </a:prstGeom>
          <a:ln>
            <a:solidFill>
              <a:schemeClr val="bg1">
                <a:lumMod val="75000"/>
              </a:schemeClr>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8320996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1">
            <a:extLst>
              <a:ext uri="{FF2B5EF4-FFF2-40B4-BE49-F238E27FC236}">
                <a16:creationId xmlns:a16="http://schemas.microsoft.com/office/drawing/2014/main" id="{93864A4A-D267-4146-BAB0-D1C4BDEABD11}"/>
              </a:ext>
            </a:extLst>
          </p:cNvPr>
          <p:cNvSpPr txBox="1"/>
          <p:nvPr/>
        </p:nvSpPr>
        <p:spPr>
          <a:xfrm>
            <a:off x="255889" y="369197"/>
            <a:ext cx="9372450" cy="1077218"/>
          </a:xfrm>
          <a:prstGeom prst="rect">
            <a:avLst/>
          </a:prstGeom>
        </p:spPr>
        <p:txBody>
          <a:bodyPr/>
          <a:lstStyle>
            <a:defPPr>
              <a:defRPr lang="en-US"/>
            </a:defPPr>
            <a:lvl1pPr marL="0" indent="0" eaLnBrk="0" hangingPunct="0">
              <a:spcBef>
                <a:spcPct val="20000"/>
              </a:spcBef>
              <a:buNone/>
              <a:defRPr sz="3200" b="1">
                <a:solidFill>
                  <a:schemeClr val="bg1"/>
                </a:solidFill>
                <a:latin typeface="Gill Sans MT" panose="020B0502020104020203" pitchFamily="34" charset="0"/>
              </a:defRPr>
            </a:lvl1pPr>
            <a:lvl2pPr marL="742950" indent="-285750" eaLnBrk="0" hangingPunct="0">
              <a:spcBef>
                <a:spcPct val="20000"/>
              </a:spcBef>
              <a:buChar char="–"/>
              <a:defRPr sz="2800">
                <a:solidFill>
                  <a:schemeClr val="bg2"/>
                </a:solidFill>
                <a:latin typeface="+mn-lt"/>
              </a:defRPr>
            </a:lvl2pPr>
            <a:lvl3pPr marL="1143000" indent="-228600" eaLnBrk="0" hangingPunct="0">
              <a:spcBef>
                <a:spcPct val="20000"/>
              </a:spcBef>
              <a:buChar char="•"/>
              <a:defRPr sz="2400">
                <a:solidFill>
                  <a:schemeClr val="bg2"/>
                </a:solidFill>
                <a:latin typeface="+mn-lt"/>
              </a:defRPr>
            </a:lvl3pPr>
            <a:lvl4pPr marL="1600200" indent="-228600" eaLnBrk="0" hangingPunct="0">
              <a:spcBef>
                <a:spcPct val="20000"/>
              </a:spcBef>
              <a:buChar char="–"/>
              <a:defRPr sz="2000">
                <a:solidFill>
                  <a:schemeClr val="bg2"/>
                </a:solidFill>
                <a:latin typeface="+mn-lt"/>
              </a:defRPr>
            </a:lvl4pPr>
            <a:lvl5pPr marL="2057400" indent="-228600" eaLnBrk="0" hangingPunct="0">
              <a:spcBef>
                <a:spcPct val="20000"/>
              </a:spcBef>
              <a:buChar char="»"/>
              <a:defRPr sz="2000">
                <a:solidFill>
                  <a:schemeClr val="bg2"/>
                </a:solidFill>
                <a:latin typeface="+mn-lt"/>
              </a:defRPr>
            </a:lvl5pPr>
            <a:lvl6pPr marL="2514600" indent="-228600" fontAlgn="base">
              <a:spcBef>
                <a:spcPct val="20000"/>
              </a:spcBef>
              <a:spcAft>
                <a:spcPct val="0"/>
              </a:spcAft>
              <a:buChar char="»"/>
              <a:defRPr sz="2000">
                <a:solidFill>
                  <a:schemeClr val="bg2"/>
                </a:solidFill>
                <a:latin typeface="+mn-lt"/>
              </a:defRPr>
            </a:lvl6pPr>
            <a:lvl7pPr marL="2971800" indent="-228600" fontAlgn="base">
              <a:spcBef>
                <a:spcPct val="20000"/>
              </a:spcBef>
              <a:spcAft>
                <a:spcPct val="0"/>
              </a:spcAft>
              <a:buChar char="»"/>
              <a:defRPr sz="2000">
                <a:solidFill>
                  <a:schemeClr val="bg2"/>
                </a:solidFill>
                <a:latin typeface="+mn-lt"/>
              </a:defRPr>
            </a:lvl7pPr>
            <a:lvl8pPr marL="3429000" indent="-228600" fontAlgn="base">
              <a:spcBef>
                <a:spcPct val="20000"/>
              </a:spcBef>
              <a:spcAft>
                <a:spcPct val="0"/>
              </a:spcAft>
              <a:buChar char="»"/>
              <a:defRPr sz="2000">
                <a:solidFill>
                  <a:schemeClr val="bg2"/>
                </a:solidFill>
                <a:latin typeface="+mn-lt"/>
              </a:defRPr>
            </a:lvl8pPr>
            <a:lvl9pPr marL="3886200" indent="-228600" fontAlgn="base">
              <a:spcBef>
                <a:spcPct val="20000"/>
              </a:spcBef>
              <a:spcAft>
                <a:spcPct val="0"/>
              </a:spcAft>
              <a:buChar char="»"/>
              <a:defRPr sz="2000">
                <a:solidFill>
                  <a:schemeClr val="bg2"/>
                </a:solidFill>
                <a:latin typeface="+mn-lt"/>
              </a:defRPr>
            </a:lvl9pPr>
          </a:lstStyle>
          <a:p>
            <a:r>
              <a:rPr lang="en-US" sz="2800" dirty="0"/>
              <a:t> GIE – the Voice for Gas Infrastructure in Europe </a:t>
            </a:r>
            <a:br>
              <a:rPr lang="en-US" sz="2800" dirty="0"/>
            </a:br>
            <a:endParaRPr lang="en-US" sz="2800" dirty="0"/>
          </a:p>
        </p:txBody>
      </p:sp>
      <p:pic>
        <p:nvPicPr>
          <p:cNvPr id="7" name="Picture 10">
            <a:extLst>
              <a:ext uri="{FF2B5EF4-FFF2-40B4-BE49-F238E27FC236}">
                <a16:creationId xmlns:a16="http://schemas.microsoft.com/office/drawing/2014/main" id="{F31C9076-82B6-41A3-8A04-C93F70C8D9F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800" t="7686" r="3254"/>
          <a:stretch/>
        </p:blipFill>
        <p:spPr bwMode="auto">
          <a:xfrm>
            <a:off x="6095999" y="1934597"/>
            <a:ext cx="5640407" cy="4327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Rounded Corners 8">
            <a:extLst>
              <a:ext uri="{FF2B5EF4-FFF2-40B4-BE49-F238E27FC236}">
                <a16:creationId xmlns:a16="http://schemas.microsoft.com/office/drawing/2014/main" id="{EAB30DA8-CCAF-4C99-B361-60B124C5236B}"/>
              </a:ext>
            </a:extLst>
          </p:cNvPr>
          <p:cNvSpPr/>
          <p:nvPr/>
        </p:nvSpPr>
        <p:spPr>
          <a:xfrm>
            <a:off x="455593" y="1619784"/>
            <a:ext cx="5190463" cy="4987663"/>
          </a:xfrm>
          <a:prstGeom prst="roundRect">
            <a:avLst/>
          </a:prstGeom>
          <a:solidFill>
            <a:srgbClr val="CADDE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algn="just" defTabSz="685800">
              <a:spcAft>
                <a:spcPts val="750"/>
              </a:spcAft>
              <a:defRPr/>
            </a:pPr>
            <a:r>
              <a:rPr lang="en-US" b="1" dirty="0">
                <a:solidFill>
                  <a:srgbClr val="0070C0"/>
                </a:solidFill>
                <a:latin typeface="Calibri" panose="020F0502020204030204"/>
              </a:rPr>
              <a:t>GIE</a:t>
            </a:r>
            <a:r>
              <a:rPr lang="en-US" altLang="en-US" b="1" kern="0" dirty="0">
                <a:solidFill>
                  <a:prstClr val="black"/>
                </a:solidFill>
                <a:latin typeface="Calibri" panose="020F0502020204030204"/>
                <a:cs typeface="Arial"/>
              </a:rPr>
              <a:t> </a:t>
            </a:r>
            <a:r>
              <a:rPr lang="en-US" altLang="en-US" kern="0" dirty="0">
                <a:solidFill>
                  <a:prstClr val="black"/>
                </a:solidFill>
                <a:latin typeface="Calibri" panose="020F0502020204030204"/>
                <a:cs typeface="Arial"/>
              </a:rPr>
              <a:t>is the European representative association for 70 members in 26 </a:t>
            </a:r>
            <a:r>
              <a:rPr lang="en-US" altLang="en-US" kern="0" dirty="0">
                <a:solidFill>
                  <a:prstClr val="black"/>
                </a:solidFill>
                <a:cs typeface="Arial"/>
              </a:rPr>
              <a:t>EU Member States.</a:t>
            </a:r>
            <a:r>
              <a:rPr lang="en-US" altLang="en-US" kern="0" dirty="0">
                <a:solidFill>
                  <a:prstClr val="black"/>
                </a:solidFill>
                <a:latin typeface="Calibri" panose="020F0502020204030204"/>
                <a:cs typeface="Arial"/>
              </a:rPr>
              <a:t> Established in 2005.</a:t>
            </a:r>
          </a:p>
          <a:p>
            <a:pPr marL="133350" algn="just" defTabSz="685800">
              <a:spcAft>
                <a:spcPts val="750"/>
              </a:spcAft>
              <a:defRPr/>
            </a:pPr>
            <a:r>
              <a:rPr lang="en-US" b="1" dirty="0">
                <a:solidFill>
                  <a:srgbClr val="0070C0"/>
                </a:solidFill>
                <a:latin typeface="Calibri" panose="020F0502020204030204"/>
              </a:rPr>
              <a:t>GIE</a:t>
            </a:r>
            <a:r>
              <a:rPr lang="en-US" altLang="en-US" b="1" kern="0" dirty="0">
                <a:solidFill>
                  <a:prstClr val="black"/>
                </a:solidFill>
                <a:latin typeface="Calibri" panose="020F0502020204030204"/>
                <a:cs typeface="Arial"/>
              </a:rPr>
              <a:t> </a:t>
            </a:r>
            <a:r>
              <a:rPr lang="en-US" altLang="en-US" kern="0" dirty="0">
                <a:solidFill>
                  <a:prstClr val="black"/>
                </a:solidFill>
                <a:latin typeface="Calibri" panose="020F0502020204030204"/>
                <a:cs typeface="Arial"/>
              </a:rPr>
              <a:t>represents the sole interest of the infrastructure industry in the</a:t>
            </a:r>
            <a:r>
              <a:rPr lang="en-US" altLang="en-US" kern="0" dirty="0">
                <a:solidFill>
                  <a:srgbClr val="FF0000"/>
                </a:solidFill>
                <a:latin typeface="Calibri" panose="020F0502020204030204"/>
                <a:cs typeface="Arial"/>
              </a:rPr>
              <a:t> </a:t>
            </a:r>
            <a:r>
              <a:rPr lang="en-US" altLang="en-US" kern="0" dirty="0">
                <a:solidFill>
                  <a:prstClr val="black"/>
                </a:solidFill>
                <a:latin typeface="Calibri" panose="020F0502020204030204"/>
                <a:cs typeface="Arial"/>
              </a:rPr>
              <a:t>gas business under three columns: </a:t>
            </a:r>
          </a:p>
          <a:p>
            <a:pPr marL="133350" algn="just" defTabSz="685800">
              <a:defRPr/>
            </a:pPr>
            <a:r>
              <a:rPr lang="en-US" altLang="en-US" kern="0" dirty="0">
                <a:solidFill>
                  <a:prstClr val="black"/>
                </a:solidFill>
                <a:latin typeface="Calibri" panose="020F0502020204030204"/>
                <a:cs typeface="Arial"/>
              </a:rPr>
              <a:t>	      Transmission (TSO)</a:t>
            </a:r>
          </a:p>
          <a:p>
            <a:pPr marL="390525" indent="-257175" algn="just" defTabSz="685800">
              <a:buFont typeface="Arial" panose="020B0604020202020204" pitchFamily="34" charset="0"/>
              <a:buChar char="•"/>
              <a:defRPr/>
            </a:pPr>
            <a:endParaRPr lang="en-US" altLang="en-US" kern="0" dirty="0">
              <a:solidFill>
                <a:prstClr val="black"/>
              </a:solidFill>
              <a:latin typeface="Calibri" panose="020F0502020204030204"/>
              <a:cs typeface="Arial"/>
            </a:endParaRPr>
          </a:p>
          <a:p>
            <a:pPr marL="133350" algn="just" defTabSz="685800">
              <a:defRPr/>
            </a:pPr>
            <a:r>
              <a:rPr lang="en-US" altLang="en-US" kern="0" dirty="0">
                <a:solidFill>
                  <a:prstClr val="black"/>
                </a:solidFill>
                <a:latin typeface="Calibri" panose="020F0502020204030204"/>
                <a:cs typeface="Arial"/>
              </a:rPr>
              <a:t>	      Storage (SSO)</a:t>
            </a:r>
          </a:p>
          <a:p>
            <a:pPr marL="390525" indent="-257175" algn="just" defTabSz="685800">
              <a:buFont typeface="Arial" panose="020B0604020202020204" pitchFamily="34" charset="0"/>
              <a:buChar char="•"/>
              <a:defRPr/>
            </a:pPr>
            <a:endParaRPr lang="en-US" altLang="en-US" kern="0" dirty="0">
              <a:solidFill>
                <a:prstClr val="black"/>
              </a:solidFill>
              <a:latin typeface="Calibri" panose="020F0502020204030204"/>
              <a:cs typeface="Arial"/>
            </a:endParaRPr>
          </a:p>
          <a:p>
            <a:pPr marL="133350" algn="just" defTabSz="685800">
              <a:defRPr/>
            </a:pPr>
            <a:r>
              <a:rPr lang="en-US" altLang="en-US" kern="0" dirty="0">
                <a:solidFill>
                  <a:prstClr val="black"/>
                </a:solidFill>
                <a:latin typeface="Calibri" panose="020F0502020204030204"/>
                <a:cs typeface="Arial"/>
              </a:rPr>
              <a:t> 	      LNG (LSO)</a:t>
            </a:r>
          </a:p>
          <a:p>
            <a:pPr marL="390525" indent="-257175" algn="just" defTabSz="685800">
              <a:buFont typeface="Arial" panose="020B0604020202020204" pitchFamily="34" charset="0"/>
              <a:buChar char="•"/>
              <a:defRPr/>
            </a:pPr>
            <a:endParaRPr lang="en-US" altLang="en-US" kern="0" dirty="0">
              <a:solidFill>
                <a:prstClr val="black"/>
              </a:solidFill>
              <a:latin typeface="Calibri" panose="020F0502020204030204"/>
              <a:cs typeface="Arial"/>
            </a:endParaRPr>
          </a:p>
          <a:p>
            <a:pPr marL="133350" algn="just" defTabSz="685800">
              <a:spcAft>
                <a:spcPts val="750"/>
              </a:spcAft>
              <a:defRPr/>
            </a:pPr>
            <a:r>
              <a:rPr lang="en-US" b="1" dirty="0">
                <a:solidFill>
                  <a:srgbClr val="0070C0"/>
                </a:solidFill>
                <a:latin typeface="Calibri" panose="020F0502020204030204"/>
              </a:rPr>
              <a:t>GIE</a:t>
            </a:r>
            <a:r>
              <a:rPr lang="en-US" altLang="en-US" b="1" kern="0" dirty="0">
                <a:solidFill>
                  <a:prstClr val="black"/>
                </a:solidFill>
                <a:latin typeface="Calibri" panose="020F0502020204030204"/>
                <a:cs typeface="Arial"/>
              </a:rPr>
              <a:t> </a:t>
            </a:r>
            <a:r>
              <a:rPr lang="en-US" altLang="en-US" kern="0" dirty="0">
                <a:solidFill>
                  <a:prstClr val="black"/>
                </a:solidFill>
                <a:latin typeface="Calibri" panose="020F0502020204030204"/>
                <a:cs typeface="Arial"/>
              </a:rPr>
              <a:t>focus on the value created from our assets for consumers and users.</a:t>
            </a:r>
          </a:p>
          <a:p>
            <a:pPr marL="133350" algn="just" defTabSz="685800">
              <a:spcAft>
                <a:spcPts val="750"/>
              </a:spcAft>
              <a:defRPr/>
            </a:pPr>
            <a:r>
              <a:rPr lang="en-US" b="1" dirty="0">
                <a:solidFill>
                  <a:srgbClr val="0070C0"/>
                </a:solidFill>
                <a:latin typeface="Calibri" panose="020F0502020204030204"/>
              </a:rPr>
              <a:t>GIE</a:t>
            </a:r>
            <a:r>
              <a:rPr lang="en-US" altLang="en-US" b="1" kern="0" dirty="0">
                <a:solidFill>
                  <a:prstClr val="black"/>
                </a:solidFill>
                <a:latin typeface="Calibri" panose="020F0502020204030204"/>
                <a:cs typeface="Arial"/>
              </a:rPr>
              <a:t> </a:t>
            </a:r>
            <a:r>
              <a:rPr lang="en-US" altLang="en-US" kern="0" dirty="0">
                <a:solidFill>
                  <a:prstClr val="black"/>
                </a:solidFill>
                <a:latin typeface="Calibri" panose="020F0502020204030204"/>
                <a:cs typeface="Arial"/>
              </a:rPr>
              <a:t>works in focused Working Groups under the Annual Working Program</a:t>
            </a:r>
          </a:p>
        </p:txBody>
      </p:sp>
      <p:pic>
        <p:nvPicPr>
          <p:cNvPr id="3" name="Picture 2">
            <a:extLst>
              <a:ext uri="{FF2B5EF4-FFF2-40B4-BE49-F238E27FC236}">
                <a16:creationId xmlns:a16="http://schemas.microsoft.com/office/drawing/2014/main" id="{61ABB910-792B-4C99-9012-91694F8861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2717" y="4717431"/>
            <a:ext cx="809818" cy="407627"/>
          </a:xfrm>
          <a:prstGeom prst="rect">
            <a:avLst/>
          </a:prstGeom>
        </p:spPr>
      </p:pic>
      <p:pic>
        <p:nvPicPr>
          <p:cNvPr id="5" name="Picture 4">
            <a:extLst>
              <a:ext uri="{FF2B5EF4-FFF2-40B4-BE49-F238E27FC236}">
                <a16:creationId xmlns:a16="http://schemas.microsoft.com/office/drawing/2014/main" id="{63E73FCD-79D7-4D3F-A983-75FE300AE1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2716" y="4137383"/>
            <a:ext cx="809818" cy="407627"/>
          </a:xfrm>
          <a:prstGeom prst="rect">
            <a:avLst/>
          </a:prstGeom>
        </p:spPr>
      </p:pic>
      <p:pic>
        <p:nvPicPr>
          <p:cNvPr id="11" name="Picture 10">
            <a:extLst>
              <a:ext uri="{FF2B5EF4-FFF2-40B4-BE49-F238E27FC236}">
                <a16:creationId xmlns:a16="http://schemas.microsoft.com/office/drawing/2014/main" id="{2464055D-F240-4339-A03F-F9AF8C2EA56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2716" y="3565784"/>
            <a:ext cx="809818" cy="407627"/>
          </a:xfrm>
          <a:prstGeom prst="rect">
            <a:avLst/>
          </a:prstGeom>
        </p:spPr>
      </p:pic>
    </p:spTree>
    <p:extLst>
      <p:ext uri="{BB962C8B-B14F-4D97-AF65-F5344CB8AC3E}">
        <p14:creationId xmlns:p14="http://schemas.microsoft.com/office/powerpoint/2010/main" val="213213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
            <a:extLst>
              <a:ext uri="{FF2B5EF4-FFF2-40B4-BE49-F238E27FC236}">
                <a16:creationId xmlns:a16="http://schemas.microsoft.com/office/drawing/2014/main" id="{055EFB25-B0CD-401F-B6CF-91FFE7495EBD}"/>
              </a:ext>
            </a:extLst>
          </p:cNvPr>
          <p:cNvSpPr txBox="1"/>
          <p:nvPr/>
        </p:nvSpPr>
        <p:spPr>
          <a:xfrm>
            <a:off x="276209" y="549237"/>
            <a:ext cx="9563152" cy="1569660"/>
          </a:xfrm>
          <a:prstGeom prst="rect">
            <a:avLst/>
          </a:prstGeom>
        </p:spPr>
        <p:txBody>
          <a:bodyPr/>
          <a:lstStyle>
            <a:defPPr>
              <a:defRPr lang="en-US"/>
            </a:defPPr>
            <a:lvl1pPr marL="0" indent="0" eaLnBrk="0" hangingPunct="0">
              <a:spcBef>
                <a:spcPct val="20000"/>
              </a:spcBef>
              <a:buNone/>
              <a:defRPr sz="3200" b="1">
                <a:solidFill>
                  <a:schemeClr val="bg1"/>
                </a:solidFill>
                <a:latin typeface="Gill Sans MT" panose="020B0502020104020203" pitchFamily="34" charset="0"/>
              </a:defRPr>
            </a:lvl1pPr>
            <a:lvl2pPr marL="742950" indent="-285750" eaLnBrk="0" hangingPunct="0">
              <a:spcBef>
                <a:spcPct val="20000"/>
              </a:spcBef>
              <a:buChar char="–"/>
              <a:defRPr sz="2800">
                <a:solidFill>
                  <a:schemeClr val="bg2"/>
                </a:solidFill>
                <a:latin typeface="+mn-lt"/>
              </a:defRPr>
            </a:lvl2pPr>
            <a:lvl3pPr marL="1143000" indent="-228600" eaLnBrk="0" hangingPunct="0">
              <a:spcBef>
                <a:spcPct val="20000"/>
              </a:spcBef>
              <a:buChar char="•"/>
              <a:defRPr sz="2400">
                <a:solidFill>
                  <a:schemeClr val="bg2"/>
                </a:solidFill>
                <a:latin typeface="+mn-lt"/>
              </a:defRPr>
            </a:lvl3pPr>
            <a:lvl4pPr marL="1600200" indent="-228600" eaLnBrk="0" hangingPunct="0">
              <a:spcBef>
                <a:spcPct val="20000"/>
              </a:spcBef>
              <a:buChar char="–"/>
              <a:defRPr sz="2000">
                <a:solidFill>
                  <a:schemeClr val="bg2"/>
                </a:solidFill>
                <a:latin typeface="+mn-lt"/>
              </a:defRPr>
            </a:lvl4pPr>
            <a:lvl5pPr marL="2057400" indent="-228600" eaLnBrk="0" hangingPunct="0">
              <a:spcBef>
                <a:spcPct val="20000"/>
              </a:spcBef>
              <a:buChar char="»"/>
              <a:defRPr sz="2000">
                <a:solidFill>
                  <a:schemeClr val="bg2"/>
                </a:solidFill>
                <a:latin typeface="+mn-lt"/>
              </a:defRPr>
            </a:lvl5pPr>
            <a:lvl6pPr marL="2514600" indent="-228600" fontAlgn="base">
              <a:spcBef>
                <a:spcPct val="20000"/>
              </a:spcBef>
              <a:spcAft>
                <a:spcPct val="0"/>
              </a:spcAft>
              <a:buChar char="»"/>
              <a:defRPr sz="2000">
                <a:solidFill>
                  <a:schemeClr val="bg2"/>
                </a:solidFill>
                <a:latin typeface="+mn-lt"/>
              </a:defRPr>
            </a:lvl6pPr>
            <a:lvl7pPr marL="2971800" indent="-228600" fontAlgn="base">
              <a:spcBef>
                <a:spcPct val="20000"/>
              </a:spcBef>
              <a:spcAft>
                <a:spcPct val="0"/>
              </a:spcAft>
              <a:buChar char="»"/>
              <a:defRPr sz="2000">
                <a:solidFill>
                  <a:schemeClr val="bg2"/>
                </a:solidFill>
                <a:latin typeface="+mn-lt"/>
              </a:defRPr>
            </a:lvl7pPr>
            <a:lvl8pPr marL="3429000" indent="-228600" fontAlgn="base">
              <a:spcBef>
                <a:spcPct val="20000"/>
              </a:spcBef>
              <a:spcAft>
                <a:spcPct val="0"/>
              </a:spcAft>
              <a:buChar char="»"/>
              <a:defRPr sz="2000">
                <a:solidFill>
                  <a:schemeClr val="bg2"/>
                </a:solidFill>
                <a:latin typeface="+mn-lt"/>
              </a:defRPr>
            </a:lvl8pPr>
            <a:lvl9pPr marL="3886200" indent="-228600" fontAlgn="base">
              <a:spcBef>
                <a:spcPct val="20000"/>
              </a:spcBef>
              <a:spcAft>
                <a:spcPct val="0"/>
              </a:spcAft>
              <a:buChar char="»"/>
              <a:defRPr sz="2000">
                <a:solidFill>
                  <a:schemeClr val="bg2"/>
                </a:solidFill>
                <a:latin typeface="+mn-lt"/>
              </a:defRPr>
            </a:lvl9pPr>
          </a:lstStyle>
          <a:p>
            <a:r>
              <a:rPr lang="en-US" dirty="0"/>
              <a:t>GIE - committed to achieving EU climate targets</a:t>
            </a:r>
            <a:br>
              <a:rPr lang="en-US" dirty="0"/>
            </a:br>
            <a:endParaRPr lang="en-US" dirty="0"/>
          </a:p>
        </p:txBody>
      </p:sp>
      <p:pic>
        <p:nvPicPr>
          <p:cNvPr id="12" name="Picture 11">
            <a:extLst>
              <a:ext uri="{FF2B5EF4-FFF2-40B4-BE49-F238E27FC236}">
                <a16:creationId xmlns:a16="http://schemas.microsoft.com/office/drawing/2014/main" id="{F147F873-1D8B-4000-BAC8-6858F38D87DC}"/>
              </a:ext>
            </a:extLst>
          </p:cNvPr>
          <p:cNvPicPr>
            <a:picLocks noChangeAspect="1"/>
          </p:cNvPicPr>
          <p:nvPr/>
        </p:nvPicPr>
        <p:blipFill>
          <a:blip r:embed="rId3"/>
          <a:stretch>
            <a:fillRect/>
          </a:stretch>
        </p:blipFill>
        <p:spPr>
          <a:xfrm>
            <a:off x="2969260" y="2572446"/>
            <a:ext cx="5274414" cy="2814246"/>
          </a:xfrm>
          <a:prstGeom prst="rect">
            <a:avLst/>
          </a:prstGeom>
        </p:spPr>
      </p:pic>
    </p:spTree>
    <p:extLst>
      <p:ext uri="{BB962C8B-B14F-4D97-AF65-F5344CB8AC3E}">
        <p14:creationId xmlns:p14="http://schemas.microsoft.com/office/powerpoint/2010/main" val="278218207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hteck 9">
            <a:extLst>
              <a:ext uri="{FF2B5EF4-FFF2-40B4-BE49-F238E27FC236}">
                <a16:creationId xmlns:a16="http://schemas.microsoft.com/office/drawing/2014/main" id="{B4209546-EC1C-40B8-AE61-2B678A47CF18}"/>
              </a:ext>
            </a:extLst>
          </p:cNvPr>
          <p:cNvSpPr/>
          <p:nvPr/>
        </p:nvSpPr>
        <p:spPr>
          <a:xfrm>
            <a:off x="5641297" y="1970499"/>
            <a:ext cx="5547543" cy="1570583"/>
          </a:xfrm>
          <a:prstGeom prst="rect">
            <a:avLst/>
          </a:prstGeom>
          <a:solidFill>
            <a:schemeClr val="bg1"/>
          </a:solidFill>
          <a:ln w="12700">
            <a:solidFill>
              <a:schemeClr val="bg1">
                <a:lumMod val="65000"/>
              </a:schemeClr>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a:ln>
                <a:noFill/>
              </a:ln>
              <a:solidFill>
                <a:srgbClr val="4472C4"/>
              </a:solidFill>
              <a:effectLst/>
              <a:uLnTx/>
              <a:uFillTx/>
              <a:latin typeface="Arial" panose="020B0604020202020204"/>
              <a:ea typeface="+mn-ea"/>
              <a:cs typeface="+mn-cs"/>
            </a:endParaRPr>
          </a:p>
        </p:txBody>
      </p:sp>
      <p:cxnSp>
        <p:nvCxnSpPr>
          <p:cNvPr id="28" name="Gewinkelter Verbinder 10">
            <a:extLst>
              <a:ext uri="{FF2B5EF4-FFF2-40B4-BE49-F238E27FC236}">
                <a16:creationId xmlns:a16="http://schemas.microsoft.com/office/drawing/2014/main" id="{A550AD6A-BAC3-4B34-8710-E02DF2E57CE6}"/>
              </a:ext>
            </a:extLst>
          </p:cNvPr>
          <p:cNvCxnSpPr>
            <a:cxnSpLocks/>
          </p:cNvCxnSpPr>
          <p:nvPr/>
        </p:nvCxnSpPr>
        <p:spPr>
          <a:xfrm flipH="1">
            <a:off x="4225065" y="2784784"/>
            <a:ext cx="1419225" cy="954852"/>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Gewinkelter Verbinder 14">
            <a:extLst>
              <a:ext uri="{FF2B5EF4-FFF2-40B4-BE49-F238E27FC236}">
                <a16:creationId xmlns:a16="http://schemas.microsoft.com/office/drawing/2014/main" id="{8CF55342-C42E-4690-9DA4-59EB7D507666}"/>
              </a:ext>
            </a:extLst>
          </p:cNvPr>
          <p:cNvCxnSpPr>
            <a:cxnSpLocks/>
          </p:cNvCxnSpPr>
          <p:nvPr/>
        </p:nvCxnSpPr>
        <p:spPr>
          <a:xfrm flipH="1" flipV="1">
            <a:off x="4215657" y="3730230"/>
            <a:ext cx="1438040" cy="850313"/>
          </a:xfrm>
          <a:prstGeom prst="bentConnector3">
            <a:avLst>
              <a:gd name="adj1" fmla="val 50000"/>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1" name="Rechteck 21">
            <a:extLst>
              <a:ext uri="{FF2B5EF4-FFF2-40B4-BE49-F238E27FC236}">
                <a16:creationId xmlns:a16="http://schemas.microsoft.com/office/drawing/2014/main" id="{8F312E76-DE3F-4107-BE61-D7423ECAE4EF}"/>
              </a:ext>
            </a:extLst>
          </p:cNvPr>
          <p:cNvSpPr/>
          <p:nvPr/>
        </p:nvSpPr>
        <p:spPr>
          <a:xfrm>
            <a:off x="5641298" y="3701645"/>
            <a:ext cx="5547542" cy="1637707"/>
          </a:xfrm>
          <a:prstGeom prst="rect">
            <a:avLst/>
          </a:prstGeom>
          <a:solidFill>
            <a:schemeClr val="bg1"/>
          </a:solidFill>
          <a:ln w="12700">
            <a:solidFill>
              <a:schemeClr val="bg1">
                <a:lumMod val="65000"/>
              </a:schemeClr>
            </a:solid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a:ln>
                <a:noFill/>
              </a:ln>
              <a:solidFill>
                <a:srgbClr val="4472C4"/>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4D59BF00-C430-4273-9747-DD4C9B369B4E}"/>
              </a:ext>
            </a:extLst>
          </p:cNvPr>
          <p:cNvSpPr/>
          <p:nvPr/>
        </p:nvSpPr>
        <p:spPr>
          <a:xfrm>
            <a:off x="5744780" y="4108909"/>
            <a:ext cx="3257550" cy="815558"/>
          </a:xfrm>
          <a:prstGeom prst="rect">
            <a:avLst/>
          </a:prstGeom>
          <a:solidFill>
            <a:srgbClr val="D7ED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rPr>
              <a:t>Cost effective way</a:t>
            </a:r>
            <a:br>
              <a:rPr kumimoji="0" lang="en-US" sz="1600" b="1" i="0"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rPr>
            </a:br>
            <a:r>
              <a:rPr kumimoji="0" lang="en-US" sz="1600" b="1" i="0"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rPr>
              <a:t>to decarbonise energy</a:t>
            </a:r>
            <a:endParaRPr kumimoji="0" lang="nl-BE" sz="1600" b="1" i="0"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endParaRPr>
          </a:p>
        </p:txBody>
      </p:sp>
      <p:sp>
        <p:nvSpPr>
          <p:cNvPr id="48" name="Rectangle 47">
            <a:extLst>
              <a:ext uri="{FF2B5EF4-FFF2-40B4-BE49-F238E27FC236}">
                <a16:creationId xmlns:a16="http://schemas.microsoft.com/office/drawing/2014/main" id="{FD3478A1-50F2-499D-AF7B-7591AA15D2FC}"/>
              </a:ext>
            </a:extLst>
          </p:cNvPr>
          <p:cNvSpPr/>
          <p:nvPr/>
        </p:nvSpPr>
        <p:spPr>
          <a:xfrm>
            <a:off x="5744778" y="2375017"/>
            <a:ext cx="3257550" cy="815558"/>
          </a:xfrm>
          <a:prstGeom prst="rect">
            <a:avLst/>
          </a:prstGeom>
          <a:solidFill>
            <a:srgbClr val="D7ED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rPr>
              <a:t>Reliable, secure, affordable energy supply throughout  EU</a:t>
            </a:r>
            <a:endParaRPr kumimoji="0" lang="nl-BE" sz="1600" b="0" i="0" u="none" strike="noStrike" kern="1200" cap="none" spc="0" normalizeH="0" baseline="0" noProof="0" dirty="0">
              <a:ln>
                <a:noFill/>
              </a:ln>
              <a:solidFill>
                <a:prstClr val="black">
                  <a:lumMod val="65000"/>
                  <a:lumOff val="35000"/>
                </a:prstClr>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CE466077-B873-446B-82EB-3E0240B02C12}"/>
              </a:ext>
            </a:extLst>
          </p:cNvPr>
          <p:cNvSpPr/>
          <p:nvPr/>
        </p:nvSpPr>
        <p:spPr>
          <a:xfrm>
            <a:off x="965757" y="3330879"/>
            <a:ext cx="3257550" cy="815558"/>
          </a:xfrm>
          <a:prstGeom prst="rect">
            <a:avLst/>
          </a:prstGeom>
          <a:solidFill>
            <a:srgbClr val="C6DB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panose="020B0604020202020204"/>
                <a:ea typeface="+mn-ea"/>
                <a:cs typeface="+mn-cs"/>
              </a:rPr>
              <a:t>infrastructure</a:t>
            </a:r>
            <a:endParaRPr kumimoji="0" lang="nl-BE" sz="2800" b="1"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3" name="Picture 12">
            <a:extLst>
              <a:ext uri="{FF2B5EF4-FFF2-40B4-BE49-F238E27FC236}">
                <a16:creationId xmlns:a16="http://schemas.microsoft.com/office/drawing/2014/main" id="{7AD519C1-15E7-41F7-B5F9-06D9D9399F7D}"/>
              </a:ext>
            </a:extLst>
          </p:cNvPr>
          <p:cNvPicPr>
            <a:picLocks noChangeAspect="1"/>
          </p:cNvPicPr>
          <p:nvPr/>
        </p:nvPicPr>
        <p:blipFill>
          <a:blip r:embed="rId3"/>
          <a:stretch>
            <a:fillRect/>
          </a:stretch>
        </p:blipFill>
        <p:spPr>
          <a:xfrm>
            <a:off x="1989441" y="4364683"/>
            <a:ext cx="1226908" cy="1199505"/>
          </a:xfrm>
          <a:prstGeom prst="rect">
            <a:avLst/>
          </a:prstGeom>
        </p:spPr>
      </p:pic>
      <p:pic>
        <p:nvPicPr>
          <p:cNvPr id="51" name="Picture 50">
            <a:extLst>
              <a:ext uri="{FF2B5EF4-FFF2-40B4-BE49-F238E27FC236}">
                <a16:creationId xmlns:a16="http://schemas.microsoft.com/office/drawing/2014/main" id="{9917428D-1680-4925-8267-96FC39C52B9A}"/>
              </a:ext>
            </a:extLst>
          </p:cNvPr>
          <p:cNvPicPr>
            <a:picLocks noChangeAspect="1"/>
          </p:cNvPicPr>
          <p:nvPr/>
        </p:nvPicPr>
        <p:blipFill>
          <a:blip r:embed="rId4"/>
          <a:stretch>
            <a:fillRect/>
          </a:stretch>
        </p:blipFill>
        <p:spPr>
          <a:xfrm>
            <a:off x="3217857" y="4403307"/>
            <a:ext cx="1226908" cy="1199504"/>
          </a:xfrm>
          <a:prstGeom prst="rect">
            <a:avLst/>
          </a:prstGeom>
        </p:spPr>
      </p:pic>
      <p:pic>
        <p:nvPicPr>
          <p:cNvPr id="57" name="Picture 56">
            <a:extLst>
              <a:ext uri="{FF2B5EF4-FFF2-40B4-BE49-F238E27FC236}">
                <a16:creationId xmlns:a16="http://schemas.microsoft.com/office/drawing/2014/main" id="{329503EF-18A2-4F39-B3BF-358797B666AF}"/>
              </a:ext>
            </a:extLst>
          </p:cNvPr>
          <p:cNvPicPr>
            <a:picLocks noChangeAspect="1"/>
          </p:cNvPicPr>
          <p:nvPr/>
        </p:nvPicPr>
        <p:blipFill>
          <a:blip r:embed="rId5"/>
          <a:stretch>
            <a:fillRect/>
          </a:stretch>
        </p:blipFill>
        <p:spPr>
          <a:xfrm>
            <a:off x="783423" y="4380224"/>
            <a:ext cx="1226908" cy="1199505"/>
          </a:xfrm>
          <a:prstGeom prst="rect">
            <a:avLst/>
          </a:prstGeom>
        </p:spPr>
      </p:pic>
      <p:pic>
        <p:nvPicPr>
          <p:cNvPr id="19" name="Picture 18">
            <a:extLst>
              <a:ext uri="{FF2B5EF4-FFF2-40B4-BE49-F238E27FC236}">
                <a16:creationId xmlns:a16="http://schemas.microsoft.com/office/drawing/2014/main" id="{665F6937-2981-4E32-89CD-E34D76AF185F}"/>
              </a:ext>
            </a:extLst>
          </p:cNvPr>
          <p:cNvPicPr>
            <a:picLocks noChangeAspect="1"/>
          </p:cNvPicPr>
          <p:nvPr/>
        </p:nvPicPr>
        <p:blipFill rotWithShape="1">
          <a:blip r:embed="rId6"/>
          <a:srcRect l="5261" t="13555" r="20219" b="18589"/>
          <a:stretch/>
        </p:blipFill>
        <p:spPr>
          <a:xfrm>
            <a:off x="9081566" y="1970022"/>
            <a:ext cx="1882279" cy="1550484"/>
          </a:xfrm>
          <a:prstGeom prst="rect">
            <a:avLst/>
          </a:prstGeom>
        </p:spPr>
      </p:pic>
      <p:pic>
        <p:nvPicPr>
          <p:cNvPr id="6" name="Picture 2" descr="Bildergebnis für CO2 Reduktion">
            <a:extLst>
              <a:ext uri="{FF2B5EF4-FFF2-40B4-BE49-F238E27FC236}">
                <a16:creationId xmlns:a16="http://schemas.microsoft.com/office/drawing/2014/main" id="{E5A8B3A9-9A79-48D2-8992-F232EDC1FCDA}"/>
              </a:ext>
            </a:extLst>
          </p:cNvPr>
          <p:cNvPicPr>
            <a:picLocks noChangeAspect="1" noChangeArrowheads="1"/>
          </p:cNvPicPr>
          <p:nvPr/>
        </p:nvPicPr>
        <p:blipFill rotWithShape="1">
          <a:blip r:embed="rId7" cstate="print"/>
          <a:srcRect l="27119" t="-685" r="8474" b="1515"/>
          <a:stretch/>
        </p:blipFill>
        <p:spPr bwMode="auto">
          <a:xfrm>
            <a:off x="9084030" y="3677663"/>
            <a:ext cx="1884496" cy="1673482"/>
          </a:xfrm>
          <a:prstGeom prst="rect">
            <a:avLst/>
          </a:prstGeom>
          <a:noFill/>
        </p:spPr>
      </p:pic>
    </p:spTree>
    <p:extLst>
      <p:ext uri="{BB962C8B-B14F-4D97-AF65-F5344CB8AC3E}">
        <p14:creationId xmlns:p14="http://schemas.microsoft.com/office/powerpoint/2010/main" val="1297590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4657235B-28B0-4FB2-9D19-BC4D6A92179B}"/>
              </a:ext>
            </a:extLst>
          </p:cNvPr>
          <p:cNvPicPr>
            <a:picLocks noChangeAspect="1"/>
          </p:cNvPicPr>
          <p:nvPr/>
        </p:nvPicPr>
        <p:blipFill rotWithShape="1">
          <a:blip r:embed="rId3"/>
          <a:srcRect l="8520" t="29103" r="50033" b="15029"/>
          <a:stretch/>
        </p:blipFill>
        <p:spPr>
          <a:xfrm>
            <a:off x="3365999" y="1498006"/>
            <a:ext cx="3700164" cy="2632511"/>
          </a:xfrm>
          <a:prstGeom prst="rect">
            <a:avLst/>
          </a:prstGeom>
          <a:ln w="9525">
            <a:solidFill>
              <a:schemeClr val="tx1"/>
            </a:solidFill>
          </a:ln>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7B87009F-4235-4F94-A4F3-062F956B0C04}"/>
              </a:ext>
            </a:extLst>
          </p:cNvPr>
          <p:cNvSpPr txBox="1"/>
          <p:nvPr/>
        </p:nvSpPr>
        <p:spPr>
          <a:xfrm>
            <a:off x="276579" y="6599754"/>
            <a:ext cx="5636541" cy="246221"/>
          </a:xfrm>
          <a:prstGeom prst="rect">
            <a:avLst/>
          </a:prstGeom>
          <a:noFill/>
        </p:spPr>
        <p:txBody>
          <a:bodyPr wrap="square" rtlCol="0">
            <a:spAutoFit/>
          </a:bodyPr>
          <a:lstStyle/>
          <a:p>
            <a:r>
              <a:rPr lang="nl-BE" sz="1000" dirty="0">
                <a:latin typeface="Gill Sans MT" panose="020B0502020104020203" pitchFamily="34" charset="0"/>
              </a:rPr>
              <a:t>Data sources : </a:t>
            </a:r>
            <a:r>
              <a:rPr lang="en-US" sz="1000" dirty="0">
                <a:latin typeface="Gill Sans MT" panose="020B0502020104020203" pitchFamily="34" charset="0"/>
              </a:rPr>
              <a:t>European Environment Agency, </a:t>
            </a:r>
            <a:r>
              <a:rPr lang="en-US" sz="1000" dirty="0"/>
              <a:t>ENTSOG TYNDP 2018, </a:t>
            </a:r>
            <a:r>
              <a:rPr lang="en-US" sz="1000" dirty="0" err="1"/>
              <a:t>EuroStats</a:t>
            </a:r>
            <a:r>
              <a:rPr lang="en-US" sz="1000" dirty="0"/>
              <a:t> 2016, GIE maps </a:t>
            </a:r>
            <a:endParaRPr lang="nl-BE" sz="1000" dirty="0">
              <a:latin typeface="Gill Sans MT" panose="020B0502020104020203" pitchFamily="34" charset="0"/>
            </a:endParaRPr>
          </a:p>
        </p:txBody>
      </p:sp>
      <p:sp>
        <p:nvSpPr>
          <p:cNvPr id="6" name="TextBox 5">
            <a:extLst>
              <a:ext uri="{FF2B5EF4-FFF2-40B4-BE49-F238E27FC236}">
                <a16:creationId xmlns:a16="http://schemas.microsoft.com/office/drawing/2014/main" id="{04E5FFFB-C197-40BC-9610-4B8CAD1B136E}"/>
              </a:ext>
            </a:extLst>
          </p:cNvPr>
          <p:cNvSpPr txBox="1"/>
          <p:nvPr/>
        </p:nvSpPr>
        <p:spPr>
          <a:xfrm>
            <a:off x="276579" y="257728"/>
            <a:ext cx="9372450" cy="1384995"/>
          </a:xfrm>
          <a:prstGeom prst="rect">
            <a:avLst/>
          </a:prstGeom>
        </p:spPr>
        <p:txBody>
          <a:bodyPr/>
          <a:lstStyle>
            <a:defPPr>
              <a:defRPr lang="en-US"/>
            </a:defPPr>
            <a:lvl1pPr marL="0" indent="0" eaLnBrk="0" hangingPunct="0">
              <a:spcBef>
                <a:spcPct val="20000"/>
              </a:spcBef>
              <a:buNone/>
              <a:defRPr sz="2800" b="1">
                <a:solidFill>
                  <a:schemeClr val="bg1"/>
                </a:solidFill>
                <a:latin typeface="Gill Sans MT" panose="020B0502020104020203" pitchFamily="34" charset="0"/>
              </a:defRPr>
            </a:lvl1pPr>
            <a:lvl2pPr marL="742950" indent="-285750" eaLnBrk="0" hangingPunct="0">
              <a:spcBef>
                <a:spcPct val="20000"/>
              </a:spcBef>
              <a:buChar char="–"/>
              <a:defRPr sz="2800">
                <a:solidFill>
                  <a:schemeClr val="bg2"/>
                </a:solidFill>
                <a:latin typeface="+mn-lt"/>
              </a:defRPr>
            </a:lvl2pPr>
            <a:lvl3pPr marL="1143000" indent="-228600" eaLnBrk="0" hangingPunct="0">
              <a:spcBef>
                <a:spcPct val="20000"/>
              </a:spcBef>
              <a:buChar char="•"/>
              <a:defRPr sz="2400">
                <a:solidFill>
                  <a:schemeClr val="bg2"/>
                </a:solidFill>
                <a:latin typeface="+mn-lt"/>
              </a:defRPr>
            </a:lvl3pPr>
            <a:lvl4pPr marL="1600200" indent="-228600" eaLnBrk="0" hangingPunct="0">
              <a:spcBef>
                <a:spcPct val="20000"/>
              </a:spcBef>
              <a:buChar char="–"/>
              <a:defRPr sz="2000">
                <a:solidFill>
                  <a:schemeClr val="bg2"/>
                </a:solidFill>
                <a:latin typeface="+mn-lt"/>
              </a:defRPr>
            </a:lvl4pPr>
            <a:lvl5pPr marL="2057400" indent="-228600" eaLnBrk="0" hangingPunct="0">
              <a:spcBef>
                <a:spcPct val="20000"/>
              </a:spcBef>
              <a:buChar char="»"/>
              <a:defRPr sz="2000">
                <a:solidFill>
                  <a:schemeClr val="bg2"/>
                </a:solidFill>
                <a:latin typeface="+mn-lt"/>
              </a:defRPr>
            </a:lvl5pPr>
            <a:lvl6pPr marL="2514600" indent="-228600" fontAlgn="base">
              <a:spcBef>
                <a:spcPct val="20000"/>
              </a:spcBef>
              <a:spcAft>
                <a:spcPct val="0"/>
              </a:spcAft>
              <a:buChar char="»"/>
              <a:defRPr sz="2000">
                <a:solidFill>
                  <a:schemeClr val="bg2"/>
                </a:solidFill>
                <a:latin typeface="+mn-lt"/>
              </a:defRPr>
            </a:lvl6pPr>
            <a:lvl7pPr marL="2971800" indent="-228600" fontAlgn="base">
              <a:spcBef>
                <a:spcPct val="20000"/>
              </a:spcBef>
              <a:spcAft>
                <a:spcPct val="0"/>
              </a:spcAft>
              <a:buChar char="»"/>
              <a:defRPr sz="2000">
                <a:solidFill>
                  <a:schemeClr val="bg2"/>
                </a:solidFill>
                <a:latin typeface="+mn-lt"/>
              </a:defRPr>
            </a:lvl7pPr>
            <a:lvl8pPr marL="3429000" indent="-228600" fontAlgn="base">
              <a:spcBef>
                <a:spcPct val="20000"/>
              </a:spcBef>
              <a:spcAft>
                <a:spcPct val="0"/>
              </a:spcAft>
              <a:buChar char="»"/>
              <a:defRPr sz="2000">
                <a:solidFill>
                  <a:schemeClr val="bg2"/>
                </a:solidFill>
                <a:latin typeface="+mn-lt"/>
              </a:defRPr>
            </a:lvl8pPr>
            <a:lvl9pPr marL="3886200" indent="-228600" fontAlgn="base">
              <a:spcBef>
                <a:spcPct val="20000"/>
              </a:spcBef>
              <a:spcAft>
                <a:spcPct val="0"/>
              </a:spcAft>
              <a:buChar char="»"/>
              <a:defRPr sz="2000">
                <a:solidFill>
                  <a:schemeClr val="bg2"/>
                </a:solidFill>
                <a:latin typeface="+mn-lt"/>
              </a:defRPr>
            </a:lvl9pPr>
          </a:lstStyle>
          <a:p>
            <a:r>
              <a:rPr lang="en-US" dirty="0"/>
              <a:t>LNG, storage and gas transmission – reliable energy system connecting all Europe</a:t>
            </a:r>
            <a:br>
              <a:rPr lang="en-US" dirty="0"/>
            </a:br>
            <a:endParaRPr lang="en-US" dirty="0"/>
          </a:p>
        </p:txBody>
      </p:sp>
      <p:pic>
        <p:nvPicPr>
          <p:cNvPr id="13" name="Picture 13" descr="A close up of a map&#10;&#10;Description generated with high confidence">
            <a:extLst>
              <a:ext uri="{FF2B5EF4-FFF2-40B4-BE49-F238E27FC236}">
                <a16:creationId xmlns:a16="http://schemas.microsoft.com/office/drawing/2014/main" id="{F93D8457-C367-4FD6-ACAE-44526AEA3A60}"/>
              </a:ext>
            </a:extLst>
          </p:cNvPr>
          <p:cNvPicPr>
            <a:picLocks noChangeAspect="1"/>
          </p:cNvPicPr>
          <p:nvPr/>
        </p:nvPicPr>
        <p:blipFill>
          <a:blip r:embed="rId4"/>
          <a:stretch>
            <a:fillRect/>
          </a:stretch>
        </p:blipFill>
        <p:spPr>
          <a:xfrm>
            <a:off x="7242031" y="1480448"/>
            <a:ext cx="4568638" cy="4118830"/>
          </a:xfrm>
          <a:prstGeom prst="rect">
            <a:avLst/>
          </a:prstGeom>
          <a:ln w="9525">
            <a:solidFill>
              <a:schemeClr val="tx1"/>
            </a:solidFill>
          </a:ln>
          <a:effectLst>
            <a:outerShdw blurRad="50800" dist="38100" dir="2700000" algn="tl" rotWithShape="0">
              <a:prstClr val="black">
                <a:alpha val="40000"/>
              </a:prstClr>
            </a:outerShdw>
          </a:effectLst>
        </p:spPr>
      </p:pic>
      <p:sp>
        <p:nvSpPr>
          <p:cNvPr id="41" name="TextBox 40">
            <a:extLst>
              <a:ext uri="{FF2B5EF4-FFF2-40B4-BE49-F238E27FC236}">
                <a16:creationId xmlns:a16="http://schemas.microsoft.com/office/drawing/2014/main" id="{654CF7A0-3644-493D-980D-0BA5F2667636}"/>
              </a:ext>
            </a:extLst>
          </p:cNvPr>
          <p:cNvSpPr txBox="1"/>
          <p:nvPr/>
        </p:nvSpPr>
        <p:spPr>
          <a:xfrm>
            <a:off x="7365304" y="1624036"/>
            <a:ext cx="4458499" cy="276999"/>
          </a:xfrm>
          <a:prstGeom prst="rect">
            <a:avLst/>
          </a:prstGeom>
          <a:solidFill>
            <a:srgbClr val="0070C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b="1" dirty="0">
                <a:solidFill>
                  <a:schemeClr val="bg1"/>
                </a:solidFill>
              </a:rPr>
              <a:t>Transmission pipelines</a:t>
            </a:r>
            <a:endParaRPr lang="en-US" dirty="0">
              <a:solidFill>
                <a:schemeClr val="bg1"/>
              </a:solidFill>
            </a:endParaRPr>
          </a:p>
        </p:txBody>
      </p:sp>
      <p:grpSp>
        <p:nvGrpSpPr>
          <p:cNvPr id="37" name="Group 36">
            <a:extLst>
              <a:ext uri="{FF2B5EF4-FFF2-40B4-BE49-F238E27FC236}">
                <a16:creationId xmlns:a16="http://schemas.microsoft.com/office/drawing/2014/main" id="{E88A4BAF-BD47-4810-9235-FE5D1784ED98}"/>
              </a:ext>
            </a:extLst>
          </p:cNvPr>
          <p:cNvGrpSpPr/>
          <p:nvPr/>
        </p:nvGrpSpPr>
        <p:grpSpPr>
          <a:xfrm>
            <a:off x="9844403" y="5830592"/>
            <a:ext cx="1321652" cy="486005"/>
            <a:chOff x="3628081" y="1160235"/>
            <a:chExt cx="1321652" cy="486005"/>
          </a:xfrm>
        </p:grpSpPr>
        <p:sp>
          <p:nvSpPr>
            <p:cNvPr id="38" name="Rechteck 3">
              <a:extLst>
                <a:ext uri="{FF2B5EF4-FFF2-40B4-BE49-F238E27FC236}">
                  <a16:creationId xmlns:a16="http://schemas.microsoft.com/office/drawing/2014/main" id="{C30286BA-917F-4CBF-956E-E1D0AF6839C7}"/>
                </a:ext>
              </a:extLst>
            </p:cNvPr>
            <p:cNvSpPr/>
            <p:nvPr/>
          </p:nvSpPr>
          <p:spPr>
            <a:xfrm>
              <a:off x="3698489" y="1160235"/>
              <a:ext cx="1005356" cy="139968"/>
            </a:xfrm>
            <a:prstGeom prst="rect">
              <a:avLst/>
            </a:prstGeom>
            <a:noFill/>
            <a:ln>
              <a:noFill/>
            </a:ln>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bg1">
                      <a:lumMod val="50000"/>
                    </a:schemeClr>
                  </a:solidFill>
                </a:rPr>
                <a:t>operational</a:t>
              </a:r>
            </a:p>
          </p:txBody>
        </p:sp>
        <p:sp>
          <p:nvSpPr>
            <p:cNvPr id="39" name="Rechteck 3">
              <a:extLst>
                <a:ext uri="{FF2B5EF4-FFF2-40B4-BE49-F238E27FC236}">
                  <a16:creationId xmlns:a16="http://schemas.microsoft.com/office/drawing/2014/main" id="{1B0230E3-364A-49F3-A221-417DFA0C20F7}"/>
                </a:ext>
              </a:extLst>
            </p:cNvPr>
            <p:cNvSpPr/>
            <p:nvPr/>
          </p:nvSpPr>
          <p:spPr>
            <a:xfrm>
              <a:off x="3698488" y="1329411"/>
              <a:ext cx="1251245" cy="139968"/>
            </a:xfrm>
            <a:prstGeom prst="rect">
              <a:avLst/>
            </a:prstGeom>
            <a:noFill/>
            <a:ln>
              <a:noFill/>
            </a:ln>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chemeClr val="bg1">
                      <a:lumMod val="50000"/>
                    </a:schemeClr>
                  </a:solidFill>
                </a:rPr>
                <a:t>under construction</a:t>
              </a:r>
            </a:p>
          </p:txBody>
        </p:sp>
        <p:sp>
          <p:nvSpPr>
            <p:cNvPr id="40" name="Rechteck 3">
              <a:extLst>
                <a:ext uri="{FF2B5EF4-FFF2-40B4-BE49-F238E27FC236}">
                  <a16:creationId xmlns:a16="http://schemas.microsoft.com/office/drawing/2014/main" id="{FE3289F4-17D3-4CFF-AE4F-48BD54CA28AD}"/>
                </a:ext>
              </a:extLst>
            </p:cNvPr>
            <p:cNvSpPr/>
            <p:nvPr/>
          </p:nvSpPr>
          <p:spPr>
            <a:xfrm>
              <a:off x="3698489" y="1506272"/>
              <a:ext cx="1005356" cy="139968"/>
            </a:xfrm>
            <a:prstGeom prst="rect">
              <a:avLst/>
            </a:prstGeom>
            <a:noFill/>
            <a:ln>
              <a:noFill/>
            </a:ln>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bg1">
                      <a:lumMod val="50000"/>
                    </a:schemeClr>
                  </a:solidFill>
                </a:rPr>
                <a:t>planned</a:t>
              </a:r>
            </a:p>
          </p:txBody>
        </p:sp>
        <p:sp>
          <p:nvSpPr>
            <p:cNvPr id="43" name="Rectangle 42">
              <a:extLst>
                <a:ext uri="{FF2B5EF4-FFF2-40B4-BE49-F238E27FC236}">
                  <a16:creationId xmlns:a16="http://schemas.microsoft.com/office/drawing/2014/main" id="{DBC19B80-3EFA-4B3E-ADB3-4A60532DB8DB}"/>
                </a:ext>
              </a:extLst>
            </p:cNvPr>
            <p:cNvSpPr/>
            <p:nvPr/>
          </p:nvSpPr>
          <p:spPr>
            <a:xfrm>
              <a:off x="3628081" y="1191972"/>
              <a:ext cx="77751" cy="77751"/>
            </a:xfrm>
            <a:prstGeom prst="rect">
              <a:avLst/>
            </a:prstGeom>
            <a:solidFill>
              <a:srgbClr val="40AAE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44" name="Rectangle 43">
              <a:extLst>
                <a:ext uri="{FF2B5EF4-FFF2-40B4-BE49-F238E27FC236}">
                  <a16:creationId xmlns:a16="http://schemas.microsoft.com/office/drawing/2014/main" id="{8362B36D-B225-4D9B-86CD-0336688947A2}"/>
                </a:ext>
              </a:extLst>
            </p:cNvPr>
            <p:cNvSpPr/>
            <p:nvPr/>
          </p:nvSpPr>
          <p:spPr>
            <a:xfrm>
              <a:off x="3628081" y="1357072"/>
              <a:ext cx="77751" cy="77751"/>
            </a:xfrm>
            <a:prstGeom prst="rect">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sp>
          <p:nvSpPr>
            <p:cNvPr id="45" name="Rectangle 44">
              <a:extLst>
                <a:ext uri="{FF2B5EF4-FFF2-40B4-BE49-F238E27FC236}">
                  <a16:creationId xmlns:a16="http://schemas.microsoft.com/office/drawing/2014/main" id="{59B14208-22FF-48E9-AE2D-4AD1418D6734}"/>
                </a:ext>
              </a:extLst>
            </p:cNvPr>
            <p:cNvSpPr/>
            <p:nvPr/>
          </p:nvSpPr>
          <p:spPr>
            <a:xfrm>
              <a:off x="3628081" y="1547572"/>
              <a:ext cx="77751" cy="77751"/>
            </a:xfrm>
            <a:prstGeom prst="rect">
              <a:avLst/>
            </a:prstGeom>
            <a:solidFill>
              <a:srgbClr val="FDFD2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grpSp>
      <p:sp>
        <p:nvSpPr>
          <p:cNvPr id="46" name="Rechteck 3">
            <a:extLst>
              <a:ext uri="{FF2B5EF4-FFF2-40B4-BE49-F238E27FC236}">
                <a16:creationId xmlns:a16="http://schemas.microsoft.com/office/drawing/2014/main" id="{37BED3AB-58A2-4878-B3B2-409E651E1509}"/>
              </a:ext>
            </a:extLst>
          </p:cNvPr>
          <p:cNvSpPr/>
          <p:nvPr/>
        </p:nvSpPr>
        <p:spPr>
          <a:xfrm>
            <a:off x="9945922" y="6549708"/>
            <a:ext cx="1411393" cy="190427"/>
          </a:xfrm>
          <a:prstGeom prst="rect">
            <a:avLst/>
          </a:prstGeom>
          <a:noFill/>
          <a:ln>
            <a:noFill/>
          </a:ln>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dirty="0">
                <a:solidFill>
                  <a:schemeClr val="bg1">
                    <a:lumMod val="50000"/>
                  </a:schemeClr>
                </a:solidFill>
              </a:rPr>
              <a:t>GIE Member country</a:t>
            </a:r>
          </a:p>
        </p:txBody>
      </p:sp>
      <p:sp>
        <p:nvSpPr>
          <p:cNvPr id="48" name="Rectangle 47">
            <a:extLst>
              <a:ext uri="{FF2B5EF4-FFF2-40B4-BE49-F238E27FC236}">
                <a16:creationId xmlns:a16="http://schemas.microsoft.com/office/drawing/2014/main" id="{90122FCA-D73F-44EB-9598-C86FC5D88F17}"/>
              </a:ext>
            </a:extLst>
          </p:cNvPr>
          <p:cNvSpPr/>
          <p:nvPr/>
        </p:nvSpPr>
        <p:spPr>
          <a:xfrm>
            <a:off x="9840350" y="6599754"/>
            <a:ext cx="77751" cy="77751"/>
          </a:xfrm>
          <a:prstGeom prst="rect">
            <a:avLst/>
          </a:prstGeom>
          <a:solidFill>
            <a:srgbClr val="D2E7C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p>
        </p:txBody>
      </p:sp>
      <p:cxnSp>
        <p:nvCxnSpPr>
          <p:cNvPr id="49" name="Straight Connector 48">
            <a:extLst>
              <a:ext uri="{FF2B5EF4-FFF2-40B4-BE49-F238E27FC236}">
                <a16:creationId xmlns:a16="http://schemas.microsoft.com/office/drawing/2014/main" id="{BE8065A8-7728-45AD-914C-BB63BF3D8086}"/>
              </a:ext>
            </a:extLst>
          </p:cNvPr>
          <p:cNvCxnSpPr>
            <a:cxnSpLocks/>
          </p:cNvCxnSpPr>
          <p:nvPr/>
        </p:nvCxnSpPr>
        <p:spPr>
          <a:xfrm>
            <a:off x="9840350" y="6479940"/>
            <a:ext cx="132570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6" name="Diagramm 5">
            <a:extLst>
              <a:ext uri="{FF2B5EF4-FFF2-40B4-BE49-F238E27FC236}">
                <a16:creationId xmlns:a16="http://schemas.microsoft.com/office/drawing/2014/main" id="{4BD47A7F-215E-4A7E-BDF5-6AD3AF662F16}"/>
              </a:ext>
            </a:extLst>
          </p:cNvPr>
          <p:cNvGraphicFramePr>
            <a:graphicFrameLocks/>
          </p:cNvGraphicFramePr>
          <p:nvPr>
            <p:extLst>
              <p:ext uri="{D42A27DB-BD31-4B8C-83A1-F6EECF244321}">
                <p14:modId xmlns:p14="http://schemas.microsoft.com/office/powerpoint/2010/main" val="3401390228"/>
              </p:ext>
            </p:extLst>
          </p:nvPr>
        </p:nvGraphicFramePr>
        <p:xfrm>
          <a:off x="172642" y="1498006"/>
          <a:ext cx="2998277" cy="2360171"/>
        </p:xfrm>
        <a:graphic>
          <a:graphicData uri="http://schemas.openxmlformats.org/drawingml/2006/chart">
            <c:chart xmlns:c="http://schemas.openxmlformats.org/drawingml/2006/chart" xmlns:r="http://schemas.openxmlformats.org/officeDocument/2006/relationships" r:id="rId5"/>
          </a:graphicData>
        </a:graphic>
      </p:graphicFrame>
      <p:grpSp>
        <p:nvGrpSpPr>
          <p:cNvPr id="18" name="Gruppieren 10">
            <a:extLst>
              <a:ext uri="{FF2B5EF4-FFF2-40B4-BE49-F238E27FC236}">
                <a16:creationId xmlns:a16="http://schemas.microsoft.com/office/drawing/2014/main" id="{38B38039-86E3-45E8-914A-BC9402FD7C8B}"/>
              </a:ext>
            </a:extLst>
          </p:cNvPr>
          <p:cNvGrpSpPr>
            <a:grpSpLocks noChangeAspect="1"/>
          </p:cNvGrpSpPr>
          <p:nvPr/>
        </p:nvGrpSpPr>
        <p:grpSpPr>
          <a:xfrm>
            <a:off x="446665" y="4528677"/>
            <a:ext cx="5838667" cy="1672916"/>
            <a:chOff x="330200" y="1329210"/>
            <a:chExt cx="8064677" cy="2160000"/>
          </a:xfrm>
        </p:grpSpPr>
        <p:pic>
          <p:nvPicPr>
            <p:cNvPr id="19" name="Picture 6" descr="image-small">
              <a:extLst>
                <a:ext uri="{FF2B5EF4-FFF2-40B4-BE49-F238E27FC236}">
                  <a16:creationId xmlns:a16="http://schemas.microsoft.com/office/drawing/2014/main" id="{3B3DB662-89E6-4FE2-83F5-F588FF99C31E}"/>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79584" y="1329210"/>
              <a:ext cx="3815293" cy="2160000"/>
            </a:xfrm>
            <a:prstGeom prst="rect">
              <a:avLst/>
            </a:prstGeom>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0" name="Picture 7" descr="image-small">
              <a:extLst>
                <a:ext uri="{FF2B5EF4-FFF2-40B4-BE49-F238E27FC236}">
                  <a16:creationId xmlns:a16="http://schemas.microsoft.com/office/drawing/2014/main" id="{3D58A22D-5ECB-434E-8D54-E91227F32977}"/>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0200" y="1329210"/>
              <a:ext cx="3727264" cy="2160000"/>
            </a:xfrm>
            <a:prstGeom prst="rect">
              <a:avLst/>
            </a:prstGeom>
            <a:ln>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1" name="Picture 8" descr="image-small">
              <a:extLst>
                <a:ext uri="{FF2B5EF4-FFF2-40B4-BE49-F238E27FC236}">
                  <a16:creationId xmlns:a16="http://schemas.microsoft.com/office/drawing/2014/main" id="{EB0771EF-1405-4D7C-8785-1F0A2CA3968A}"/>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6440" y="2524957"/>
              <a:ext cx="3121025" cy="863599"/>
            </a:xfrm>
            <a:prstGeom prst="rect">
              <a:avLst/>
            </a:prstGeom>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9716012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hteck 3">
            <a:extLst>
              <a:ext uri="{FF2B5EF4-FFF2-40B4-BE49-F238E27FC236}">
                <a16:creationId xmlns:a16="http://schemas.microsoft.com/office/drawing/2014/main" id="{B783D9F0-BEFD-41EA-9383-19CAFD929771}"/>
              </a:ext>
            </a:extLst>
          </p:cNvPr>
          <p:cNvSpPr/>
          <p:nvPr/>
        </p:nvSpPr>
        <p:spPr>
          <a:xfrm>
            <a:off x="10850741" y="6526808"/>
            <a:ext cx="1411393" cy="190427"/>
          </a:xfrm>
          <a:prstGeom prst="rect">
            <a:avLst/>
          </a:prstGeom>
          <a:noFill/>
          <a:ln>
            <a:noFill/>
          </a:ln>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1000">
              <a:solidFill>
                <a:schemeClr val="bg1">
                  <a:lumMod val="50000"/>
                </a:schemeClr>
              </a:solidFill>
            </a:endParaRPr>
          </a:p>
        </p:txBody>
      </p:sp>
      <p:sp>
        <p:nvSpPr>
          <p:cNvPr id="17" name="Content Placeholder 2">
            <a:extLst>
              <a:ext uri="{FF2B5EF4-FFF2-40B4-BE49-F238E27FC236}">
                <a16:creationId xmlns:a16="http://schemas.microsoft.com/office/drawing/2014/main" id="{B0FB9E64-6679-4701-9A47-B95A074FC2FA}"/>
              </a:ext>
            </a:extLst>
          </p:cNvPr>
          <p:cNvSpPr txBox="1">
            <a:spLocks/>
          </p:cNvSpPr>
          <p:nvPr/>
        </p:nvSpPr>
        <p:spPr>
          <a:xfrm>
            <a:off x="201435" y="1683321"/>
            <a:ext cx="10817506" cy="2480913"/>
          </a:xfrm>
          <a:prstGeom prst="rect">
            <a:avLst/>
          </a:prstGeom>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2222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2222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2222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2222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2222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tx1"/>
                </a:solidFill>
              </a:rPr>
              <a:t>Estimated savings for EU, based on higher share of bio/synthetic gas </a:t>
            </a:r>
          </a:p>
          <a:p>
            <a:pPr marL="0" indent="0">
              <a:buNone/>
            </a:pPr>
            <a:r>
              <a:rPr lang="en-US" sz="1800" dirty="0">
                <a:solidFill>
                  <a:schemeClr val="tx1"/>
                </a:solidFill>
              </a:rPr>
              <a:t>and use of gas infrastructure vs all-electric scenario:</a:t>
            </a:r>
            <a:endParaRPr lang="en-GB" sz="1800" dirty="0">
              <a:solidFill>
                <a:schemeClr val="tx1"/>
              </a:solidFill>
            </a:endParaRPr>
          </a:p>
          <a:p>
            <a:endParaRPr lang="en-GB" sz="1800" u="sng" dirty="0">
              <a:solidFill>
                <a:schemeClr val="tx1"/>
              </a:solidFill>
            </a:endParaRPr>
          </a:p>
          <a:p>
            <a:r>
              <a:rPr lang="en-GB" sz="1800" dirty="0" err="1">
                <a:solidFill>
                  <a:schemeClr val="tx1"/>
                </a:solidFill>
              </a:rPr>
              <a:t>Pöyry</a:t>
            </a:r>
            <a:r>
              <a:rPr lang="en-GB" sz="1800" dirty="0">
                <a:solidFill>
                  <a:schemeClr val="tx1"/>
                </a:solidFill>
              </a:rPr>
              <a:t> 2018 </a:t>
            </a:r>
            <a:r>
              <a:rPr lang="en-GB" sz="1800" i="1" dirty="0">
                <a:solidFill>
                  <a:schemeClr val="tx1"/>
                </a:solidFill>
              </a:rPr>
              <a:t>Decarbonisation Study </a:t>
            </a:r>
            <a:r>
              <a:rPr lang="en-GB" sz="1800" dirty="0">
                <a:solidFill>
                  <a:schemeClr val="tx1"/>
                </a:solidFill>
              </a:rPr>
              <a:t>- </a:t>
            </a:r>
            <a:r>
              <a:rPr lang="en-GB" sz="1800" b="1" dirty="0">
                <a:solidFill>
                  <a:schemeClr val="tx1"/>
                </a:solidFill>
              </a:rPr>
              <a:t>€94 </a:t>
            </a:r>
            <a:r>
              <a:rPr lang="en-GB" sz="1800" b="1" dirty="0" err="1">
                <a:solidFill>
                  <a:schemeClr val="tx1"/>
                </a:solidFill>
              </a:rPr>
              <a:t>Bn</a:t>
            </a:r>
            <a:r>
              <a:rPr lang="en-GB" sz="1800" b="1" dirty="0">
                <a:solidFill>
                  <a:schemeClr val="tx1"/>
                </a:solidFill>
              </a:rPr>
              <a:t> pa </a:t>
            </a:r>
            <a:r>
              <a:rPr lang="en-GB" sz="1800" b="1" dirty="0">
                <a:solidFill>
                  <a:schemeClr val="tx1"/>
                </a:solidFill>
                <a:highlight>
                  <a:srgbClr val="FFFFFF"/>
                </a:highlight>
              </a:rPr>
              <a:t>savings </a:t>
            </a:r>
            <a:endParaRPr lang="en-GB" sz="1800" dirty="0">
              <a:solidFill>
                <a:schemeClr val="tx1"/>
              </a:solidFill>
              <a:highlight>
                <a:srgbClr val="FFFFFF"/>
              </a:highlight>
            </a:endParaRPr>
          </a:p>
          <a:p>
            <a:r>
              <a:rPr lang="en-GB" sz="1800" dirty="0" err="1">
                <a:solidFill>
                  <a:schemeClr val="tx1"/>
                </a:solidFill>
                <a:highlight>
                  <a:srgbClr val="FFFFFF"/>
                </a:highlight>
              </a:rPr>
              <a:t>Ecofys</a:t>
            </a:r>
            <a:r>
              <a:rPr lang="en-GB" sz="1800" dirty="0">
                <a:solidFill>
                  <a:schemeClr val="tx1"/>
                </a:solidFill>
                <a:highlight>
                  <a:srgbClr val="FFFFFF"/>
                </a:highlight>
              </a:rPr>
              <a:t> (Navigant) 2018 </a:t>
            </a:r>
            <a:r>
              <a:rPr lang="en-GB" sz="1800" i="1" dirty="0">
                <a:solidFill>
                  <a:schemeClr val="tx1"/>
                </a:solidFill>
                <a:highlight>
                  <a:srgbClr val="FFFFFF"/>
                </a:highlight>
              </a:rPr>
              <a:t>Gas for Climate Study</a:t>
            </a:r>
            <a:r>
              <a:rPr lang="en-GB" sz="1800" dirty="0">
                <a:solidFill>
                  <a:schemeClr val="tx1"/>
                </a:solidFill>
                <a:highlight>
                  <a:srgbClr val="FFFFFF"/>
                </a:highlight>
              </a:rPr>
              <a:t> - </a:t>
            </a:r>
            <a:r>
              <a:rPr lang="en-GB" sz="1800" b="1" dirty="0">
                <a:solidFill>
                  <a:schemeClr val="tx1"/>
                </a:solidFill>
                <a:highlight>
                  <a:srgbClr val="FFFFFF"/>
                </a:highlight>
              </a:rPr>
              <a:t>€138 Bn pa savings</a:t>
            </a:r>
            <a:endParaRPr lang="en-US" sz="1800" dirty="0">
              <a:solidFill>
                <a:schemeClr val="tx1"/>
              </a:solidFill>
              <a:highlight>
                <a:srgbClr val="FFFFFF"/>
              </a:highlight>
              <a:cs typeface="Arial"/>
            </a:endParaRPr>
          </a:p>
          <a:p>
            <a:r>
              <a:rPr lang="en-US" sz="1800" dirty="0">
                <a:solidFill>
                  <a:schemeClr val="tx1"/>
                </a:solidFill>
              </a:rPr>
              <a:t>Eurogas 2018 </a:t>
            </a:r>
            <a:r>
              <a:rPr lang="en-US" sz="1800" i="1" dirty="0">
                <a:solidFill>
                  <a:schemeClr val="tx1"/>
                </a:solidFill>
              </a:rPr>
              <a:t>PRIMES Study </a:t>
            </a:r>
            <a:r>
              <a:rPr lang="en-US" sz="1800" dirty="0">
                <a:solidFill>
                  <a:schemeClr val="tx1"/>
                </a:solidFill>
              </a:rPr>
              <a:t>- </a:t>
            </a:r>
            <a:r>
              <a:rPr lang="en-US" sz="1800" b="1" dirty="0">
                <a:solidFill>
                  <a:schemeClr val="tx1"/>
                </a:solidFill>
              </a:rPr>
              <a:t>€335 Bn total savings</a:t>
            </a:r>
          </a:p>
          <a:p>
            <a:r>
              <a:rPr lang="en-US" sz="1800" dirty="0">
                <a:solidFill>
                  <a:schemeClr val="tx1"/>
                </a:solidFill>
                <a:cs typeface="Arial"/>
              </a:rPr>
              <a:t>Navigant 2019 </a:t>
            </a:r>
            <a:r>
              <a:rPr lang="en-US" sz="1800" i="1" dirty="0">
                <a:solidFill>
                  <a:schemeClr val="tx1"/>
                </a:solidFill>
                <a:cs typeface="Arial"/>
              </a:rPr>
              <a:t>Gas for Climate Study </a:t>
            </a:r>
            <a:r>
              <a:rPr lang="en-US" sz="1800" dirty="0">
                <a:solidFill>
                  <a:schemeClr val="tx1"/>
                </a:solidFill>
                <a:cs typeface="Arial"/>
              </a:rPr>
              <a:t>(update) - </a:t>
            </a:r>
            <a:r>
              <a:rPr lang="en-GB" sz="1800" b="1" dirty="0">
                <a:solidFill>
                  <a:schemeClr val="tx1"/>
                </a:solidFill>
                <a:highlight>
                  <a:srgbClr val="FFFFFF"/>
                </a:highlight>
              </a:rPr>
              <a:t>€ </a:t>
            </a:r>
            <a:r>
              <a:rPr lang="en-US" sz="1800" b="1" dirty="0">
                <a:solidFill>
                  <a:schemeClr val="tx1"/>
                </a:solidFill>
                <a:cs typeface="Arial"/>
              </a:rPr>
              <a:t>217 Bn pa saving</a:t>
            </a:r>
            <a:endParaRPr lang="en-US" sz="1800" dirty="0">
              <a:solidFill>
                <a:schemeClr val="tx1"/>
              </a:solidFill>
              <a:cs typeface="Arial"/>
            </a:endParaRPr>
          </a:p>
          <a:p>
            <a:endParaRPr lang="en-GB" dirty="0">
              <a:cs typeface="Arial"/>
            </a:endParaRPr>
          </a:p>
        </p:txBody>
      </p:sp>
      <p:sp>
        <p:nvSpPr>
          <p:cNvPr id="3" name="TextBox 2">
            <a:extLst>
              <a:ext uri="{FF2B5EF4-FFF2-40B4-BE49-F238E27FC236}">
                <a16:creationId xmlns:a16="http://schemas.microsoft.com/office/drawing/2014/main" id="{5AA49FB4-F487-4136-8BB5-CBF6CA53CDE7}"/>
              </a:ext>
            </a:extLst>
          </p:cNvPr>
          <p:cNvSpPr txBox="1"/>
          <p:nvPr/>
        </p:nvSpPr>
        <p:spPr>
          <a:xfrm>
            <a:off x="305360" y="245652"/>
            <a:ext cx="9176147" cy="1384995"/>
          </a:xfrm>
          <a:prstGeom prst="rect">
            <a:avLst/>
          </a:prstGeom>
        </p:spPr>
        <p:txBody>
          <a:bodyPr/>
          <a:lstStyle>
            <a:defPPr>
              <a:defRPr lang="en-US"/>
            </a:defPPr>
            <a:lvl1pPr marL="0" indent="0" eaLnBrk="0" hangingPunct="0">
              <a:spcBef>
                <a:spcPct val="20000"/>
              </a:spcBef>
              <a:buNone/>
              <a:defRPr sz="2800" b="1">
                <a:solidFill>
                  <a:schemeClr val="bg1"/>
                </a:solidFill>
                <a:latin typeface="Gill Sans MT" panose="020B0502020104020203" pitchFamily="34" charset="0"/>
              </a:defRPr>
            </a:lvl1pPr>
            <a:lvl2pPr marL="742950" indent="-285750" eaLnBrk="0" hangingPunct="0">
              <a:spcBef>
                <a:spcPct val="20000"/>
              </a:spcBef>
              <a:buChar char="–"/>
              <a:defRPr sz="2800">
                <a:solidFill>
                  <a:schemeClr val="bg2"/>
                </a:solidFill>
                <a:latin typeface="+mn-lt"/>
              </a:defRPr>
            </a:lvl2pPr>
            <a:lvl3pPr marL="1143000" indent="-228600" eaLnBrk="0" hangingPunct="0">
              <a:spcBef>
                <a:spcPct val="20000"/>
              </a:spcBef>
              <a:buChar char="•"/>
              <a:defRPr sz="2400">
                <a:solidFill>
                  <a:schemeClr val="bg2"/>
                </a:solidFill>
                <a:latin typeface="+mn-lt"/>
              </a:defRPr>
            </a:lvl3pPr>
            <a:lvl4pPr marL="1600200" indent="-228600" eaLnBrk="0" hangingPunct="0">
              <a:spcBef>
                <a:spcPct val="20000"/>
              </a:spcBef>
              <a:buChar char="–"/>
              <a:defRPr sz="2000">
                <a:solidFill>
                  <a:schemeClr val="bg2"/>
                </a:solidFill>
                <a:latin typeface="+mn-lt"/>
              </a:defRPr>
            </a:lvl4pPr>
            <a:lvl5pPr marL="2057400" indent="-228600" eaLnBrk="0" hangingPunct="0">
              <a:spcBef>
                <a:spcPct val="20000"/>
              </a:spcBef>
              <a:buChar char="»"/>
              <a:defRPr sz="2000">
                <a:solidFill>
                  <a:schemeClr val="bg2"/>
                </a:solidFill>
                <a:latin typeface="+mn-lt"/>
              </a:defRPr>
            </a:lvl5pPr>
            <a:lvl6pPr marL="2514600" indent="-228600" fontAlgn="base">
              <a:spcBef>
                <a:spcPct val="20000"/>
              </a:spcBef>
              <a:spcAft>
                <a:spcPct val="0"/>
              </a:spcAft>
              <a:buChar char="»"/>
              <a:defRPr sz="2000">
                <a:solidFill>
                  <a:schemeClr val="bg2"/>
                </a:solidFill>
                <a:latin typeface="+mn-lt"/>
              </a:defRPr>
            </a:lvl6pPr>
            <a:lvl7pPr marL="2971800" indent="-228600" fontAlgn="base">
              <a:spcBef>
                <a:spcPct val="20000"/>
              </a:spcBef>
              <a:spcAft>
                <a:spcPct val="0"/>
              </a:spcAft>
              <a:buChar char="»"/>
              <a:defRPr sz="2000">
                <a:solidFill>
                  <a:schemeClr val="bg2"/>
                </a:solidFill>
                <a:latin typeface="+mn-lt"/>
              </a:defRPr>
            </a:lvl7pPr>
            <a:lvl8pPr marL="3429000" indent="-228600" fontAlgn="base">
              <a:spcBef>
                <a:spcPct val="20000"/>
              </a:spcBef>
              <a:spcAft>
                <a:spcPct val="0"/>
              </a:spcAft>
              <a:buChar char="»"/>
              <a:defRPr sz="2000">
                <a:solidFill>
                  <a:schemeClr val="bg2"/>
                </a:solidFill>
                <a:latin typeface="+mn-lt"/>
              </a:defRPr>
            </a:lvl8pPr>
            <a:lvl9pPr marL="3886200" indent="-228600" fontAlgn="base">
              <a:spcBef>
                <a:spcPct val="20000"/>
              </a:spcBef>
              <a:spcAft>
                <a:spcPct val="0"/>
              </a:spcAft>
              <a:buChar char="»"/>
              <a:defRPr sz="2000">
                <a:solidFill>
                  <a:schemeClr val="bg2"/>
                </a:solidFill>
                <a:latin typeface="+mn-lt"/>
              </a:defRPr>
            </a:lvl9pPr>
          </a:lstStyle>
          <a:p>
            <a:r>
              <a:rPr lang="en-US" dirty="0"/>
              <a:t>Using gas infrastructure is a cost-effective way to decarbonise energy</a:t>
            </a:r>
            <a:br>
              <a:rPr lang="en-US" dirty="0"/>
            </a:br>
            <a:endParaRPr lang="en-US" dirty="0"/>
          </a:p>
        </p:txBody>
      </p:sp>
      <p:pic>
        <p:nvPicPr>
          <p:cNvPr id="4" name="Picture 4">
            <a:extLst>
              <a:ext uri="{FF2B5EF4-FFF2-40B4-BE49-F238E27FC236}">
                <a16:creationId xmlns:a16="http://schemas.microsoft.com/office/drawing/2014/main" id="{61C7728B-03E9-4C49-A228-17DC1DC52935}"/>
              </a:ext>
            </a:extLst>
          </p:cNvPr>
          <p:cNvPicPr>
            <a:picLocks noChangeAspect="1"/>
          </p:cNvPicPr>
          <p:nvPr/>
        </p:nvPicPr>
        <p:blipFill>
          <a:blip r:embed="rId3"/>
          <a:stretch>
            <a:fillRect/>
          </a:stretch>
        </p:blipFill>
        <p:spPr>
          <a:xfrm>
            <a:off x="2230509" y="4596212"/>
            <a:ext cx="2552700" cy="1790700"/>
          </a:xfrm>
          <a:prstGeom prst="rect">
            <a:avLst/>
          </a:prstGeom>
        </p:spPr>
      </p:pic>
      <p:sp>
        <p:nvSpPr>
          <p:cNvPr id="2" name="Oval 1">
            <a:extLst>
              <a:ext uri="{FF2B5EF4-FFF2-40B4-BE49-F238E27FC236}">
                <a16:creationId xmlns:a16="http://schemas.microsoft.com/office/drawing/2014/main" id="{9C1CE5FF-A2B0-4219-9DFB-A52B93822CAE}"/>
              </a:ext>
            </a:extLst>
          </p:cNvPr>
          <p:cNvSpPr/>
          <p:nvPr/>
        </p:nvSpPr>
        <p:spPr>
          <a:xfrm rot="20709255">
            <a:off x="5552556" y="5505318"/>
            <a:ext cx="798652" cy="45141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EU</a:t>
            </a:r>
            <a:endParaRPr lang="en-GB" b="1" dirty="0">
              <a:solidFill>
                <a:schemeClr val="bg1"/>
              </a:solidFill>
            </a:endParaRPr>
          </a:p>
        </p:txBody>
      </p:sp>
      <p:pic>
        <p:nvPicPr>
          <p:cNvPr id="5" name="Picture 4">
            <a:extLst>
              <a:ext uri="{FF2B5EF4-FFF2-40B4-BE49-F238E27FC236}">
                <a16:creationId xmlns:a16="http://schemas.microsoft.com/office/drawing/2014/main" id="{892BFB83-1FB1-4C28-A49E-56E8784A9113}"/>
              </a:ext>
            </a:extLst>
          </p:cNvPr>
          <p:cNvPicPr>
            <a:picLocks noChangeAspect="1"/>
          </p:cNvPicPr>
          <p:nvPr/>
        </p:nvPicPr>
        <p:blipFill rotWithShape="1">
          <a:blip r:embed="rId4"/>
          <a:srcRect l="18295" t="15217" r="32337" b="8696"/>
          <a:stretch/>
        </p:blipFill>
        <p:spPr>
          <a:xfrm>
            <a:off x="7042540" y="2368035"/>
            <a:ext cx="5108820" cy="4429005"/>
          </a:xfrm>
          <a:prstGeom prst="rect">
            <a:avLst/>
          </a:prstGeom>
          <a:effectLst>
            <a:outerShdw blurRad="50800" dist="38100" dir="2700000" algn="tl" rotWithShape="0">
              <a:prstClr val="black">
                <a:alpha val="40000"/>
              </a:prstClr>
            </a:outerShdw>
          </a:effectLst>
        </p:spPr>
      </p:pic>
      <p:sp>
        <p:nvSpPr>
          <p:cNvPr id="7" name="Arrow: Right 6">
            <a:extLst>
              <a:ext uri="{FF2B5EF4-FFF2-40B4-BE49-F238E27FC236}">
                <a16:creationId xmlns:a16="http://schemas.microsoft.com/office/drawing/2014/main" id="{FE9CB5C4-63B2-4401-9AA4-186788557EB0}"/>
              </a:ext>
            </a:extLst>
          </p:cNvPr>
          <p:cNvSpPr/>
          <p:nvPr/>
        </p:nvSpPr>
        <p:spPr bwMode="auto">
          <a:xfrm>
            <a:off x="6586280" y="4406560"/>
            <a:ext cx="265689" cy="238539"/>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pitchFamily="34" charset="0"/>
            </a:endParaRPr>
          </a:p>
        </p:txBody>
      </p:sp>
    </p:spTree>
    <p:extLst>
      <p:ext uri="{BB962C8B-B14F-4D97-AF65-F5344CB8AC3E}">
        <p14:creationId xmlns:p14="http://schemas.microsoft.com/office/powerpoint/2010/main" val="209982750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169C1AA-822B-4B52-A5C9-1BB3899E9936}"/>
              </a:ext>
            </a:extLst>
          </p:cNvPr>
          <p:cNvSpPr txBox="1"/>
          <p:nvPr/>
        </p:nvSpPr>
        <p:spPr>
          <a:xfrm>
            <a:off x="305360" y="245652"/>
            <a:ext cx="9176147" cy="1384995"/>
          </a:xfrm>
          <a:prstGeom prst="rect">
            <a:avLst/>
          </a:prstGeom>
        </p:spPr>
        <p:txBody>
          <a:bodyPr/>
          <a:lstStyle>
            <a:defPPr>
              <a:defRPr lang="en-US"/>
            </a:defPPr>
            <a:lvl1pPr marL="0" indent="0" eaLnBrk="0" hangingPunct="0">
              <a:spcBef>
                <a:spcPct val="20000"/>
              </a:spcBef>
              <a:buNone/>
              <a:defRPr sz="2800" b="1">
                <a:solidFill>
                  <a:schemeClr val="bg1"/>
                </a:solidFill>
                <a:latin typeface="Gill Sans MT" panose="020B0502020104020203" pitchFamily="34" charset="0"/>
              </a:defRPr>
            </a:lvl1pPr>
            <a:lvl2pPr marL="742950" indent="-285750" eaLnBrk="0" hangingPunct="0">
              <a:spcBef>
                <a:spcPct val="20000"/>
              </a:spcBef>
              <a:buChar char="–"/>
              <a:defRPr sz="2800">
                <a:solidFill>
                  <a:schemeClr val="bg2"/>
                </a:solidFill>
                <a:latin typeface="+mn-lt"/>
              </a:defRPr>
            </a:lvl2pPr>
            <a:lvl3pPr marL="1143000" indent="-228600" eaLnBrk="0" hangingPunct="0">
              <a:spcBef>
                <a:spcPct val="20000"/>
              </a:spcBef>
              <a:buChar char="•"/>
              <a:defRPr sz="2400">
                <a:solidFill>
                  <a:schemeClr val="bg2"/>
                </a:solidFill>
                <a:latin typeface="+mn-lt"/>
              </a:defRPr>
            </a:lvl3pPr>
            <a:lvl4pPr marL="1600200" indent="-228600" eaLnBrk="0" hangingPunct="0">
              <a:spcBef>
                <a:spcPct val="20000"/>
              </a:spcBef>
              <a:buChar char="–"/>
              <a:defRPr sz="2000">
                <a:solidFill>
                  <a:schemeClr val="bg2"/>
                </a:solidFill>
                <a:latin typeface="+mn-lt"/>
              </a:defRPr>
            </a:lvl4pPr>
            <a:lvl5pPr marL="2057400" indent="-228600" eaLnBrk="0" hangingPunct="0">
              <a:spcBef>
                <a:spcPct val="20000"/>
              </a:spcBef>
              <a:buChar char="»"/>
              <a:defRPr sz="2000">
                <a:solidFill>
                  <a:schemeClr val="bg2"/>
                </a:solidFill>
                <a:latin typeface="+mn-lt"/>
              </a:defRPr>
            </a:lvl5pPr>
            <a:lvl6pPr marL="2514600" indent="-228600" fontAlgn="base">
              <a:spcBef>
                <a:spcPct val="20000"/>
              </a:spcBef>
              <a:spcAft>
                <a:spcPct val="0"/>
              </a:spcAft>
              <a:buChar char="»"/>
              <a:defRPr sz="2000">
                <a:solidFill>
                  <a:schemeClr val="bg2"/>
                </a:solidFill>
                <a:latin typeface="+mn-lt"/>
              </a:defRPr>
            </a:lvl6pPr>
            <a:lvl7pPr marL="2971800" indent="-228600" fontAlgn="base">
              <a:spcBef>
                <a:spcPct val="20000"/>
              </a:spcBef>
              <a:spcAft>
                <a:spcPct val="0"/>
              </a:spcAft>
              <a:buChar char="»"/>
              <a:defRPr sz="2000">
                <a:solidFill>
                  <a:schemeClr val="bg2"/>
                </a:solidFill>
                <a:latin typeface="+mn-lt"/>
              </a:defRPr>
            </a:lvl7pPr>
            <a:lvl8pPr marL="3429000" indent="-228600" fontAlgn="base">
              <a:spcBef>
                <a:spcPct val="20000"/>
              </a:spcBef>
              <a:spcAft>
                <a:spcPct val="0"/>
              </a:spcAft>
              <a:buChar char="»"/>
              <a:defRPr sz="2000">
                <a:solidFill>
                  <a:schemeClr val="bg2"/>
                </a:solidFill>
                <a:latin typeface="+mn-lt"/>
              </a:defRPr>
            </a:lvl8pPr>
            <a:lvl9pPr marL="3886200" indent="-228600" fontAlgn="base">
              <a:spcBef>
                <a:spcPct val="20000"/>
              </a:spcBef>
              <a:spcAft>
                <a:spcPct val="0"/>
              </a:spcAft>
              <a:buChar char="»"/>
              <a:defRPr sz="2000">
                <a:solidFill>
                  <a:schemeClr val="bg2"/>
                </a:solidFill>
                <a:latin typeface="+mn-lt"/>
              </a:defRPr>
            </a:lvl9pPr>
          </a:lstStyle>
          <a:p>
            <a:r>
              <a:rPr lang="en-US" dirty="0" err="1"/>
              <a:t>Artelys</a:t>
            </a:r>
            <a:r>
              <a:rPr lang="en-US" dirty="0"/>
              <a:t> Study May 2019 – Value of Gas Storage </a:t>
            </a:r>
            <a:br>
              <a:rPr lang="en-US" dirty="0"/>
            </a:br>
            <a:endParaRPr lang="en-US" dirty="0"/>
          </a:p>
        </p:txBody>
      </p:sp>
      <p:pic>
        <p:nvPicPr>
          <p:cNvPr id="19459" name="Picture 5" descr="image002">
            <a:extLst>
              <a:ext uri="{FF2B5EF4-FFF2-40B4-BE49-F238E27FC236}">
                <a16:creationId xmlns:a16="http://schemas.microsoft.com/office/drawing/2014/main" id="{C73ABF1A-A977-4609-81C2-8B4EEA75AA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470258">
            <a:off x="7924799" y="1231836"/>
            <a:ext cx="4470400" cy="2380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Rounded Corners 3">
            <a:extLst>
              <a:ext uri="{FF2B5EF4-FFF2-40B4-BE49-F238E27FC236}">
                <a16:creationId xmlns:a16="http://schemas.microsoft.com/office/drawing/2014/main" id="{5BC7AEA2-31CD-4167-ABFE-597B56DD7009}"/>
              </a:ext>
            </a:extLst>
          </p:cNvPr>
          <p:cNvSpPr/>
          <p:nvPr/>
        </p:nvSpPr>
        <p:spPr>
          <a:xfrm>
            <a:off x="504775" y="1630647"/>
            <a:ext cx="5379024" cy="4957719"/>
          </a:xfrm>
          <a:prstGeom prst="roundRect">
            <a:avLst/>
          </a:prstGeom>
          <a:solidFill>
            <a:srgbClr val="CADDE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3350" algn="just" defTabSz="685800">
              <a:spcAft>
                <a:spcPts val="750"/>
              </a:spcAft>
              <a:defRPr/>
            </a:pPr>
            <a:r>
              <a:rPr lang="en-US" altLang="en-US" sz="2000" kern="0" dirty="0">
                <a:solidFill>
                  <a:prstClr val="black"/>
                </a:solidFill>
                <a:latin typeface="Calibri" panose="020F0502020204030204"/>
                <a:cs typeface="Arial"/>
              </a:rPr>
              <a:t>Main outcomes – gas infrastructure provides:</a:t>
            </a:r>
          </a:p>
          <a:p>
            <a:pPr marL="419100" indent="-285750" algn="just" defTabSz="685800">
              <a:spcAft>
                <a:spcPts val="750"/>
              </a:spcAft>
              <a:buFontTx/>
              <a:buChar char="-"/>
              <a:defRPr/>
            </a:pPr>
            <a:r>
              <a:rPr lang="en-US" altLang="en-US" sz="2000" b="1" kern="0" dirty="0">
                <a:solidFill>
                  <a:prstClr val="black"/>
                </a:solidFill>
                <a:latin typeface="Calibri" panose="020F0502020204030204"/>
                <a:cs typeface="Arial"/>
              </a:rPr>
              <a:t>Flexibility and security; </a:t>
            </a:r>
            <a:r>
              <a:rPr lang="en-US" altLang="en-US" sz="2000" kern="0" dirty="0">
                <a:solidFill>
                  <a:prstClr val="black"/>
                </a:solidFill>
                <a:latin typeface="Calibri" panose="020F0502020204030204"/>
                <a:cs typeface="Arial"/>
              </a:rPr>
              <a:t>insufficient flexibility for </a:t>
            </a:r>
            <a:r>
              <a:rPr lang="en-US" altLang="en-US" sz="2000" kern="0" dirty="0" err="1">
                <a:solidFill>
                  <a:prstClr val="black"/>
                </a:solidFill>
                <a:latin typeface="Calibri" panose="020F0502020204030204"/>
                <a:cs typeface="Arial"/>
              </a:rPr>
              <a:t>elec</a:t>
            </a:r>
            <a:r>
              <a:rPr lang="en-US" altLang="en-US" sz="2000" kern="0" dirty="0">
                <a:solidFill>
                  <a:prstClr val="black"/>
                </a:solidFill>
                <a:latin typeface="Calibri" panose="020F0502020204030204"/>
                <a:cs typeface="Arial"/>
              </a:rPr>
              <a:t> system to compensate in case of gas storage reduction</a:t>
            </a:r>
          </a:p>
          <a:p>
            <a:pPr marL="419100" indent="-285750" algn="just" defTabSz="685800">
              <a:spcAft>
                <a:spcPts val="750"/>
              </a:spcAft>
              <a:buFontTx/>
              <a:buChar char="-"/>
              <a:defRPr/>
            </a:pPr>
            <a:r>
              <a:rPr lang="en-US" altLang="en-US" sz="2000" b="1" kern="0" dirty="0">
                <a:solidFill>
                  <a:prstClr val="black"/>
                </a:solidFill>
                <a:latin typeface="Calibri" panose="020F0502020204030204"/>
                <a:cs typeface="Arial"/>
              </a:rPr>
              <a:t>System value</a:t>
            </a:r>
            <a:r>
              <a:rPr lang="en-US" altLang="en-US" sz="2000" kern="0" dirty="0">
                <a:solidFill>
                  <a:prstClr val="black"/>
                </a:solidFill>
                <a:latin typeface="Calibri" panose="020F0502020204030204"/>
                <a:cs typeface="Arial"/>
              </a:rPr>
              <a:t>; 10% storage reduction would cost </a:t>
            </a:r>
            <a:r>
              <a:rPr lang="en-US" sz="2000" dirty="0">
                <a:solidFill>
                  <a:schemeClr val="tx1"/>
                </a:solidFill>
              </a:rPr>
              <a:t>€1 B pa in additional </a:t>
            </a:r>
            <a:r>
              <a:rPr lang="en-US" sz="2000" dirty="0" err="1">
                <a:solidFill>
                  <a:schemeClr val="tx1"/>
                </a:solidFill>
              </a:rPr>
              <a:t>elec</a:t>
            </a:r>
            <a:r>
              <a:rPr lang="en-US" sz="2000" dirty="0">
                <a:solidFill>
                  <a:schemeClr val="tx1"/>
                </a:solidFill>
              </a:rPr>
              <a:t> networks</a:t>
            </a:r>
          </a:p>
          <a:p>
            <a:pPr marL="419100" indent="-285750" algn="just" defTabSz="685800">
              <a:spcAft>
                <a:spcPts val="750"/>
              </a:spcAft>
              <a:buFontTx/>
              <a:buChar char="-"/>
              <a:defRPr/>
            </a:pPr>
            <a:r>
              <a:rPr lang="en-US" altLang="en-US" sz="2000" b="1" kern="0" dirty="0">
                <a:solidFill>
                  <a:schemeClr val="tx1"/>
                </a:solidFill>
                <a:latin typeface="Calibri" panose="020F0502020204030204"/>
                <a:cs typeface="Arial"/>
              </a:rPr>
              <a:t>Less price volatility</a:t>
            </a:r>
            <a:r>
              <a:rPr lang="en-US" altLang="en-US" sz="2000" kern="0" dirty="0">
                <a:solidFill>
                  <a:schemeClr val="tx1"/>
                </a:solidFill>
                <a:latin typeface="Calibri" panose="020F0502020204030204"/>
                <a:cs typeface="Arial"/>
              </a:rPr>
              <a:t>; 30% reduction in gas storage would result in doubling of power prices</a:t>
            </a:r>
          </a:p>
          <a:p>
            <a:pPr marL="419100" indent="-285750" algn="just" defTabSz="685800">
              <a:spcAft>
                <a:spcPts val="750"/>
              </a:spcAft>
              <a:buFontTx/>
              <a:buChar char="-"/>
              <a:defRPr/>
            </a:pPr>
            <a:r>
              <a:rPr lang="en-US" altLang="en-US" sz="2000" b="1" kern="0" dirty="0">
                <a:solidFill>
                  <a:schemeClr val="tx1"/>
                </a:solidFill>
                <a:latin typeface="Calibri" panose="020F0502020204030204"/>
                <a:cs typeface="Arial"/>
              </a:rPr>
              <a:t>Sector coupling</a:t>
            </a:r>
            <a:r>
              <a:rPr lang="en-US" altLang="en-US" sz="2000" kern="0" dirty="0">
                <a:solidFill>
                  <a:schemeClr val="tx1"/>
                </a:solidFill>
                <a:latin typeface="Calibri" panose="020F0502020204030204"/>
                <a:cs typeface="Arial"/>
              </a:rPr>
              <a:t>; ability of P2G to reduce power price volatility most effective with gas storage levels</a:t>
            </a:r>
            <a:endParaRPr lang="en-US" altLang="en-US" sz="2000" kern="0" dirty="0">
              <a:solidFill>
                <a:prstClr val="black"/>
              </a:solidFill>
              <a:latin typeface="Calibri" panose="020F0502020204030204"/>
              <a:cs typeface="Arial"/>
            </a:endParaRPr>
          </a:p>
        </p:txBody>
      </p:sp>
      <p:sp>
        <p:nvSpPr>
          <p:cNvPr id="2" name="TextBox 1">
            <a:extLst>
              <a:ext uri="{FF2B5EF4-FFF2-40B4-BE49-F238E27FC236}">
                <a16:creationId xmlns:a16="http://schemas.microsoft.com/office/drawing/2014/main" id="{9556DD84-399A-4118-829B-A420AA679CDD}"/>
              </a:ext>
            </a:extLst>
          </p:cNvPr>
          <p:cNvSpPr txBox="1"/>
          <p:nvPr/>
        </p:nvSpPr>
        <p:spPr>
          <a:xfrm>
            <a:off x="6308202" y="4208404"/>
            <a:ext cx="4836481" cy="1754326"/>
          </a:xfrm>
          <a:prstGeom prst="rect">
            <a:avLst/>
          </a:prstGeom>
          <a:noFill/>
        </p:spPr>
        <p:txBody>
          <a:bodyPr wrap="square" rtlCol="0">
            <a:spAutoFit/>
          </a:bodyPr>
          <a:lstStyle/>
          <a:p>
            <a:r>
              <a:rPr lang="en-US" dirty="0">
                <a:highlight>
                  <a:srgbClr val="FFFF00"/>
                </a:highlight>
              </a:rPr>
              <a:t>Raw graphic from Perizat to add here </a:t>
            </a:r>
          </a:p>
          <a:p>
            <a:endParaRPr lang="en-US" dirty="0">
              <a:highlight>
                <a:srgbClr val="FFFF00"/>
              </a:highlight>
            </a:endParaRPr>
          </a:p>
          <a:p>
            <a:endParaRPr lang="en-US" dirty="0">
              <a:highlight>
                <a:srgbClr val="FFFF00"/>
              </a:highlight>
            </a:endParaRPr>
          </a:p>
          <a:p>
            <a:endParaRPr lang="en-US" dirty="0">
              <a:highlight>
                <a:srgbClr val="FFFF00"/>
              </a:highlight>
            </a:endParaRPr>
          </a:p>
          <a:p>
            <a:endParaRPr lang="en-US">
              <a:highlight>
                <a:srgbClr val="FFFF00"/>
              </a:highlight>
            </a:endParaRPr>
          </a:p>
          <a:p>
            <a:endParaRPr lang="en-GB" dirty="0">
              <a:highlight>
                <a:srgbClr val="FFFF00"/>
              </a:highlight>
            </a:endParaRPr>
          </a:p>
        </p:txBody>
      </p:sp>
    </p:spTree>
    <p:extLst>
      <p:ext uri="{BB962C8B-B14F-4D97-AF65-F5344CB8AC3E}">
        <p14:creationId xmlns:p14="http://schemas.microsoft.com/office/powerpoint/2010/main" val="191158865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snAU1zqRyWcT5aF9SFXL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W16nq1YSFmJSdfkOFxr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NJqPfLLS_OtTrfJ7AOF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H1yip6yQdmOMsrGWCgS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V_lpKqsQEeeZ70TJd7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3Qlk2sOTbimf0Wkpzgp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SXWj7.rRAi4DuGMob4X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SM_YZaHToiiewy4nROI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vkNUnTRRRK6z_0IMJx_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qNojuaFQdOqOSf3RolN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g7gnYUuDTSicFZQ48U2Hr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_OkSCmNSTCBGox_SIBp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U8E.3VaRniYmhULLIhf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gfp6O5TRpu1DreIW6Pi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RFceUwSTHi6xzYa7emv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IE master templates">
  <a:themeElements>
    <a:clrScheme name="GTE presentation design templa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GTE presentation design template">
      <a:majorFont>
        <a:latin typeface="Myriad Roman"/>
        <a:ea typeface=""/>
        <a:cs typeface=""/>
      </a:majorFont>
      <a:minorFont>
        <a:latin typeface="Myriad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GTE presentation design templat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TE presentation design templa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TE presentation design templat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TE presentation design templat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TE presentation design 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TE presentation design 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TE presentation design 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ENTSOG_140930_Template_Presentation">
  <a:themeElements>
    <a:clrScheme name="ENTSOG">
      <a:dk1>
        <a:srgbClr val="1F4484"/>
      </a:dk1>
      <a:lt1>
        <a:srgbClr val="FFFFFF"/>
      </a:lt1>
      <a:dk2>
        <a:srgbClr val="6B95C7"/>
      </a:dk2>
      <a:lt2>
        <a:srgbClr val="3E6CA4"/>
      </a:lt2>
      <a:accent1>
        <a:srgbClr val="1F4484"/>
      </a:accent1>
      <a:accent2>
        <a:srgbClr val="829824"/>
      </a:accent2>
      <a:accent3>
        <a:srgbClr val="C1D537"/>
      </a:accent3>
      <a:accent4>
        <a:srgbClr val="E8262C"/>
      </a:accent4>
      <a:accent5>
        <a:srgbClr val="EB7A3B"/>
      </a:accent5>
      <a:accent6>
        <a:srgbClr val="F2CA00"/>
      </a:accent6>
      <a:hlink>
        <a:srgbClr val="1F4484"/>
      </a:hlink>
      <a:folHlink>
        <a:srgbClr val="8D75A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GIE master templates">
  <a:themeElements>
    <a:clrScheme name="GTE presentation design templa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GTE presentation design template">
      <a:majorFont>
        <a:latin typeface="Myriad Roman"/>
        <a:ea typeface=""/>
        <a:cs typeface=""/>
      </a:majorFont>
      <a:minorFont>
        <a:latin typeface="Myriad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GTE presentation design templat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TE presentation design templa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TE presentation design templat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TE presentation design templat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TE presentation design 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TE presentation design 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TE presentation design 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ENTSOG_120627_Template_Presentation">
  <a:themeElements>
    <a:clrScheme name="ENTSOG">
      <a:dk1>
        <a:srgbClr val="1F4484"/>
      </a:dk1>
      <a:lt1>
        <a:srgbClr val="FFFFFF"/>
      </a:lt1>
      <a:dk2>
        <a:srgbClr val="6B95C7"/>
      </a:dk2>
      <a:lt2>
        <a:srgbClr val="3E6CA4"/>
      </a:lt2>
      <a:accent1>
        <a:srgbClr val="1F4484"/>
      </a:accent1>
      <a:accent2>
        <a:srgbClr val="829824"/>
      </a:accent2>
      <a:accent3>
        <a:srgbClr val="C1D537"/>
      </a:accent3>
      <a:accent4>
        <a:srgbClr val="E8262C"/>
      </a:accent4>
      <a:accent5>
        <a:srgbClr val="EB7A3B"/>
      </a:accent5>
      <a:accent6>
        <a:srgbClr val="F2CA00"/>
      </a:accent6>
      <a:hlink>
        <a:srgbClr val="1F4484"/>
      </a:hlink>
      <a:folHlink>
        <a:srgbClr val="8D75A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ENTSOG">
  <a:themeElements>
    <a:clrScheme name="ENTSOG">
      <a:dk1>
        <a:srgbClr val="1F4484"/>
      </a:dk1>
      <a:lt1>
        <a:srgbClr val="FFFFFF"/>
      </a:lt1>
      <a:dk2>
        <a:srgbClr val="6B95C7"/>
      </a:dk2>
      <a:lt2>
        <a:srgbClr val="3E6CA4"/>
      </a:lt2>
      <a:accent1>
        <a:srgbClr val="1F4484"/>
      </a:accent1>
      <a:accent2>
        <a:srgbClr val="829824"/>
      </a:accent2>
      <a:accent3>
        <a:srgbClr val="C1D537"/>
      </a:accent3>
      <a:accent4>
        <a:srgbClr val="E8262C"/>
      </a:accent4>
      <a:accent5>
        <a:srgbClr val="EB7A3B"/>
      </a:accent5>
      <a:accent6>
        <a:srgbClr val="F2CA00"/>
      </a:accent6>
      <a:hlink>
        <a:srgbClr val="1F4484"/>
      </a:hlink>
      <a:folHlink>
        <a:srgbClr val="8D75A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3" id="{92632758-11FB-488D-AA3B-5CB623707AE8}" vid="{B7960863-39AB-4CDE-9543-5AE3D3F9B386}"/>
    </a:ext>
  </a:extLst>
</a:theme>
</file>

<file path=ppt/theme/theme6.xml><?xml version="1.0" encoding="utf-8"?>
<a:theme xmlns:a="http://schemas.openxmlformats.org/drawingml/2006/main" name="Blank">
  <a:themeElements>
    <a:clrScheme name="Energinet-tema 1">
      <a:dk1>
        <a:srgbClr val="000000"/>
      </a:dk1>
      <a:lt1>
        <a:srgbClr val="FFFFFF"/>
      </a:lt1>
      <a:dk2>
        <a:srgbClr val="A0C1C2"/>
      </a:dk2>
      <a:lt2>
        <a:srgbClr val="A0CD92"/>
      </a:lt2>
      <a:accent1>
        <a:srgbClr val="008B8B"/>
      </a:accent1>
      <a:accent2>
        <a:srgbClr val="0A515D"/>
      </a:accent2>
      <a:accent3>
        <a:srgbClr val="FFD424"/>
      </a:accent3>
      <a:accent4>
        <a:srgbClr val="C2E5F1"/>
      </a:accent4>
      <a:accent5>
        <a:srgbClr val="00A98F"/>
      </a:accent5>
      <a:accent6>
        <a:srgbClr val="00A7BD"/>
      </a:accent6>
      <a:hlink>
        <a:srgbClr val="00A98F"/>
      </a:hlink>
      <a:folHlink>
        <a:srgbClr val="00A6BC"/>
      </a:folHlink>
    </a:clrScheme>
    <a:fontScheme name="Energinet.dk">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90000"/>
          </a:lnSpc>
          <a:spcBef>
            <a:spcPts val="750"/>
          </a:spcBef>
          <a:defRPr sz="20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æsentation4" id="{C86BB850-651B-B547-A5D4-F04B1D1D1E19}" vid="{AAAFD527-505D-594D-AF4A-D6A652B7415F}"/>
    </a:ext>
  </a:extLst>
</a:theme>
</file>

<file path=ppt/theme/theme7.xml><?xml version="1.0" encoding="utf-8"?>
<a:theme xmlns:a="http://schemas.openxmlformats.org/drawingml/2006/main" name="GasNetworksIreland">
  <a:themeElements>
    <a:clrScheme name="Gas Networks Ireland">
      <a:dk1>
        <a:srgbClr val="000000"/>
      </a:dk1>
      <a:lt1>
        <a:srgbClr val="FFFFFF"/>
      </a:lt1>
      <a:dk2>
        <a:srgbClr val="06038D"/>
      </a:dk2>
      <a:lt2>
        <a:srgbClr val="FFFFFF"/>
      </a:lt2>
      <a:accent1>
        <a:srgbClr val="06038D"/>
      </a:accent1>
      <a:accent2>
        <a:srgbClr val="0099FF"/>
      </a:accent2>
      <a:accent3>
        <a:srgbClr val="009CA6"/>
      </a:accent3>
      <a:accent4>
        <a:srgbClr val="84BD00"/>
      </a:accent4>
      <a:accent5>
        <a:srgbClr val="B2B4B2"/>
      </a:accent5>
      <a:accent6>
        <a:srgbClr val="685BC7"/>
      </a:accent6>
      <a:hlink>
        <a:srgbClr val="FF0099"/>
      </a:hlink>
      <a:folHlink>
        <a:srgbClr val="5F259F"/>
      </a:folHlink>
    </a:clrScheme>
    <a:fontScheme name="Gas Networks Ire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sNetworks_Template.pptx" id="{FB7186BC-ACD9-4759-8F3E-DE7FD29A82F8}" vid="{BAB23710-F700-4D65-9FFE-0466F9C6204C}"/>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33574</TotalTime>
  <Words>1687</Words>
  <Application>Microsoft Office PowerPoint</Application>
  <PresentationFormat>Widescreen</PresentationFormat>
  <Paragraphs>300</Paragraphs>
  <Slides>17</Slides>
  <Notes>16</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17</vt:i4>
      </vt:variant>
    </vt:vector>
  </HeadingPairs>
  <TitlesOfParts>
    <vt:vector size="35" baseType="lpstr">
      <vt:lpstr>MS PGothic</vt:lpstr>
      <vt:lpstr>Arial</vt:lpstr>
      <vt:lpstr>Arial,Sans-Serif</vt:lpstr>
      <vt:lpstr>Calibri</vt:lpstr>
      <vt:lpstr>Calibri Light</vt:lpstr>
      <vt:lpstr>Courier New</vt:lpstr>
      <vt:lpstr>Gill Sans MT</vt:lpstr>
      <vt:lpstr>Myriad Roman</vt:lpstr>
      <vt:lpstr>Times New Roman</vt:lpstr>
      <vt:lpstr>Wingdings</vt:lpstr>
      <vt:lpstr>GIE master templates</vt:lpstr>
      <vt:lpstr>ENTSOG_140930_Template_Presentation</vt:lpstr>
      <vt:lpstr>1_GIE master templates</vt:lpstr>
      <vt:lpstr>ENTSOG_120627_Template_Presentation</vt:lpstr>
      <vt:lpstr>ENTSOG</vt:lpstr>
      <vt:lpstr>Blank</vt:lpstr>
      <vt:lpstr>GasNetworksIrelan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mola Marta</dc:creator>
  <cp:lastModifiedBy>Barbara Jinks</cp:lastModifiedBy>
  <cp:revision>3365</cp:revision>
  <cp:lastPrinted>2019-05-27T11:33:22Z</cp:lastPrinted>
  <dcterms:created xsi:type="dcterms:W3CDTF">1601-01-01T00:00:00Z</dcterms:created>
  <dcterms:modified xsi:type="dcterms:W3CDTF">2019-06-03T21:32:46Z</dcterms:modified>
</cp:coreProperties>
</file>